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74" r:id="rId4"/>
  </p:sldMasterIdLst>
  <p:notesMasterIdLst>
    <p:notesMasterId r:id="rId19"/>
  </p:notesMasterIdLst>
  <p:sldIdLst>
    <p:sldId id="413" r:id="rId5"/>
    <p:sldId id="638" r:id="rId6"/>
    <p:sldId id="637" r:id="rId7"/>
    <p:sldId id="296" r:id="rId8"/>
    <p:sldId id="408" r:id="rId9"/>
    <p:sldId id="409" r:id="rId10"/>
    <p:sldId id="634" r:id="rId11"/>
    <p:sldId id="633" r:id="rId12"/>
    <p:sldId id="499" r:id="rId13"/>
    <p:sldId id="302" r:id="rId14"/>
    <p:sldId id="635" r:id="rId15"/>
    <p:sldId id="435" r:id="rId16"/>
    <p:sldId id="422" r:id="rId17"/>
    <p:sldId id="639" r:id="rId18"/>
  </p:sldIdLst>
  <p:sldSz cx="9144000" cy="6858000" type="screen4x3"/>
  <p:notesSz cx="7010400" cy="9296400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Century Gothic" panose="020B0502020202020204" pitchFamily="34" charset="0"/>
      <p:regular r:id="rId24"/>
      <p:bold r:id="rId25"/>
      <p:italic r:id="rId26"/>
      <p:boldItalic r:id="rId27"/>
    </p:embeddedFont>
    <p:embeddedFont>
      <p:font typeface="Gill Sans MT" panose="020B0502020104020203" pitchFamily="34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iane" initials="O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370" autoAdjust="0"/>
  </p:normalViewPr>
  <p:slideViewPr>
    <p:cSldViewPr>
      <p:cViewPr varScale="1">
        <p:scale>
          <a:sx n="68" d="100"/>
          <a:sy n="68" d="100"/>
        </p:scale>
        <p:origin x="136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7.fntdata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6.fntdata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5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2864343-33AD-4B2C-9111-771D9D38C20D}" type="datetimeFigureOut">
              <a:rPr lang="en-US" smtClean="0"/>
              <a:t>2/2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5B4BB5D-5D2C-43F4-815B-7A4C511473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442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6788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7497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003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0801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94405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24562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486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1430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6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24146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CCCCCC"/>
          </p15:clr>
        </p15:guide>
        <p15:guide id="2" pos="5760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923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9" r:id="rId3"/>
    <p:sldLayoutId id="2147483680" r:id="rId4"/>
    <p:sldLayoutId id="2147483681" r:id="rId5"/>
    <p:sldLayoutId id="2147483682" r:id="rId6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ekkographics.com/resources/get-started/videos/" TargetMode="External"/><Relationship Id="rId7" Type="http://schemas.openxmlformats.org/officeDocument/2006/relationships/hyperlink" Target="https://www.mekkographics.com/product/cascade-chart-waterfall-chart/" TargetMode="External"/><Relationship Id="rId2" Type="http://schemas.openxmlformats.org/officeDocument/2006/relationships/hyperlink" Target="http://www.mekkographics.com/resources/get-started/webinars/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://www.mekkographics.com/support/ask-an-expert/" TargetMode="External"/><Relationship Id="rId5" Type="http://schemas.openxmlformats.org/officeDocument/2006/relationships/hyperlink" Target="http://www.mekkographics.com/resources/build-your-cq/" TargetMode="External"/><Relationship Id="rId4" Type="http://schemas.openxmlformats.org/officeDocument/2006/relationships/hyperlink" Target="http://www.mekkographics.com/resources/chart-of-the-week/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emf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7.emf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18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5.xml"/><Relationship Id="rId11" Type="http://schemas.openxmlformats.org/officeDocument/2006/relationships/image" Target="../media/image14.emf"/><Relationship Id="rId5" Type="http://schemas.openxmlformats.org/officeDocument/2006/relationships/tags" Target="../tags/tag20.xml"/><Relationship Id="rId10" Type="http://schemas.openxmlformats.org/officeDocument/2006/relationships/image" Target="../media/image13.emf"/><Relationship Id="rId4" Type="http://schemas.openxmlformats.org/officeDocument/2006/relationships/tags" Target="../tags/tag19.xml"/><Relationship Id="rId9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dirty="0">
                <a:latin typeface="+mn-lt"/>
              </a:rPr>
              <a:t>10 ways to use a</a:t>
            </a:r>
            <a:br>
              <a:rPr lang="en-US" sz="4400" dirty="0">
                <a:latin typeface="+mn-lt"/>
              </a:rPr>
            </a:br>
            <a:r>
              <a:rPr lang="en-US" sz="4400" dirty="0">
                <a:latin typeface="+mn-lt"/>
              </a:rPr>
              <a:t>Cascade chart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David Goldstein</a:t>
            </a:r>
          </a:p>
          <a:p>
            <a:r>
              <a:rPr lang="en-US" sz="2000" dirty="0"/>
              <a:t>February 2020</a:t>
            </a:r>
          </a:p>
        </p:txBody>
      </p:sp>
    </p:spTree>
    <p:extLst>
      <p:ext uri="{BB962C8B-B14F-4D97-AF65-F5344CB8AC3E}">
        <p14:creationId xmlns:p14="http://schemas.microsoft.com/office/powerpoint/2010/main" val="13020652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24659-97CE-4DBC-8A90-274D9084D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38" y="343788"/>
            <a:ext cx="8229600" cy="990600"/>
          </a:xfrm>
        </p:spPr>
        <p:txBody>
          <a:bodyPr>
            <a:noAutofit/>
          </a:bodyPr>
          <a:lstStyle/>
          <a:p>
            <a:r>
              <a:rPr lang="en-US" sz="3600" dirty="0"/>
              <a:t>9. </a:t>
            </a:r>
            <a:r>
              <a:rPr lang="en-US" dirty="0"/>
              <a:t>Evaluate Changes in KPI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F0B1848-BF22-4DC8-93E4-49DC5E04E3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8736" y="1295400"/>
            <a:ext cx="8446195" cy="685800"/>
          </a:xfrm>
        </p:spPr>
        <p:txBody>
          <a:bodyPr>
            <a:noAutofit/>
          </a:bodyPr>
          <a:lstStyle/>
          <a:p>
            <a:r>
              <a:rPr lang="en-US" dirty="0"/>
              <a:t>Use cascades to dissect changes in non-financial KPIs.</a:t>
            </a:r>
          </a:p>
        </p:txBody>
      </p:sp>
      <p:sp>
        <p:nvSpPr>
          <p:cNvPr id="8" name="Rectangle 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1h9D1Z5GDtPW+wuCTrU5cbsTyeRnoM7v2+KYfNB8pPDHY3/N/nQDLg73FVUjs5JX80ZEMdZ5aXYVE2SrM7ljDixtoKhF4R5tzsuuZUVsHAeFwPs6wT8BDaAcgikYk0qwkVK4NvpAQJVViVRxqMTRVGa6YhvvS9iyFCthmw7VEZkNBdJ7iPzdYH8t0rAwKQRqo2pWbyVCF/datImWRcwiCdpw1Nnq0iU+4chdsdyy7cnI3/282eyyXda34nxFwX+xct2UH8+DmAvStSw3FBQ1U2OzBM7jhfThAcNkvAwU24/Rxz3Fn6S9xLaX83l9oDoXAD9UKUleMjbZu7MhRwBgH+AljZUe7TQ02uAMRUeTRle3PvXCyAOAsytgIOyXbpvz66CaYCXBDJTZnHJS2w9loYGP6vDQBji5e1LyWn2lnYo2dbb7MoR8cEm0JKPvBElNb/g/hEikwOgxosVLkcdIE5sX+N8mSqMqXfqH34XklAs5BIGGExuq/a3k1Unzz+qNQW7PyUuLBC5szyNHHGFv8iCjPs5+AxQJLJIHpIbuPDoNgWd5NxHUlNAlWWHMDXgEdVDwBteKsEt89vNEAvBDJkYSUropusUqp9MaiA1/QCjPPJRct+FCfda58XnvGfDccCJw6NoOxDFNuF3WErc6G/Bjuca7QlLa6nftYWU+woS7EknKYiQjFPjr4Liykuc29ekoZTWh1xaqgjHac9bzDoDWUtgjt6PJECW4gcCbwGkztRXgMQzDo99OJ37nXqPkFjqCVbdLgtiqkSGwYEnbMl4jwaxjq41cgWIa4GR5iWB4DVaB6pN9x0bFx0BAo/S1FHGahMQsjxNdTIFQo+7GW2vmFYCUuik8spQZffEoSsjVJYDgSX6Zqel2LnrLpP60jbmCj2RI0OKB/sFcgE6lOpw4k+GGPPElkXgK5WFKz8l/xHbs7eV0nRTaLI7O7Ex+n0pyI1iHEE66KndJFtvvpBJf5UXb7W+lh3eEEuaTFAB0mmrRdPg1d08HLtC/C5z3cc+GJWeKvnJ/epr/gl19nN/RIPvjONGXCDD9lfuMzy+vJ44m5PmtDD6aaMj9Da3ebu7IhY6bGt6+zvW0gBoFL22cRgSfMGMkPOTM3W+9gDMaWgqVu2+t3O0SVIhZOxmQ7OYTv+sz+TticdOFTKmeCvsRo6jCwz5T8YlvgucIXdAfqTVtgAEQyLxSSWIMi4vFkTjn+B9ll7cMFQa8sIJ2BDPUy8rQ+Q5GVh53uFlgnKBhcuZDPk0MMpzBPMSDF8DY2/qVMhi5hLRUtaPJ4PUOpXZ8f6+lrU8svDmI7Zt6afGkabsVvMmnFV1b0LH0uSK3K6hJc9VceGyiJJAY5+9+SprclHGUVU7n0DBwDdBW5w4tyHwj044+e+cruPPdvURLB26IhUq5TNgeHEm4F/n7X4Mzy/NWRDVXFGT5TX2gF24b+jMkrHuf1jxFO96R4mSV0lDs4j0A7FaSfqOGKSarTKpPYTmAqRi2Mfo1Srai+6Tg6XO76F2cy5S8Ow9oCOkoyJnaCOtZ6wjHHRoua8tvNzSmieeAgIcc16uFquChOYjlfh/t4skN/Tjd7rDGAAgr9F0f7GVtXmk+MXBmPLaKdAwnbfpewtj0cuggD2Daf6zb9yYDERc1Vqlc2BWZ/2JxvDkf8EqOePXmjJPSKJSo+QW3OCDueO/K45epLPjg62YpX+c9RbJ8XTnonZ2xwqHYRgBFBz6KrTJoXe70tRKAhTgEnHfvfC7gou7ARRmrhutSJdHHbaSDilqfwrtWeW3jIcmDGuHzFgdfZRiYWJmGYYe9Q0rVmLg8fAW3shpie8Vek6TgGvoDIpFHZHwHqaIZF2rony4MI/RXxweArnxDkFtVUaUbMYh2+uSCeA6LEppSGArzgFT6grc2ZF01f+DupA9Rl0Polqhukj5Ij1EdIWPw7uqhHeOmIalNRmojJ66OtMhrvUQ1dl3gpcrki30ymhDJxJGuexHkPliaL7nx/A8siP16s3RsFCDVL8tKNRJcHtJsS5xfUFUcABMmJWTAFfANueCqcKlr2llvqJN7+v8R1AL6u9Asptf0Amry78ScHe2bUCEqglxquQsg3kUPGeS74wzftgk1mplVOHYpCfmZChOYohLnoJLBQvg5PPo2ln9LLm0OIesyjmc7Vu8e3gRPFGTytObIT2IwNRVKVdDRLk7V3FQSH3zlbrj1HLikT3/Y7L6IU21+nMQ6AFcwW0p50ZcFqVeYmD417uU5h5bIWgZjTzPSwwrx7YSoO0R5ZyAVXibrp6EqE/oWE7jTRT6KEjkSgYUT4qL30OMvW5iO1982sPRgAMudGbLXfTgPwZCYcRZEdvpiI6eDU02nBM8miY7/4ZdiSBRtXih5r3RVLDY4ukm+gWBRyCVG7OxYZt46fS0TKVAxDp3WiMoDGmqKve+aPIFA4ZChIrP/iNMdvQzXthQpf/eqQH3zNjNWGKQgS7fKsBWAvA8fwkcjSfJ5Oa396qY4KhaV8dANhqGFRh2oGF5QtZkb4cYEptsN8HKLwkIhIzPPxxQgiGUaNVjUGna2IYAzFTv6v9oogiauhBVBvTuU4owlwCVATJGSDQxutKE3EznLghHjidlwWj/tHfUAo1k2MsBHqbYoeTnIfyBmow/XvieNyflb7H0RCBLkR+19I1bpYOJOyaJ+f3okFJGMBTNzjA540Zrn7+GSwgacGTUJa2KbZDZqISB2TVwGNvohrpKl8NC6rxi33RgCQQQEIzYMGTN7nNHhHCWMQjDk8UQU1HpDpV6efjQJ75DjOF1iZSyLi1QKcKjoDguM9dlzpl8ns+36h6mRBzNWMC51UHU6PoOgpzW8FaGiUbSJi6gVeIMb32VrMAHnH8ihDffQePZUdQ1XzizdQvuRVl73/j25X7k/jT9vjJItlHnydrmJxUSK/cyOTASQZ9HVcgtjtwITjPClohWf6MWFF3krUzj1V4pGiochXvBSxcsQRYc7/iryTJ9TnxvAsd2G4dqzjgD0fCj4baRfxV3b9uNtP0C+anCxJhxTnK7Dmfn+WSCO9qjY6gTZUonwWn4cZ+Y1BTHL1tskZeSRHxcPtavnwzc6jaDZy313e7BY1Vl8flcF4EEN+lbSvm0cZAfEOXqu8V3yMYKj+PtTYEtLown1i2Vh0cDRKB1T8iC184vhK8uv3qCtVnzl0gr5tnRn7vXSqiaKLQFQcf99QdhofodfmzSdbtanjmrcvxtGVrOZL/ZgVFr9xiw9pRR2De7k7591oeiNYxM+YoINRqsiSgSra/zj4ZugmJUXrFb5E+1UJ4LYuri8/Wr8OqozQSGRfI3E9v9kN591vzH6T35qLDPBHCmwyvhHPtbE0StpMv+q5LgERv8UyEzWmsJh8uoyzVwH3GePj4xmgLKV18tvFRrMg2+mCpCmZC9LshLBIVkrSvwsqTUyVQvfVLtYYd8oCFl+TUZauUC4MKwfF00VjBGHRNYt08/RjJxSUSaV9dPRGx2O5Wqa4vfdMbikjAhQuP3E6nKouxIV807lZIcOfEYTWck30UCLJyx2KoDrrJd9fD/jb3/eAdNScHMeEOAMKLiXLpW4FaupXAqbLdBVw22KeeGARvsgJSFFa2IJSaqU5Ypni9h7Npt8itO+Vz3ARaWwZ9Cs9g6Rqay02Tb8yJjf8Y3m75p/lmu8f/sURWMUuE1eXwmhK2pfiBYlbipvJgYk7O7P+fBmR6eGeZZZca2W+cphA20+41vyeKGfrxAGktuhen2D6CjeJjIVs8O2ukEXy+R21Vy4btEqUJHRkT++7ZgqEbF4STqPTzB+pqy0Fqb3KghulYwO4twKr2++ekUzBzUR3OReyZL3XOwjbcQUJu1ss7ky4uIoUjxwiSs9O+ohBGVqUm1DU8NB+ch6DcrBvzIro4hCN0LLnqLcBAdFAykOFJ/bxb0zDoKK2miWGe68orAy+3Qs3oXINP44qmfNu3XmmQCxhm3wFAs1Qxa01W+9xsMg3q753GZIM4mvAoxw5EMesBNOhqC4CP21FmrYMAB6m4yyZ3Qvbfqy5AYOjo7iBF5N7+2E1zlFiFPf2mMmEDaRRV82mSSC0xxasSpCe9IrA8L+754OWjLa0lj4UtAq8sJEBLh5k2B1lSnEzzSoSBkhGVRZ5yB3Ku/Z+qy9Vgobe0XJkaL7EO0do1njVhL7y8foI+f4LL8bQRMBYrjL5qmrC4uI8FmI3Tgjm7fjiuWk1qOxkVYkxLmI6DR8cfMvzB6CjoNqxyxy88VQMXAq40ZEjnJ9SUvVjyASCJk/9rv1ZQZgpiOBz5FNb1OEdL9Z53AjUXqJCOfwssJR7aaorhIdeNt1KcUDkztAyWi7yOxaRp10JUo+4pD1HHWK4gQzzAdaFQa6EJHYgyC3vU9pPgnjvTlWE0n/6lBZh7MAmTkUkms7erAlsQ/ZHYN6+q4mHb3hbEnp7MTs7ScUD5DJPyH7BDIHSFF7/q6zHGeXq6Iyssk1zgwpNpCumdEbHFld2oN6cyyLygt/wjzJfLYzY1AZ0gWufpvatgKJBY4LLd/CP4zpWNc1DGioQ5IueJaLxqIVRgBINwLljJfOYovBd69ibGNGbnedCBiaY6HRpAUOLC+9tYRosw9eV2c9J1ASTfbTFafd6zWhj80n2ehN4sbFIZS9+U7OC7fqcfhJzgXn1zwnM8FsKe3fV64Y/FFDHEux5AtpsEnYkBTZNTZNGgj3ahl5J75/SgpYj37R2+qSoadQ4ffELUaSHkvpOuU9YE4dOiSrCtEpDc12v2Ms024r5yKZ+EXpGnfkv0xsq9M1e71eXQaOekT5kv/F2xrFTOuaD/EKFWhiw0AKAY8yDiS9T80d/vYqBEBnvrlmbv/TELaHc4hecdDdwb8t5LKhJTzPp8eX0+ttpZKGpw6t9CftQn2gVjMxv/ztMkNiTgSmr3zQRxULYOdHQMLhAshxoePnNyAeQC49kp+IgX+9jFyqrYz97Rpl9IQu+6JOXyzvEvXzZAtac6vpqh5993XuO5zxO8lqq993u/jJ7YScQQ773x/BLTb9+mDhX+qUDXxTDnGBOrGWSipkn6GrYmQF+dVuVDWGVuRzKsZDuF7dY1bDO0ZMbUl5nwCv/NeT/xwswUb3e8V4EmNK8YvqRNkhEHouyjlkd8S+3CtosI344u3dG1VDb9xvbbW0p6vWlnGlYmL7+9Ugq5QGb88z9hVqbBqQF8d/Vn5tLhMOqBTIu8MnDkcFlr/U8yvQZDXhU8niVNdioe6lRxgy7C1kjCV8o7i2UDRPJOJEEadEhnt+6aYd43QeR08pDc/2iCl06dTA3X2PYO45eST/lDwhxyecqgfP1Mq889VplB4czOOxcwLoaAkXOJTwmP45ZiwDpQPVQEtFZ8d5qov4HPi2gilMwCiGg+Nq273MRk+0Yx6RI2No6/ZBXGK4wWVqAI7XBmovj/mxOXd7fnybZGvilfR/WZzaLkRiNyz7RrCvukX3lZz9PgKf52eyOehcgjSwpDsFrT5QbnDSCqPfuS58uSAd5w3094warzZJECYqaLT1Os+P9CxDJqJqooDuHyCoL9LNbpStcauhSuSt42tf8roaKhhEoULedmutr6oClT2UidgQU1EntDm8fz3nTKEsGa+HYIjx+Ak+yCJJ77d4DH1g6s+wm9WPG1xd7iQ2pVdn9rbtfaUIfEQKRqtHGS8gsFJfSP2+Ooduq0BrD9oyYJBuL1MQi0UjeWPJ9CdyS6JDT5VznqjIeLQvBBQA2KZL1wsMIhYQmFk0D0fY353wE1M+Jba8gUNV0+Imlc5+uiap8ZV79n7rexwAUOLP42+6yw0cDGrs2Py3OkxwvP4Y6lvKH6PAJYfKx5H4E8Y1s0Q/jQaGLYwTAxQ0tkK7H6fGs8ziK0yXVk/bkNR3OfmoVPqPUZMopvgq097qoyJby0f46cfm1TQDspqAz+Y2uYq/m1JytYN8DcoRJfu38wtBCymchTsYN+33hsD0FPCiLn4B9WEXeks2NGZ/hgWxReAjavQ0I6tVq0nKLOzPuosVpd4Y82SV783Bwo3X/WQPI32Y5Zwhcidg0xuCvuRUM1ODbK81Jt8fInCZAhbQCgw/U4YsJq4IyuYAoI301106AxEehNPDmGCfGkeP7TPXpg3wbFtoHAbeI214A6+JcUxBrZYAP7UP0dQTHcC36Y+dAUPUxx0l4xiv6br7t8XIdU+m50oBVcbFL5arDKpB7IyTLm7dIFpjcv93JqZn9qaaarCCLuXLEW3WdhTSx5mY+QRv85PWGDFIBewQbv7AobSetI50fkXA4XvjQNnczaLET8n3j7wgi2oqfFXiWKAZEC3p/kGw6SqPieTXnQCuHOI1E9DeO0elTj+Cx4y+r3g1cCIr9KeSOeo+EJvyoyZDGfzN27O1wevFdCPgLznkYlPt97dEZMZ0x2Zm3rz8e3u/pxEcHydOI08/iB5cvcdGr5euWBX9pDoHdLMElmrpYkst+2GldNwuAttfMf/iYP7In8DLBxn542gpq0TyAKsW7stY/BOwJKnMnbLZjlvwDRB8h9W2VoczW9yrCRWBs11Q536irpci41C4HwkaR/VobaAlJR2CfWzJVqGBj9VlM4lEtji1+ikDTbSqGDoDmiee2Yvw0xcq66RmJLcq45tpimzl08LNyF2HLIO6kPByiHX5DoItzd9i9y1TO4evKReHV+kEZYEStgs4MVV23XaE4Ij6zWwSxKK3ub0Qng3Q8gMKypgjNmUqgiRBon8i6CTMm9S07qSSfUP356t5I5KSha/iyDNSvIRmZWkZIL+Qp/yTeedYaqMVoL/b9HyvwzXM++TmG+DrjQ3FSr5QgFfsHkIQ8YEViOLk+muivawcSFMCNZEJigzP5Yx7Xfg+xoRXJ99uo9IOvvorh4DhmeGDry4YlXgbm6JWXWPYbYwDGlUhouTPCMIATrIX5Lq6qkSI9Dp2re2rQs6eETnfaNYqo8J3Nq38j7mToZAuoeZBFxAokcDzZiwJSs6xpkomveioPMSTiOBhfV9zDLZTYjv3imQAW/bzy3zxltNS0zX+NRO3ougCPsoMI34WYi36MvpikxmCoH2s+qciQCxMolV3dT9yarNkj5Wq2jQ39EkYLosyu5DG3m4U9FtkDFnELQQmkrTjbuiHDJm1owC1y2qut6+n0HQd09Fn6m1QmLerURkECX5Qdrx8/dnDndFYJkpxmzyTc6Y+kVUkdb3JpffZ0k8AORbwG6myLc39aPaPU18orqrgHjAO769YgfPUShdZxEtj6HLLvxKicMA7TKCoiLlK3EdQO70EDX2Lt25If4bulA+4Iz/FiDDC/oyQZBvFkc+BTZ1WfzRkckUBGpjWemX2zU5vCIprAj6lSEnTiPU4ABLVsVxpDZrEw3oj9vSwUZ6hk30fnQ0HIvsv+EHeur941wfgSHK3UZXZvrrlHtkquFEojpfqMlWixj7c870irIVmSj4PbNagswMyrvhpXX4BpOi2RpFaPihR4ATCIRW+IUyfJ0VkUzNDAd6r+0S88zsIPCwt/+Ry9iuURAwJadMvY2njV+nnb3KqKmrWVGxnfPxG9x069vOKCgissiwCtpg6Xvvs2Oj6h+fVehLYQJRiv5I71G02o/AAcZC0Fok/zV7NEYKXT9FR2U53NgusC2+t/mxIN6lP06481XQZAoQ8phops2xbrIcjBZfwWQos51gna3LBgfQnSnmAFFNdoszAzey2it1KUAt0g1etduUrnuF8khoagz7uVLr8jjzudtNGMfSQVmYwb+oqar0Stny68pAKL5tkXESNYYjR+zvjdUTEzy91agvaEzNlivlcpEem+wAEeGNHcK6CozEzcC0q+6yQoLFwy/5Q1ESvnRWH7Frq1L30MFO/hsue8QXBZJQJvh+drwIJFREqc1PhI8Z6zjNHz0FlytRwXib7KH3Mu17h0k3fCYf4xM0TCefsYQwOnT9AXCmUPvYTzmRRqD2y9JXbLwovrsV9ihc5nZT5tIsoAZb4akMxO7CYcZ+fUwC5j+l0Oi+oCOLrtb6rc9OymyljJF99PzXP+9zVkgn2JLTRuSfxJiaeXzH+KWUQW3gJPRdpyOOU/Fn1JFLfxC8Joc8dbjmM9M3fbOJQCrfKcoBhRa+ejQjNQmvqrX94jUVX+rIWozlhg6B2XckeUmIAd0Zd0a8YjIanvpR+ZguK8csJxb81Vglj03YHQzfFEC0Uyxm/1QkPSVDCVN2hHlp9xpyTvsVewFGCdpFVa+MMQa0fYcphiwyfjfVRh1H1WS2QtAu7DuX8Hw7VcEyvMMLJqdvUmqFgkIwWnE48KYE3bk/GjGeG2VrzKf3JjZsbSL8pG5yZCfA1ahfOR/SvuD2RSsyFda4H4evDzzor1aKuZTRZVM+B/21a+GehjFKSTUxtGVyuAMxI1Vrzl1fkJATc1dCU4amMEwZaXhfmfFrEIPgC/KIZP78S7ToVd45V2KgbFEejR3TvYw5fPsIRJO3if9+ZPc4MLHEuyn4CkGwyZMBYsiC2rcKcTtR0MuJtQcczeML5zD+EjAytenDUBFwkOQkuVL3H7wUV9lE+keAMLCrN+/PtAbx+LiZc3CQ69E0ngZ2U0imJzR6Momz1Y+bfm4Uzb7QScNM637/qjotwlZWf7+MyJlwWepELpXo347WOuxtAZglYWaA/jSrcEhRQQPnZ26X5qlfti14685/Scv3/zHA8vhFrwAeY7yHD1cQKudy+YpgHx5cRfVTDqTCombplsrAp3uQJ94l26ZeeNMbU+D+zgz6FjLPu0Ummab88mjDpU3haqaxMX0cjp1Z6nKHgw8RcCqs0qpsHLVYLn+4w7NA+p601lK3r4lNh1E1bj2Vi5pwW7lziaEglVhhsaZEwffhMNzSA3QF2zOKt2XHkRJflJxe2VpKSvvtqwGZ7gEIFUG2Yv/5BwJR1N812ILZVmUmmAT8MwL0A+/25uS6ADoD+w9twLYdHKUMlZB+S+coJ+O7kzz+kXlRSJAyhouCq4PDoZLxPjY1TK9pxAj/lX4y2vV0FOrNlKhqC8mrPB+00XAIXf7HNUtyTak2nhcVOzoM23mOenko7fOj70+HCdgv1zPBZ5/ctR16oqrECpTBX98k1wb0TDiOA7sITbIWazWziPUvx1lAL6dnunFbctNB+trNCJmTZbmzU8IwyvwMej0miEUMP/88k5ziRPMu2g/0a/sKdl7tpvmfOUvzJOzYDKlpHzDdyu1Tav9ctc/MjpcSN4FCVBbc8R2j1JdJq0w3oDdP0H3lhN/OG/zNS/XYKvO/4DT6q/qBv9bu2Ilr+cEHjztLyfM7e7CPRzxwyf004x75As6I6dfCAql3qOe0JQv+wBYzCxVfBh46JpJSlR4FUeyotZq0coza18NtWAmh2kEJw5zUqPvqmsUEZ4DgdCLG5f6DkfCMoj5sz7cN+9NVCiqLENEb32TDd/2LVCIba9jPAv90vt5DnK/uMOR20Uwt7had+DaIaWtVM7If0l17tfUEJMssEb+FjrqTd9KQ+fxW8bLf9k7vPyyJSEVzJ5Vd9q+Jn4LgMStHV4ZiTdqLwlc102ZR+fHCmcmqxkp2T9DlbCNItMPty7Vq83QTUk+I91zPvT5aSqLMvSk24tFk+DKtpSGr55YaIeKCs0a1siES5CXcPDJOYynweo407xtmBm6mCW4Hv1oxSipbqnMP6A9NJl9WyaQ7HEcas/Corm1aGFKGJsoEK+3Ondz5BnL/8Wz5h1fsZG/ktTkrGeDGOtdOkyUycYB+C+IYczhTUr5UWJcuinWKlwcqwnqIZqzklXEXaR7idQTWkT8DPKx3ZiaH+Pn4b5WBatAbVeKomicQGAO/U1gKJI3yDgT1S7J1zW1xuVJ32YA/NlKFamJ02iXhxawnhV2L/5OYE6RuCC0LwGz5fxPuDYNT9+oHSbKPkT82W5knOgVNxolBKLW8GSu7XyOPGbc3QWbr3cWrKCosH6Xtp+HKIL2nbzUeSi4nNb86c+0JZP7y+BKywTRQExGW1UAfpTKfxms5rgVV9KMAS2bEwspQSNLQjZEs3+5rPfq5o1UmKd2KpwPDXaltfEfM7YGNcq0scZY+dlRxVwHVL/PjITrtcXDyErGzar3cT1SHlj+s5snGj5HLcxERTM2W4Ie4WouzuFflk6nlbZ7YEYPYucwD7Ap2ng6M9XHK0bSnWsx4wCUKjql1QJeDgmi5Oa9g3e89NGkwyiAJRgNpYk/39foFQwwpga/9rVLyJHxlzsMQR+CZTRrVB+UrqPbkYX1PzcIS0MHhny2rxgPL9iyR6oINqLNMrN8gj/Vkhz/SwmqkAc5wkHUxIb6xm8iZs4ZvNPuqPXtb/YDfsqj7NqAkVxVIcobetojhdk7QXgNj18mbayioY+uLmRqnJY6d0JvSXMZIBPZ6NrTIomMBPlGIRX4Rw8AJ2nssLawi68gD991LizP9xHmN0MQnJhbP55jgnaHxEO/MG9UKUj0Up7PlYlflLpmKIZAsvIxI3vspvO3O8ORAxGFbMZMh/PwZVwspK2OabXb70y8WZdZhTUX4wC2e2DpZXu1/JIMsUAwVjZDfGgVdk8BdKv2iJxM5drrrTIjmRK0Q36QmHYDMH3jfXH0afxfm5EMWtjB2QTgyCa+A8SAWEAFlefwIVNr3DDsGHAZDdILH4SCz9O4n01eDf7foosZRUrN0vpK39p3/Fhal0wBGwKf+Yx0Q3svxcGL86DgStR/2nRm4CIS3lVfUA9IW9WT9rpZAhl3Z3TOW5dPJK1RVro+NfVtfkPuLm6sqy1oH96wGysnxVhURiXjlOuM9JTzLMWEpt0BidlUYth5JCyo0zGmbro6vVLLG42rNOl+NyJXL1CiMC/HqFREowMHdZ5PRPrCKFhWLAtTW4dxJuBcD/x1iELi93qnBQ4kczJAQAr6uZX8ZkSf75LDvFl0OGLwP5n7gg3+VlTCTiROphfQRcEsGmLfVCMvuTRnokz+d3cj48R8p76ThvrB3dXzCoIQSIdtA7R5TSZZ0RERxJHG8w38qhkIfCF1ZyEF4egchZn61OaHf3LQt9th+evWa9md9VOQEqrB/s1qKIduhljfAu+lUjbNVDkWXi3Tjvhu5lyDz9PeGQjpkD6nVx5JCbbPhpRyCwn9Uji3KqpfYWg94iQpdb2tS7G94n9V7727rV+CWw2fU4kWR0knzzapC20LDjzuuNBLbVErGXjKHSbEVSJ15Ptc2jcyKlLL3sgY+zfRfHimCqQUsz0Tp2qtODv+TkEds8dEFQ8yTFubo5GxEGt5FeNxxUaFlrGmdrySoDfroqsIummluUJGIATblr2mJVbV/oimfzbBFH8w631LKnyf9w5Pe2dDdno2a4UNVdVx+HHSxRT32wXnyg04brdfmABBZJ4CBZyL3vW9tsDhogoMyxmqkAGwKTh4iDT7V8JBwlgSrZOCOcAjj+5GgkvBt6LgJUtxWXNP7l5ArwjSEIg3qrhoozvG2aeobnoPW/JBMFwk1UZYET2yStI3OmNgLarJSy77BZ9NCxjUtxY7PnwREjZq2w+u/QA2Lpit3DAiKX2FfDOJOxpannQHvWdj+yj9hH28BSE/uLpyXjwBztIFW42BPpp2a8EL0HvLI7tZFq4bBRrJ8IM3L7maOZ5ug4rppBtuoCxPcnYxOxFxaubE6DZIcyZuxzz5eUrj8hWpav/rAkNzaAmj8XX2kuEK5YdLkWvNySf0iBq58L33J7pgNlDbGIAjah5n1N823R0mSpJ1AIT2HPtRfV5ZjXzDLldwci3fJ2wojGX4arm5aymbC6Io9N3k1Lrb7+z9ahKqMoQac8j0yxDJMOl922TmwPJWqRCCrHGpJJzQPOXvE/2RsdfYKFTbGtKqVcfspfFxoyMZis/DktPACo/Ik374WksR+aLq+9UteFWsemlwVnLxBickil62gJKcud2Z0qUkjRHSLK2y7F88sjWhyJccPTJRu2FS5xojeZi5afP52AYhFO2r30S+RYkVkpzl5jUsGvkU/bI9RGm3D7sdw6f8NgcBq7N11Z+/BaHO+IaUlry5MCT/av7pYh9llEIuWR5FYyF/rahP07/cq+77KCj7+iQpR9P0xBjSCG9F15+j8Ioon4XrA81WtlMFGYwyUamnnG3qol+oOlwfjqDFhNCj+MuiS2SBrNTEEGlPnQX5oVPkZdBLYI2wv8CX/2imh8XcZMRTN6s/IjQEtG4NuqNqYsWxfOshGJNxuRY23vj+EL1KetWCGsVS9ak+oJ2iUVo/ghr409QCZrEoUowN6oWZ1QKbufLjmuJTRsQ3d3KNIWXe7tO6DH+BJg3xuMDToyhKrugssesdilFc2vS5ZYs7CtJgxZ/eoCx8CC4JSKtby4vL4C/6roY+7qSj3K2Zm2KTqbYqeTN9d1FpB1dITCgzMEFPkNip1/JxeXo1kNNiq7xCBCUTRAiNeb3blpTp+vdxySRRMEq51Duv9kOj8z2tv4xITUur7HF8HYom933Z778lC5nWNc7xpDdtmeyj3TMmUwzewGgnWiC4r+i3ChsLVT+dlfHFzq+bqjJ3i1IucrlLBxTa1Q3/MsY+/svDf+Mhr913ETyix+r/gf/8bVJTVJZfbNlvc88moCq3alJn8cPvuDytxH6GrxgVE+I00HzMRujcsWobRvyhwOehNrQmDyh7fA1cmO/700eTx2yM5zDtIo1cQUI8NIdll1qW7+zDSxb1obMZ7bqNRW2xacOUJ3Rrecz6k3U7bFBJ8pwNeqMN5IIf1bD7jZlKIYvVmmsk3lSXckymYA9thB5++cQuzihv2v43lPwTGePQWBjX/8MydBiuN+DjC+gI9nMMLMoHu9+2i/KOEEqMRdNfpjLh0hsBx641JZC6PUiONuqAJW41l2O07AnNo3JjtXeGdPSRHnu9LiRjf90m8OW+6uJpps6fp3EJi2aSa++MEyUpXnqCGrVwyg/WtDvOoyJdbjPmKA297sa/6z5bqG6GwnPxXtEX7p3tCqC05aqYXCYN4QRWOTqFaRIvo1rNwN/9bPcHOB0v+ygvVAHj8ISwWPst6pWvNyXafJgqPH4EodIbvSLR/4lYGfX8bBSRiLd1ng3o+3KSc8FCu/D+OxOXCrogKpr+CM8lAIyrs17kNjKglNm6OigTLebiK4KeDuCaAVYbbl46tGWLSyHU4YAc4zBujm0I1kRAllwVnId/ZQaDfe5n1WPYG8BOZBT+Z+EQecDHNrchtueQEIkQ4rjENV5QR2M9C6Fbmth5BkYT9vcUZ5NHFAOmPhYKcjead5ypW/iu+Xjn5/gNThBDraubHI2XnZlYPygbrSqF4WqIRvraVIENzfsRwwlsYFW3VWMsCZB9qoTfHNk2C/2Yyp9Bsd9bzzpj0Sy2KekBTa59wkXqt7QS0t7MBYMbzJ2qXVB7uyJjZkxRi8M5OS9bVh+MLjiQV7lZBW1haHSWuxtDkwFTYtPJvQaeemMv5nlHkmMujAZKG3IUXbjGovTqnZtA/fhWsrhUUJ53lCImK/SPr6lUkdI8HZLegTXxMLRiHBkIlqTSmgasRjwW2O/KM3HGhHV0r6mcbA/wSgP5uhyWI7jukjezExkMB1pS6BMId7+cOov9hr5zgYhMdilptXY35yr7BR14Tn35u9pDJ5hI6mldLEKzOnWMAwxM+j9gziM4FB/rtlb6d/oWMaAmnnspwY+/ZLUxJFEZJPMMPzYR1ozfhMHABxj3ujve/2HIRSh2XIS+sFgc5u5GMvuUqiE1cv6xzOJ7Jtx88bvVIgPPtTe5ZbGAVYegdzqayrLJ/4aKByDMozwDV5m7z8uFXvjyZ2Clir9Y1XitrK+Snb+BbBgKMvJJkhsbFPwaAnQUokDIhkCJ8YKNxBCTxujZEzVWJnKp0KDxhPmOFlQVt2X2ay3vENZY2jirH2fr02jp8PR+0fgjD9ouwUZ0+Vroduk0RPeV8FZBr034dPF8E+jMN1KJmgsiHTo7eT7sNtGbzF+h0VooF+O9she25QmPhBVUirjStquPL4QLLKFesCQB3+P8lDuC0nlkkHDBGa3nzq3X7jCwQiVSSlO4Ga/aLMZzEStiHZddQWHyYJqFy2vmzlyBg44KUq8IX16vTTI9b9/ZfGsUDW/lmZGAi6dFSuZMt3HxbRbCNtcGX75OQgqyRdpfvHf13+w5Th8FhFKwjVw62IKQqYLvF5z6YaILz2jeqiHtPkHdQhtstoxaN1bKU4hFUOvAbyzAvDiafPPah+jZYd3uIeZi8qaca4HRJ7kZ8Hxgg6NSpE0IYPkZTP/P4f8JqQbNs3zuBr2eXMb5X+eSoOEc21M+42QtA/W6fKpa17TgsLJUD866NW8V3/p6sLW3xWgY9uwXDA4b5gGGGjpNKQmW9Jh1woTEfwbgAyLGmJecccE2+74uKxjLSHYeYOa0125jR21R3Zj/7RqIToctxqqhTm97VHMcSM5YYUp6BjdWRF5YU+h1CWmWQZQ3lcKvjohIhy7sXXzWU71XsX4E2J5Sf98l7vThJItNdlRl9eCcbUT3TSR5YdJvA2wYaXu6ap0PsiyQLTlmlLws3SEt7HSq8QgYh3aWTv92aKqA6yyUWAVxPHPZSfov3vp+48YeCiPuAUA0qjSACznk+EriTQyNX4B6tyek6jj680YJuSKiz5kkmHbP9sFl6o5qp2dd2NCt0xB/UrE/Fg0hisayGxVbw4N7cLo6FVUCoUixseZ8JhC44SxmE5FmaWnhNxFBhlVuRL2LhTdAB4AW/O8fZf0/s+1GtGb7dsuU4H5Xu1eC9VnAX1G4OCN/5t18q73WzEcFROhGHRrd1hgDTBOKS0o+UwNKg9H4ATZCpnLHO0umVq0UNEAf0K8xrWfflKKhay3+I16RnRBALJgDTzAvax8zLpMl0s0tcLAr/JM4RQB9qvBltdz1+gUzMKrI+aDEutwFKfVTW0lsiRFEQ9HGTHqAPy/2Lx8X13BQi1nyZ7uX6ruNgtY+r/lXEozE0/y1Y63MnS3S/2PdipZyBnEYQywtEPgkTFb3tqRnb6Y1trONH+JQkYzMaB8KyhdL2Sn40OSICgifzoq3GG7b4aDYyKMTpbOynATwep8F7vUKvE0La7gm481dW88ArFCqxClJZ++QXu52ZrTGg1ez0uOspHekPrqW11sIry+z1Om8OngaYSkMVx2aATdHFQmzawBz3MRdOzPqT61pCQ6wdU/hyQg4sLQ94QDtjdUihNklZ4lolY854Gty+HBrV9zqLAWUlD8rxm+50u1sk3jpXL5kWBYDPrWS/PRHiNkqUEKTfbP5EVjT8HjxN2TQuU8ePh84b4wq7chrUeCqj20uZQT42RpX0SoXur0ZEFCeYAvJk1vLAHDmLTCJbcdMBdwnY7Et6+ofBDx9/Q2ocgJGQe1AGP6gKvw7XPW/pK1ttmZqeG/oc47TRIHZHuCCzKY9dJU4ZNRePZg0U6kCXxmNW9kl14BLVwi+MLq1b7Jrs4cc+Es4bleSrzdfpzqjRv82R3VZdfg/WXQ1rge8RwRReEX6I8E3D45P47t2oMHpm2bcqL4pjrBjIgmj0h1nu6IY5gV5T+YQT9S0QgAjHcaq5pO5fIxwjyRQQYqKORjdQBIpkX8iMz/keFTFeHHyvyUX2Meya+nW0Eg6oPWWwd9DJWNXpa5wBQuQaoKPpGtP4RDptw7fqHOqSKki6hXxzXOEdzXYwWjQPGb4oAtOJ6fDWF5vP1HAoT7cPKuWRzOCG32Q1FkHur9vt1m6ZG6kLjwBMoE92tJzBFEV1yfODrIHvlMsahnAOGdQu7Y7O3K55eO6DzUVOkG6QuepMQKIsVbziGSkS4CuLi7veBajyOC82mFgkeninODDNHm13fT5yTGas92SssxYE1uRDuagLMoU8V0L66UDVnpIxN5FYDd+Pg3xCNoc01YJcGaUvGWQzuCPKkp1Pr3EqyCUJqWBERhry0Yw4npEoNU244iS0lH2Lmowa/hHq40itNL81H6MJxBHHL6nbIrwvqQlmmJVriSfM57xF1TGkaZIl1fx8TmVSQqmTeVWY1MFoall01U4Eh+s8Wth6OzavZMqVBgO6qSd6OEpqq62wBY9rg9fXy+hDqXwmLHoJTbEcwweMBJWl2ch3wzCjab981JKp7cQINCNuhhItx+eKqK5ynOqeNEayGZK8+r77hUe5hHyC21k/En3NJ+4rL/DJHYyMKsEbGgkYpsX2GfZkgbpeHg6vXY4tPtAkDLWfC1eNlC9mbWfp2N+KPUwMEKUTz3rHoqHv9UovYaGUiToawA/s7f7IJVnY9iKV58ggl4TyaJEEWOFIzsPReWL2q6wC8K4NCTlSOLPGeG0te7fsHP9jsTZzUzwbNriPeuY5JYDzHHJcO9oF4aKsr3VkRFXEnRG4krWIPp+Jck+/CyEVE7MDzjhILjDTIE5WHf5FJoZ2y7Wi1jRSY1ZnvTS+/iomEmbUrLvDQvigUxmrdOo8QQNa7867ohyKz67VDWACGvaG+jRzwm73Gr67VCulvx+Hcac4ocrHvBk9ckdamErx0/tiQG2TLbXlF2jy+TXJi/ydut8O3fDZ+vx0imAYI6oHkMjs1+a0vbERjyEdY7EYmytpLRBR6rWueqNbvwDm/Va1b8g4/nysJ2pzNtSF1RT7azu6phWxdzgh2ONQX89zYPIlafDP03W0b/+NkNGICVS1v6L7V1VipDgLO1T7I+H2O144gs2J0W3gqLZl56cjpOXv0WX9zY6A3V5yimvzBNWogCIe7jjyEdDDZuToUwWSHLPMyXpAR1j83ec4uIlFYrxWyxVOD74BUB/Mu20/WL3pCCXuZaPG9PjRGAXjSyGDe/OaJ6gwm6rRPbDzj51sgUhsixKKU/cMN80ps+o22KcCWnzsN92khJNzP5IeL53wEoV3lfKlbWL7x3lZ5Hh0fowDqa6DJWITNm5rXHIcM6NLvdvd/FzailYMBMuqXfxAMCsdXkSLYIIZfak/kwRHto4gwVIPDBPVgClNC2en3MikxuL5d91NSUbMYA8nc3IUn0USnJy4+Gos74KPzY+Zrl+S8RItNzOBzh3uwPWtIcD3H87UnVTsMUbv+kG0p4TlfC1I++uc8pdGR3QeW7PMpQ+/aHxBtCLOLg1vkMoQUe2pXZfWzP7FQLNC5dn53I4nIQUi5lI62smOTq7XYKC2c2KNN9OmEB51Y9KPbwd2CIlGpoe5oGFQ8b64WyTatTxoibViMa2FSmtDXbAEs6ta8jM6a3EOubk4Alz4zeXlCTBh0b7YKsbut/G9Ab8i/4UUqU0eAnRN+ga++zQSV9XpXBbuQXRPosEDDO4F42Qy/Noi9vc/tWPwRDp3qOXDl8O7Ea6nRPB7jTuwFMaTyXcENOwxl35Em5GnGPLA9WLBrU1kmHR/I2pOQyT8yNxpG4PEW2HVc9hdmCWYT/wRBug/1R+J1XnmVTxIR6TW8IOZvyJdL3s9jvjxkumcVvZlCnRQhUuEyiYYroP+X9GgCt9Z8/qjpmFRzG3wM7jLPqGnWjElzz5C0XjhLe6/pnkAXY/NJ4veCGBZmV6QZZyf1wBOqkrbFWDogeFMDB+uAS6N1Hew70zQYBiPjVdxZQfTH5hBzkDmHAdu3/AZlOQyXcgteB+wG81U8gKGkdSC0AE9mza+17wWThlKrBOqpJHWPdm9foFoK+AGN5RZd6NaknfOzhCz8VF0XzDQRYixoQfQL8giHRP8cJMGX5J1QSss4HmVAou1FygA6b08K4QtOJs4LuBq7273yuTOqjU7ILlPX78ARcGcyYCMc1HfSZhZBIejNY+d9t3tV8O39MWXPvEMOhb5UUoSk/OJ5TYxDzn7k8s3PQXQWOyZyomZlZJkIObfu8CQlV45I6KZItdn9YYJAuSucB6L1IctOr27n89AD1hGn28GlK+CUKN0gPI26bOWPISOlaPUameMEsbB4lY/AjeLEdNhA88T9uC+bm7nBBa8ZKklxAiG/49tGzIWxnjcIdY/pL3u+hDfjVHqCOch8i1Yd1LZYt0zEIXv4PK8cYtVizb7HEPhgFhO+vqum2QTE3kFVgI1xuN1LojEh6zS6nTWz1yTaRNA5oHEV4i8lJ1QwxzjfhsvNuBvkl3C3mqBYYa8UQBJ0Es1k2j8AFvx1Bl59eRdzWIlQe1WghuLY/PSTP7r8m+tN7+eotuxXbcEQaVh4vYQyQ66sgLWfVkqW8aFM3V3ahFNio+5SZyL3rwy7/+6hgvyxV8RqtcZ3YcsDh/AV6Y7Pr996rMSpnHYu4nv4R6iVxlDYtwwEVO/Wuc5mb5mb0a9w8xCP+kd0atoFId/TIc4gH1ZHFFo5taZ88paAyESHCTG8VWfA0L5qwwjnlv9tEfIj2GpgjBVYDEIshLb2tAzsM7+T69TV0cK0+0MIjsWaqMXQuW7H4/gU0Mg/adGMhjEuP/p4LLJVbI0N9jDg+KWRIr6tVq3sbo/aYWvGBBO3r42CedTrAnUzWrNPgBPlTnNQeV7YX7fRMwidQkI3JnSDU05/BImvB2Eh7sFmBdOJOMFXcXmF2v7FBlmt48P/jTAucXaBx1iIkGUXJ2hxS7X/xyjOA85CmaQ40OSEGF2/QjTlfpQbFFc31lPCtQ6a4WwHO34HO89Suau6p2xYo0j9+nTt6a89MCzYWm4gXD0oWbwtGRrtMs16W/Hv/rGLN9AF84jSLA9maU+19CcmsSg/m4M6C8fHIWEwaObac18wpyN6jL/YECrl6dkBBhJVQ04EUND0VNFHZmmSNhzLUP0cHFGNuhFD89SOkWQxteFfyNifVPOGyovnUYhugMMtdOeBZ/x/rXPIYKbdp1HRXs8MVbQYA6/p+8PI2ve/PdDNJ6a6FbF0jfbpF79Hu93Pi1gJVXOBxkMuvwuL1fB2+vfdxjFmgzyLm4DFwoTLSbEBX5tgvAJliuKIqc9G7CQwIrH97dfew0iQjeYQu7D0Yl9b7J3z3Q2XGEkmmmYHWgq7uxO4mvOdOxf0v5MjR3NcY5jIzhNcvSakwhy1ckMcvfb3H4ta7JISDH1+Vfz8Oxi+KJ1zPajHR/fOSr8DywLbaCmy0t3Rs1gpPIaQctMa7T6zpb2V6DW8zpHlyR8CgNej0f0w9DIn7HkLTEdDq9pjnL++Qq9jJ/xKfRMUzwiLU+szn1DfkK1aRH/IAgXnsoEeMLo+5SPL4OblS8rLKmBf8+RjDOsgCoSXdk8bhJK9JVubg+SmckuXyGTov66ue63tGxXjfrA9hnG19O4MI86sDa5xrcK0iBCNpBel6sZPLmHtY7gP3iLI5AxDDeCg7lsPlpKfUCgelyp+iblTmjrWrnTmIwjzx0fPhZ1rhKgBaG1uyarHttHNm0om1mFhdQp4hUP2NbvTZuZ9l/lXl8jB5gpUI1yybRTeZNIEDJYjQ///JvJAX/BnW+ncJ1A2GQJgsF5U1MyiPkKnRe9EzcUAD3VdMBr5zq8b1H8Uhtc1tgd4Qb9+O/BXV2gizpHhfX02wzWEn7zifK0tDsLtDaggHc9G+zspTVv76RJhCB8v+1tNJDhjw9KMSWnA2aigv7eSjAtYvGCBpxVX0r2bLWC+gXjKZnJ0b3rGFlJIjPCwT12Q5n278XF1BhXlduAX8mwxxvUaPGW7y168NHo4BLTqUtzPwFtPyiEald+cJS45q3dnnLyfm0co6ubrwb94xw8ijzXeaIL20HM3EPI5hQ20uhBsqmoNjCkNYZmEOkvopT/BodpSV49PgWvx05UcMt0glWIzfO4DNPTVmP/5zD6dgZTP9OG5aYZGnVKwTqFoxbVesOdPnejd1Pg+lRLLY8jztt5zzqDrYz03BMwKvpxZCAMlLT9y1yYIrjLY1wc6GS3mJrxbeEsIB6AITbilOqVgWU9dJvUv16DRc2PC+jLqYE4BIJ7FTRsnl1vvKnfHmEA36O5ElzR/7g91taLjwUK1SxQezY4GP4wTXe+8MALi9yReCLoM1vRzqCHebNy2QB2rP9LmyBUi+cceJ1zu7e/CnUx538TbeRfBuIV/yS55w/ibDJdWUxHCY0j0mO3cejmnfBQ8x2YMRjqLStr4bYsUjgottn54l9CQXeHZG1Dc2vMVsB9gwT8ovC9PW+6ttYH6wIPFZnByfEcwqI8/LJ1aIZkEc81xGKgzUh3fgRry+6+eOjOAr60zqeJbvdyxrWMkXJZkyePgt00726VN8wlf2vBjNAH0o2XPpDurqoIfjfOh59ElxVLRucWu7itFwAH3z56DpB1qlKhp5QOxoxpkj2+oS+OyBX/jy0fUmR2DhKGe0Da8HBpLgkvU6kLXgIAjt/OY1sk5Dx3Q2x6iSl7DTrOp1kbl64RuP+kEijPb1USENmVU7xdnwnDLUh6hYgzpO2Quhevp6Cuf2wpUxrfv2ZaicV4SgXmtNgDDvAOuUjOP89nBDVj8NkY/cw3GmyL6QORbFgxVAvjEo0cmu0YFIiWFbW/aydk0FJBOo7PcBGEgNoncF5v2AC8sGu5VhmrgPczT6LS1PAGq+ghVRnQTxHVWj+02mq5PiAvQCtlM7jq7Ezc6uRbvE3yxCiJEmDRZOlGAVl/KffWxvxJes3EhIiRkniseaIY/0At7QAN9XnPIXO1NgFwLjBC7e7hHLI36UCrnPEHp50KDVL0b7WXUKasxTjtMHyrq0XshRSUtNjT4za0f04ATnVCHa8Vc0zwn5VwTPOHMv/m9VnCtX6s8xNGLWBBUFJa5FUO6qKlMWFRDqqEBgSeK3jGpUScNGqCZIZThx/CDFw+vj3M5e0raCrPViz0j4mFncnNGeUjYiEoKdIdINagi+2uw7hlbBThrjzmGpddIOC9IwzjGiw14t05rvIq1/Dh4p4BuL21WRuDBh5rso7DIE+84qJmcmklQaGLl1+uCNTWYh54Ow0K32EQiuqL565enKfLc9ofMy/2tHtpTF/Rn6tDe+wOcW4km02S1LF8PpHOCvjvb7M7kDOwimrsytDyflvT/OdKtXXNawGmYl6PGpgbSEz3bji+eHef+KSai5hbbQvKIUZEsAuqJ8mCVYI6msAkKvQ6WHMar6f8ntCbaARq/9NSwPW5Kolg4QaFvLlSCsqYHXXmMlUY2Zbo4eji92KrGWNk7+HxKj59nRJm6RsnkAiMVj8W/KL2wHb5J6JhltV2HhgjfzLZmtM2YkihkDir/TP8Hw9ygy8WcoiO9nEY+HaFEoiuK3EOjkmCwZy1mKg46356nKmTT0SVo7HmHYjxNWMPgqCUsGi5+QokuPlnUZqcB+rONkBQ/X5Uo3Tq4+yNvZgU+aiOIjSUKvWYtwropNkH+4J2X2MpqzC5jfFtzsU7L3VzKIFyR6NXkoVZMsxNgIsI48/RsesViX5jKQqXbfT2JA5jsAzf3kfXmO0Xx3CfCmjpCl2T0Cpc9iVoMvtlkWummFIwmL00SbqJibflhKvywnRzYJGmGz75cA58aJWLk/YaF/kAaYSi/uL3hfIl6uB5NejcBqWpJw4DLmGdAmPDw5srlzQj7lMQPHB4X/so8oV6IY6TuwfT6jcHsvV4g+5SGiERkMQ0muamjWsjCu5mHcKLFrehAlsfzOkkeLdH/DKOoHltvBHSy5Hj2Geefbe30akDwGAKC2pX3QaGazstrr136vSOji/HJ+1ywk9aa8tYUQSnHesqHPCqjGZqdK9J0AtsJc5iu0e5K6+Slql4gjEA59+BhmWW057tQab82o+b4NOXh0YNB0StAbZy5k+e/XMvqC7Pq5buG5k2CHiSRz+AUbeG1blmr3T9nTC7HnnRRSWyZEUrlRsUJWkEIWO+OmokiAnAiqdLfbi8tXGTWeaHZYK/WoMyLTVaVChn2OmBpO5zlOx/YSKffGcurGQM6UHGR3XMG3UYytlaPcBC1LUzh7X33zALve41JC63MeUmnVEJgfY9yIAY1/8lI/xOp4KEAbcwvtaBp2bF0t0NBtjjc3gS7OY4aiCrjv42yPmLdgLQ2K7wpP051HRppZdmqfaHHRytpge31Vbpq89zQKLlC9WNMgr4q22CYY34TYva56eH7kt/7+Kfhh41g3S4F3iyfmSb9G5o4ou+DfnGhLbYPh28Btg8VpWyrhl5y9hq5mrx5eJ9g8AkvWZJwF9SRFw4t8+MdPVKXyHT/T6JqfrJ9cfDZi2qnRwXezE9LQLIdWjq0Zyn4S+n/TtDAtQaz+Us5b5t5e+A/0PVv3jYsx828xgFk9KxXwTJdJJm4JA3yjd3GhNyY/+yZ4OJqyF32cVcJD0PK1Z2QFjoyF9dKP9FBI7C+BQZBor/zviOjVWOmFsF9T6w/n73fwvt7mjqNFapCxlXBRUG8DstthCsSisSukw4dpY+GW39Z2EQg3XS5+XmAnW7V/c+cMYT0EUc2NY6grMUlDvja0ZHNvDQI5FTQUvb3m302e28nu+c2eQWatkhafxYNpQgeNx1VvRFggaK2y8gjnS0x1e52QJWWJZhSV/ovUaPzPNkKlt5v8tLxd/YGGWwQnExrvmCKso7GMPRegl+yGtDQl8aNi3yqFTBApjNSQqmr6k3d2XiogE13xGBrUSJ8KEkf/lHuLi9Du573dW2iIITSXOjf63++O/X94IcH3RbBPoahDJziZsH9fRhal/xlFbBcdneVd59Tv80hHp31hod2p2Dho5TjsgFncl674mIgGeL7D6LcSxoRJcXIgqN6xO2FqiDsKGi8WCzXo8in4dZb6ushK9ZG59Chne+W7+8dw33Fuhgej5tMqdWiWFniqtTBjluxpOUQYV5rsage7wrmhA1+GDoQG7s/ReOL/2/4fWmCVuSDv5Qj+GBlIDBRcTCCNLtXmHWj0CML6+x0is0p1NM/+nV1yOLRB03+ZPrtKEv8C8teZoddp6yqDxf8RATjCyvMh2ClKMUd3h6pQDP7eFMsior7YStPVwGB0IamSvIEQx1qIQP50SaXuIqVdsmSPBEawV6qvfudT/CxPbOtF36wh6oZd8Jky1yrBWP52w3Lx6phmtk6LNKPsCYYYIyFZYH4B8qEaOo8IUI4PQsa38W5nONpi8CcCQ0PSMd8DCk7z6nhF3LCns4SIYZ4cEUFYT9oIeYbN6DPXInIIZWAEnBDpJ5qycZvOSVAgMlWxkfrQmx/OGNrpje2r4VEaxR3RStRw3w4rrT9u+wyeEe5wCoZvNcNTauIjd0zOQkjVTckLP0/cw4vzPfFNMiwvUDz59qZw2PBExJMJKkjF+zfjsc2df2A8eeGdAD+xsICSkHu9TQs+D0dK2csg4U4NHzMvAhU5uCK+dQStsGw3LLO8j93/0+rC5gqm5V/63M8ETlXsZip3Llm/oZc+qphQaYWRswaZbYW5MctlbR7C4VVz0/tQrfv+KK3Nkt/a8QKSQK/qWD0Wk0RlqYbySmIx3peHsb9okcBVjOZhWfR1rBgFrxJyGUg7Qtm7UalCvXFlQc3SM8LO6URFLXQ15hQKS4ggfm5Iasx1GAndNG8fHdJNgVW4H85ptGsUyt2Tv/o4kWBOjgOqcLOXcJY9xxJu3v0mhKauMXTAytDhpLqSNmcjcgb/Zd4RPhLV6vFAjaRg3kpbCd5fDGJ5FMLDdqjnx28h82RGQRl1+7Krung9OOhCZW0HWjpZ2a0ozwbgWM1wrVrayIgEHTtxCLea7RlSmw077V2Yt+TSjVwg75t9KgiWgB2Ry9rXpGzw55mFwShmgbQrvX19gzBN/5wyV2lP3cOPI5bBebERA3VfvZTi4Drn5AqPBgiuBmKJKNLCQsGg1FftLqE0q+A8nYFUVjWJcJbIt+peN/2xmflQde4GtCMC27okDP3B0i+5NK/ZovseWM7NsOwsSg4h5Fpv0ws5T/kZqm7LRAKAfFfmk6Xk77TqLnQPovmMmF3yCSl4j1ks11opFafnflUq+LE/5NNGUncap5iY39pOi35m5B5wjQfWMJR/ZzpcTrvbQlshj1Q7bP00xk1wpVfrRI1bL2PzuuwKELpgw1rrj+SEuXGUfm335UVj2TuRpXIxU6vepZ6IyddFgEy0HArhBsnemxHyEx4EG02xKnwiYFv61Mt0LDMYzPnxVx1xXQFy55CfsM3005vwKpqK12kbQ7CCRaignfRsoXzPerDFHyijLzGdACfvuOcB9g1gnIlX3Lpo181EjnbyE3O4eT2PUrgyYuS0hAwrJ3LbrKmmesREraDs9YKuPiobc0zQ1XyWPimEa42Ec83t1Aw5F+D6FSWr45jZH5A9GyKVbsGjxOeQfGcfu5VxmXJLl7q++yvYHMFMTg+A62wdb5fm9OvwjhoktC29REhP/bRoDLNMHHGawsfAlMToIUh7QdpIjvCNYBeW96pfeK10mI+GvJbIU6sgahQkNQRbKt0g/3D+mOKy8It5QVvmisUvUJ6kiZ4RRPfDW6037jWJvcmpYyNpSQsIwCP74P9W1tZiMLfZwYVSE9MZOVEnXaZmFYEKpM2CsZ8lg9ZEJ78AB5kq2PHKXEbpWY0tIv+gNwQ5yXDSyJG5P3fBtNUH5blkhdS9YRmoy3DqIQTIXIlhsfvst91oq3RrnMuDKaxAIxSKnvZ+V98mRJgOLXF9WuZypaa8szbl4LIPerV0td1Fz+HkhZXi0te36A2D4tMUHsDh8EcV8Ak2fUql1rfF8XtlYv8KSKk1meGJw9BaE2/9djfFInTpo23FYA7zS9zSe95p7OFfUv+MgONt4D8u2/4MiUL518sMuDljRDn6behETkzj89kcTZF6V/RkwrmqHMSfx86WolT/SSt/HR7xvrMF9WQtTXy3sGLlsuOd5AnuMzt2/O3/ZpbVcQeIa8mHDi6mTSXdmo0T9qXxDojq0a0XCEKbBCyCVbhankYLXRgODlKk+/eAYb+zlwgr2KwyGnHwiT1jxu4gMauzduYKe1MtyuypaDjqNmYKLuFAjwY/tcR8TZVh9LmRwJgC+t3u2/p6ZV2azwCxNCiIZ0FcKt2ZBIdUF7+MhlPwnnbsZvVtfa8gi7h08ihwWwklJ2PQ/cKoLK6zZ/cLbPAszXr4HxnPSA2wewisxC78AAniz1FIpemBwklwQgwjZpCWSk3itNYllqVEcasNWQo82JFsaMBYDdwjR+RlgZOoTFAyUvNb2k6Kxpf7BZCEa09EYSJF84vtlIfLsjvBmId6ivlV0hpjNvkRhYUFI0bscVfdyaDM+L7ADCNV4StEsCRg5VfnsMskBlLqxXZhyRI5ALebS/o0ZV4PT3UV7TQbWRTfUWXy+pbOlVuhigmuEkgFnWunfEmn6Aoq6UTVMtlFW8tIAM/SeKrDVHjNrKirAlk/Bt/RWj7NzycMXyGqSkAjQ1B+aRKasUT/mdXuUwAa2gpYJ9LZ1s+zAD0k4+dILutOOhOH3UpnwAlF5pM/euQLtY3aX2kc98njMM4d02bgYwsByiA85bhTffGPZ7qYB2DCxJH2tHm52jOqXBGboI24/1pE0gn8VOqcK8Np/nMNUb3xDlDdaxOzFYpet7gbc0+B7N1aToBPlhtIunKYXU2tnQ9wA64EdGLCd8n4x805bgmI4yASa0y5ua2SEL03dCEv4aQUuwimKCFP51DwDsFaojb2tdgaeRTMK4UPMVXrXPK3vL61bKCUAisdM1lmLOdBkl9Pq7qdvJvJCSGiua1zPr2OWV/ivhmTdG6jS6esA+pf6FUSGxGbBxKrU9JlIPvCNNCoi1bX8SR6gcW5SPSiKNruoE9oSnGbfUsoxiwZSZMx03mWhNqrTbwb7V6swR/kfhb3Vi7l/1a+b+wxukIdAjRN/ifhKzLpzy0bGUJ/1tdrRlpE4jaJI3/H2oS0b6IW34aNVamnvexaL6u161tRSfNmFGB9GNdmMtuKjYj7v7SacJdLBi3GSlu2KCisA+CDSvAYjNCM2e8WgthC14cjW2+hSUXDrrHeuvOSGqEruNUMmmzlkT2N4lEkbPR9L6U/UbfN+JICWFZWBY5y+WqOnpssEkFHB5XSIi9nI/NOqD8atfz7QfK0BkphmOfVL3IecGmkInt1jXSja1EEXdeCpvekq4K1WnO1TndM//Y0/r1k8Vjx7EhAMZzKOAyKX+lmd9ouQIhdozFgwKIl+p9HSRSSd6b+Ge+tZUnmelEpWnSkklFqVZaf4HITL0qPSHnVHIhfbKShmleeJQpsfAPK6+SPGs2rPwz/1ufjJvo+qC7V5Gnn0QNObRsdrcvMQ1Kgyu5InhTiqbkI686v06+STzS8MKQ2KDNurNPzIR8v70Ph88WQGcqE14673mB++seWfth+hL2gBfkny7AqpFtFoCIVpYlWaQgmnK5960qQLdZoRPx8Y+T6pNTtoRr6QRqZTChpdlQ8RwrYj5SqJqpUwVtvtMkhng3JOQRqjlXP5cEQwcCQ2fLC8TMeQ5eXWvlaPMUpjyYaPrV0oGCHuyqBMJlryBAuoaUJn+OwuNYnasmAs9+BhdRaoRxjuddYE+O8xFX2IIGLbNvuaXnsCK+LbRzSflQ0uz47ZvJyXO+oSfUGOrGbfSJhMWBWqfp8PUz9vzzmWvV9aRdExL1gNLzWsAU4gSADNGJgFq0OHnNKGxPLQ983AT0L/H2i88lVft+HGUoogvRZsmTO017r/roBvs6+cHYQRP77hd4h/NgmOYM8AZ/rmfeBDnTLizJUNd2kNx+s+/ExIolh7iCGGwvOidnFh9R6IDlp6YLEJG1sOuSGsb1+VHllfQ/xpU6OgrTJYv5OaF1w0mJJStsGJ+ImP/Sy5F/laAhhnXlAr5zmH8O+YnHpSk96PDRIYTcf7VazuzDPA5A9ilJJnO3QQql5+xrrw8o4E/8dRaD10rqXUbFtiirzW4uQdZXamfFHhKNVBKGZpXwNttk6I1e3P2idm9wz67Gstu9cSEtLq3FDsE1UWbtg7esrXWHowbugmRzTtRm3diyjY5YeIjt5XITQiT9fmu5dLiKAm6bZad9UEjivBZW+rcN514HxXLzhMd06MgI8orPGQevCv5O1WJ+RuXKGB3dfdDULsjjJqoNfR1tVGN+2n9uJWcTP/SQzLV6dNIn/OWNDxOn4QxmvgqZcT34nrZYtXzuniSqFx5zBn9zLWKlRaO54rGeaSKLyEZOr1Al6+wacCi/JYM54zDAyJeKGlbNEJAdyVeYhZKJTUK/igRwwBcxXqWkSPpKuw0mlWIP9W5mJoNJhTlI5+EtXt0YM4K/8w16pEIUVraOUPZ/AGNZvJkXuHt9679rlzQuKJKtA8o0cIllEYvq8b5KQkJsoMmO4v51hX//U2adUY+1UIdSaup71z/q9DNY9Ep03DHLge0kO+OSbEOJiBc57RPj7xROAAYMNbZeATYK5lOU5m1iHFMbaUcQIiRIVZhBQxc1PJqGaJv5bAQ7goYOlPpXwZJZ/Ka3gwvNl3m+73D/iYnX9Xfa4UPqMtqavd5WcJDB3pRXe2m2BkUxgaCfkmwsWYxTMoITMfASMZLb2KXYXwdMpdKJT2o04QltPzoaIQvksZ4edKdaIFWleXEgvouoDYgf6a07Pi9mYRvTxJ9g4ydIX6Oas4tOksXilHKfbMsXQ9B0mKnKLAmCUzf4j06bEi9uX4/LUIv7jrcgh80A7UUB/sDfeJXwm3l37SXIfskbd2GmaTjDKK9HYUupB+7lJxhEjim7FqyOztkhBvkph/CCOB0R85dkeLCqSLD7hDAntpLKtVxOC98umkvuLXv+xgDOiuB8ougxCKSdIpmfjKAR9Oe3IytbmKPqFFjDhuxP3yfdYewXeB3H70UL+aX/5aCoEucRxOxFGstnjvCW8S1PPHViCZq+B8Y+2+n1f+eHdieaoqfs+AO8yWOrtnb++3UkW3rXfMPmAWd9FMy+vv3FoVYYEGaGn2qJEyqtw0r3fRIr3ohYAMdLOTMTtwFGLRRcrMnZGZSlo3GcssgcDEaexjeudvbeYc0JbGEylEM8l+acQMIr7oRZmiRQCF7kCfYLlUXBXNwNhbUGtVgespuY+jSn1wQmhW2Uon2bzN1xYGY7lM5JuLVMNGH1DBMa9L3dhEnFEtkHtqtNCjdJyF8gJPmSiRmGpr6shGUPErWqxxKAqhd/aB+mh75fp85Hk5wGouYvVe+cLLYvOW99RPcQadnQBtYotP18zXtUKsGAudLo2QELmPDZ1ejgCvKfMOgGq/gygRAUrf/V47bvL/vEIqyR7s+fpLiJdzIslA6sVb27pXne0JYDOcIVDsaJgz7Xs3kAIpZ7lfoDwdKNIvmFo7aR16Q1kF0eDWp8mgGmq10Sqs/V5yudzuLLSUuuVHBAIAPZkiSc3Qllh7WoGxNCDe57WX3B0NZ6pnRl23kllgDUtsD0MkFov4oRZko9P3X6yuT6pGZNaUye9T6Sg5gvld6MjotUgExJCRwPUb512N6nVRUWNjGBmqJnVj3/SSJCtJ7dHJaiyvUIN4BnYJkYHJEAG2hEloP6bTuPBUOINydcJrmXsofl0wb0bTm4m9ghXWU1tC/SN9Cd3IewBdmaP3fQTbKMloKLR1dGjbmm/l4UrhEtCnrbHEeaOEfh+6Fs+U0AGjPJn7zPhJ6t+ALqW2IkUrasc3j4rjKs2voOm/Hiaydj4wQhF0lbDD7hkLH2nNEbaBdnn3TwEqDwaAy6BSolYH3iioSetc5fIHwHtDpVr1tXEl+qCA2khOfmZlEnJrEIO9ATjLuj8ThoC7nVnZUbqI48Cu5Hbsvt+Hj++jS0CvpffRv/hnkV3Tm5RCXrHO/PSqFzORt8sZs8lW/WkNbB9MLtW3yyxsSChKxDnkNh5SeIH1rLPZjhinHKgCAHJ94Kz+D/vXCfse3HlGT5P4CrAfWlJud1eDn2FKjBAJgkFIJOxsA8aKPl0RgRNDoZZNDFNDg9X+iWQIfJ3uNRRtG7BocZ2QHttDhQL8NhPxu0nUlHPM5OCl59FFvP0iGJvhf0xpZ13+jVBmH0E1fPjndF/0u8Pkda02JHgDhhcNkMiU9SRZ+mc8Tef4aJ5Nvqrt+Mv/9zATNjIj76xK1Vt0yIFGK8WLgU9eJHRt8+770gCklbRpYl++M8aG9fqbhYVD8Rj5oJ9Dmeg1dPlG5tmEWkgriFSyyUqy5LEhVUR7cpjGEHn122/5Ib4Y8GaZsy+DhvLSarYy1RHIS9FzoyQFI4/hgswfDh5xLX90HWlB5oQ+16DKN9jbKKV3JwK604aVzC2C5sicBRis8mHf5RdX5VadOvqvR5ClV2po8uDzCj4DQ6jPuOGTLaJLfCeFiCI9XNzBMKhns+dg1ZSLtlrpbANkMnMHJul7SLloME72Yc+Q+89PUidK0euryllQsnB0mBeD6tMkrGsYHw1PnLZl4HIoKJKCiNPDXqUiPmmbVQ3sNw7CE66GEfIOcV0gfFmCr9CIXhp/oJy6UqKfdNhs0E7LqItg98LeGmdKrAR0wVjzRMvot4NdemLx+btuM2OIPk1QbUtwR6J5wdPk5O4DrkpzAGLyCraQPeoZB9LWxyw3RQAOPZw4DDCmCJ0wcTQVt2OvlQtv4BuRj43VfFgYJil9SQuW42wF6u79Fqkr/KkV0kxv06r/OpN6vb2PRshOvg83hwPfqVzzEGsS2O7zWZoWU8MLg/9NjsRZWn2E3CiaWQdnXNOSaPEMKSZQ4oHnSkXKzRcchVvID0fiovkVY7lndOQgAF0PKgbTFUd6p2InPf6bSLjpANvB8QtHjsEu0D3J0+VwEe2sv2EBMpSEez9TtoIRdoqpfwpglGEMc9fCQMM+NxnslRwji5eUjQ7P+vsu6UakqjJeMpvr2AQejCJMGAc37bCRoXcYdDMCN29hu7xTaUaRhBYaES4VfG8XaeuXClBTcv1G0pyttAPtJ9VTpLL4vxI3F5aQU1PXYbMp60FT9P59gxrvyIMuqmSGX/1MQZGRwUEJo2m1SCDxWm0EMU2YhpCACwUKGvIfL5J1OonjkjtfIYs896w5cwPBXTp1q3H4shriDKUg8bA3mYIY5v3a+Fc5WffdZTfYuJV0tCKWylDOXhbz5e3UkAd/ef/2XdloU9tnHg7g/1IV82Mc2Qp64r/2dIkd8mTvReAv+dJm+Yx6JbY7DiJdMA07nqNvMWkL6u8tVqhxMjcCxqquRntdQdrR0XvnlAi5MDy9KqNgu7rovgxvjxTXBtrER0aoQJakx7P3/gzYWufY1yyhpds5CXwAGPc9IDzLybRfcXrYw/byoQOBToNjiu6kN7FyJ48UJqGnD0+N+QrKemJapAPSWh87xgQ3X8exHsLv6r40s6E+68C+K9stMqfAq5He5H+dSr0+0fEpz0v3BieviBT94SrMXPwe6nhyBZ0YvdRDTyn8V/hc15ERFbgoYb2hRI3ugzmvk2vLn3kw5VSPZzdlGgGlX+Fk/fb+Qt5dPthcxwWeaLNF2scM9jpC+/3/K6O4lf7MA8+Otn0la/j3d3WB0+v/GvSnUzOyjWmW5j1SUzVuWdxztbzGjTknG/AfHTZ4h5OPsGeZpDwmVuB1kQJ6l74KMP3jm6NQQO8OfJDW10MT2JLJXcNEqHkz8GBLdPCsHUWGot3yEwSzEf0Dk+E2ugPKfYfpHi9HUsrdL+z3JbJYyEZ5Ej+N669e7RhKZM/Z4xoYYSE+Op/HWs65ScHWMsGBruWTXSlymgYmpxX+3kPaiPWkePGfauT5nXXF67+el/PqXJwkElHW3k3G0POM0qIPU4hwaHn2YHz8b0guTNu4vPRgTedU7y+8KZxlAIajZh3/GWUZSbNH5WqFk7dMt6zbH4mbIWr50SSuUsMTOugHz/YVFlKSSAbUvhrjNKIb88lUWg3rJm/FdXA/2+zYlVZLEn9UWoY9zz2S3O+5OUKhfP3hE8ZyVaNNv3gpqiMLcuQleicgj9+3g7aYk54YzI8EafVkkpJFSKg+E/us2dmNFcfHEoINXZZKaiIoJ5zGsHZe3mfzQ98WzAWo+EGb6xJD/L7opGrds2qhUF+kvdL2faxemUG/fgFGEaGBhpsCEPr35duPASTILJ5om5c9fgICrVjb5ne7tMmj65yX7Mad7gQiqvxCCs+IuaVz/eBj8AySASO5IwuXxqmilJbLVYfjQXQFXmoDl6sti75by3SIHwLOymgf2Pnq6Oi7cbkpc9NsZpW4kcPdZqt7lPXoNckY0iJPVtv2MaAwNBnmARCBtoo7Rp47pnr9p2zGpgm91bMWW4c/pmpQ7xIjRENUEIIhT1SM2qXyLEfkiFq51V7uNtkSElrVekkGgApdXHI9q3Y5TNSARHcmQ6ouCQ0QrfWe5lJ5DdCAuMa7D7i8dKu59xo1RSnVEZfEObxPyPbj+SKahmsKOp+n6ehHNV55rNnptmkuHT5VjtvgUZcTSoSZym3D32N/fZqYoWG61LM0lu39T9cgR112QZzXguMk1ixbJts0VePQ1/rvPDJPPyeFT9A0iISawVVKeoM9xdndJKWXnUewqiAOhQHwT8u2MMva+MdTdcEFysoViSizSTuLSHuPBSYhsEjCVjVbv63aGxQARk9+Ed8VBNOz3LUsH0nw33kOPfyXSiKf1KhlFVf5KZ0VY23pE2sihXfXvsvcpXoBcfgiMSAlUZJX2IVoI1r0IJ5sVae/a+d25k45i5/O1+bx7BJXzoRv2rcGystAtpon3yUquxfIXU+B8KBHq0DFqQCd67oVapGfqNo7pRdA+UslJF8TkyCtRbueFy7WhvS3lmhGwngpoqQzDCzDCRK38+NtAH/cSakcx6fsetiwHd89xNJ7Dal8vfkJxBlxOD377zshQ1J4rfPO1I96mXaKYi8C3/lqGVlA3JXuw0pVukYn/C7nFcRJjHdSMd0gacyIpmYqToTiy5NxzKQCwX5uJoXZZRXg2aWNjO5T8WpfdaHt1fglEmWfflOcmC6dFqMBpN/rPXhadgCx/Cz3IaUXa4dLtwc1j5HGsSG+ZvaNXLlF/s1OyhMaMCuMPPSZ3OhCpzYgAuCW+E1I5TSQXwrShwF4Ihv9lMj+LrElutUFq9Nv2h6vhW013GEEucqf3RcYNTTVB7xoGBuTctPISkf8cscnx7lv85svZNLwSLs8GkXGdSIB9P18ADFZezT73o+GtjeKx56L6taTRIIAKPY6OLdZw6wdW2gN1JeIuPMr+9x5T/PJTDjNx3C9T4JV+WCLjgB86tJtDWp56edJuYyo9MTp8Y/zoePp12LDB77K5fUAogO51pBY070pNYTSev28r91h1mxxwmq0B4YJb2pinj4W5+HVsmUZjs4k5zKXd420HX1nK/waV70mY3SlRKEeuuW3763O79Z+w1155Xf0MO4Lha098ey8P921t3FsMCY9HcWGmVeXTY6Xosni2qmQqbid6EzxtUw6uJnPFa/YCOTNyJQRUjBPp/ce+wc4Iz1v6OjCXj9M3ia1HqIGrWTZw+eWaKGChg1tLdsK1LwCYilEkJb0iP6i9pdgWESIAQjmZjlRtL9BCnoYRQ4vp3RSuQrD07IFyelr9HWTZUfFS9+ZnFczu48lhrKEx1Asd4THN9kCVr4lr3sDu4XzGArNQ99J7u1nA1BtlL6NcWtn6SVNaiLCFWNG1UnXhclSuCKDjy5+WO9v55nHlnFEy2jTqL0yJNn+up6I1c3Zqk25NX49xPlxvG9s+sozqDSiLzBgeCcMYD5vAKuMZPB9THG8gRtp1eIDEnbb4xXaUknx1jzcTSm17qdSSGd8pelLTgmWr1Syo3l9bHSe+pPuasYBfTPKLKJL4RxoGMirG8uJCYuI9CSKvlbzfIhoA8tJZ72rnRUTMhD13CGR3PTqokvN4k4i8+Z8s9USNvklSFcScoTnS65+ie0a8SN2V34ivwiPQZUo2iDOq08D+4YhgZQDRb+899Ac0SQJl59+2q6chL3hvvhW964HlZF/jwbXcI2wUOPfsARSSn7JVQmSwRfqEwn6FIQHNHjnelP2C77zAHh7HpfERCnPbP5CYxHQqQU7+YnCSTsqosUsJMdz+46u+8q3cyji6iua3Fw+iozw79c0qp2YZxVKi3egxgttqftwbEPTcceI12XU0qAMeklawvfW6RlrYXtemcYia/PZn0uaEuKBzg4AKD7ZPYzhobXsISDEOiCcps5SIVhIHRaXbmFoCE6UHpCnIOOyE7nsFSr5kK/yq4iIaH69wZtfLQ71yvdJJB0b7shFfWcRO6iPBBeu09BVh+1FORncgZrCMjiDrjtpLyEFaUKjp3dUwSjWJbOKYg3zyHFwW3Ceo6xKy2vWHKC6KR9T+YI1U80Y+JSwEeweb3w981t8BxRBcLh4ySizx5bdBdWd8oyDMMOyCGbnKS2qpmEynq4XlFW7ntfxeIkXc5B3TZvRsVJ2VBZ1uT+K3XrWonoxQgxHYI5L4notQnMMICjrCl+gdOCFyzc/cPRxhJCIoZN69IqRgvTS3ylhXkDhtQSj2OjVK+w3JszzofixoNNToVm4vzDs7j4JTGX1J+9W5iS5pqu284Cr/HToxQa7UpfTEoeHg7YVUzANPKIUqgvtNuybcY6EBYHsVxbWoXtUPYk0wDGD+rsWn8KGA3vi3J+omgW8dAQNgi28Nrz9LN/RYaxCwBTBdJ7PWG7bkdSOWmsX/Zj1eWYaJNM5Pj8jnHXOcikbm1JNGr8dTq0uqEz7A8LniOnuwrKzcZVxdwv7ulXTWyqQHZT4WHJR4zsgfLzR8f05LXsco7qmM42weaX74J/r6a+sDIGi3loanXGIMDO616cXRr1cHz6pN72G9rPb9Ilt9kdYrb+OvF2MljdBJYLfh6BawLQScTF+YilHsJCwSRecXhtZkkbEv/Rt8wvvRVTUjG+Bs/+RmxbasdU3owxcyEmPup1DldgARMM4HcLLqZiMkZQgrQhiWVEd5w+AFsHX2tpoWhZXeHmJQA/iKtvdBttX71QpQwG3YeQZRcJD2PJOxchri22nJabCDV72p8fS8q9R0JLElWuP54s88hKxfdQa5eH7ih9hG8SFBQN2w+b1iZ+IujZBR/GbDwnQKGSzQCbZGF2RfWW41Z9MW+0VVly55ShXXAgQhBOONq+PH5GzzLAzbAs2RHYRuhse1H2I+x1MS2NgUKVUdRSgkMxIdLgf+oW6x7Kp4cY4vk+7LQ9mJtDfP3t/Gwaggrz/6q0nLBOoN2/uiumug95VBb2OzyJkNZoiGZ8rVbPumSc/mGXAPDBJ5UWVkaerCraJBZI1qHxDx9R1SW/oC4rC2uC9HUfJ9nAeb5uKUxHUo2twn5RM79fKACBindsdNCKRkC+OfIk4xbCJLQtxwAGratg8CtjtJ/BGoDO7Ata7rT4uwevaUiDF2OdiXYEky6/vcfxHIh6fLMobSjRfoGB7waszReuHnhUIBAzOGk/p/K/ifqbvQP8iPJNI9/DL2E3/JzDiizHE5YyKC7WF+f0xLeVmEh7v9tQOb9u1mAXW2RgYxwSD4TL42KfN9itm5kPZQ5qJNBO6e2F4EECuLaSu+T+UkC9+9xBQ48APPMxfRH+kUQfzbOSLdgG/rIlQWSP0G9+bIfDhxN2EWE9VdQqWpMkoLCxWi6Lma64dx+MZm++5BXoRZP5xU2a/x+HpABNiT5Z4+Er49jwcugeHAzRcHcGFmYR6QRo1A8tzJVfZqUdC4mW76MpgykVJYcwc07/xgrYnSRVGNcy5tUvUxo9AZFJGMH94hQQodMtAA+yRpK3A74zx5OdseAmroKKhVLueBgHAJd07BQzWJfjnsbnjHNsTZpfqcQ3KXTEeryNf3PGAml8by6Rgw6ez8iROmJ68vg4XP7iR/ZYuMLnOVk+SEsi4G3I0aGcFO/+agw20U6++znc0B6/K+DbpmVa6dSncCRxm6gGOoHJSRDuvEChNylp52rWb8nN2f5FAq4o4BAaHGXTM0uI584EwfHAP06D9n3lMgEcBYXoppt129PK3NItlvGz4rCnt32UX73wnqaiEJh59Vlz6mknSDaYb9aGFEggm5f5R4CXo9x3QeXJYUcaqwI2Ttpl2V/dzKaO5hYSFCvXMa/k0iLf/BprHa7G9pfuJabg2rK3RbJsin8u+Oz36xYZ9X6/TCwBq+S2AT5CMs3g0iH5v5sZdOZW9WfVGjd4vdW3aMXl1vK9nqyB33EBPwT9N1enOhy4jYZjg9i8JixOCmyUpM23wGUkkkBnobZYw1LtzSko1MDp3KOa8a9N6L8NyU1Xtt0KD3A+gMmqDcMtZx+E3gnjV/DpqH4zC4FuUZ+KqmM61MCsmoF3he4P+gHKFnIsHsx+v6YZdim6MnS65AbM/sTEzz/7V+uv+wAoV3qQGEiMpc6WHXJEYASAf2x6sB+EoYDl6+it3xBxvAbiXN5if3uPb+qQS5HN6fA0PXZDl+Umha7PoIn42LQxNl5RITtYHaiLKVKSGf8z9SY++93bAP0MIlyI9tVowIj3dLdnjM13ckBu9K2OhKMKH6RZVIovLvyKCZyntIiXnWiibejiRmBqWpaQt6z0mVbiNkPHYyRDVXPRs3y6yd2APZSzFyVESYcF6DjXtRKsFa9ari3Z6T6vH04Jpz4uNBNzaQ7CRmhAW8bsJ61XMaPThkkU5+srqgG2zxZOiD4ApSyFS0oeZYHPfF0B8V7ISFu6vEfFlQl2Ef/Bv/RgqMm+6naLNy8EQkfbxGnegNTSgKz1drXIH9D2Fa1OqT9JgaZap50dhmyjzMtU577me0SRCUIijkuEhf1sWvhtJirGb85NBRkS0BS7IU349Za1XnfPI9U7Jx3saCH91ltAIoqgd6EkJAxOG4vdbTr+bb852BDPLuSxNfkHn61Mm7eNChXkoC5wNbhstYBYA41qraXPR1l0rxk7xylfP9dc7IVuf49KVtUUWN1BMeTCPEK1hUKVyfNOfRi+xj1sh4z9VOX15pZjC3/e/ADNGeYiZNUGHboRCFS3/NI/lec7VNXyGAikiRZ5+GZCxL/7nYwdT25TjzL7Du0Fzh4LwjoeB19gOSoPyJ/4mTRsrCwN1FFH1URedqiHfuw+gqATu4sUqhzh8PXW/kptMoNvURcmtf/5mv0S15/NeNSJzBokWoWlxfu3q7t8eL2ujAs2I9zBOYmSteXTesZDMt5K0xRWGlGIWfv3hih8LYn0R1YdYMFN2JVNTipb9X0WW7nLFxlsxMJBfOR9KD7mXNB3OG12+tT7sCYKdTTYPO1vddrTG8OFV+h4UrlmQ4We6fsbDFtiV6aphDZP+Dc++fmGj7K07Ago14ghMgxy8m8RtdWffyy09+3vvDZVAAfHmKu4xXVIhBynZ6+P+yiOLDEdHlJ4pLzvV7Gdndh5bF2CcO4aY6ebOVlgzIvShVjp0pSbCPbooE7SkSc3UNW3cWqMKCbq56+MFHaqrxH21Z3sffLvRSjBf9zDSuPyL0I06He9BjGMAO2uULgW7VZ3Ejdqmjj13wNsVpyveIxBv/n3gqM6n91Jp/k3UmnOQmwoXoH6S2xGzs+CtrdgcDz45WiyXc7SzVtjZoFrEFUBcdSLHk3UG2BG+mb12lKSz6UdDlFMyjP3FYAQ5WhkJVD6qzfaZyuODfUm2PeBiS2xGUQqwY6A94EkdVnA8eAKBRJFqW/x1R4bBs4dYzcrrlPmAzpIlQMe6zq0oFzqNpomXwMFEr8K1RWmTs6F3PpqlmscIO0sQGLG8KHWePQc3neZB0afy4InIbAg7L8R/GTDcfnHtmT+h4c3ONLHRybQBlUjUMPKIFfkxDmQ8W23Y+CCarIUGu8naS9ZLPCzpbMLHC+qNdE+J4QvSN+n03su6qv4xuVpb5qDeAXY5KSPcq+KBwVsugWb+4U+ceudXYISh5NKRkxAI91rSlfqNfjIL+qVrT7bSRDxZqrDDoj7PRnyRVWmoyWg8dj2GEKYwQAzAApwdr3LwshacERRZ/nobG4IrNGXO59gyUEv0D8zZhTjunsCsBxnzC+zBuq8+xCuf+4a91yJ2cP0B+nvZNwbxODwfL26fUuOFhIy7zbS6y3qaCM2X9V5euTkp3/NcyAq48L5dDKg65Gadn9i2OEJ+9MJlNOJkdDK9FHSKatjobcGHgmkSNQE2GvYlFuAMMTtiCOUJyPWRJo4U8iGOb/CkaJsSk5b2bjv13c/2sfx9EZP1buZwTCqg+goIiD762CK7DQuMGGRU4AkumUTqncbqE18jrfAzTqLgtg0KIFrzK+sBfzSW5Tq374NkHw3Tty6cEiY/GA4T4pjJ4ovGSKXA+5dMlVgOJblWFnyWPnWm5BpGGnYYcTF0T8Zjf70xj6PK6ZsTdQEK+tQqWV3Xxd9I85e605flB9D3xpSNgTZuzmBpazeL91x18W17KcEsJ3w/OaOWs8X3NqbuLcOAMg71AL38EP7zYXTe14j9NpwEL+f90LePWLEe39hahAbxDMh1HBimX97Idy06+GR811T7KJsEEaUYRp17p1e39bSuByUObUlwIscSl+HaXa3dFCo/rkJeyXGUg6NfllWcgY5lKfuLOxo/5dDgMJmuYDwHt1v5yWhdnQIxzJXhiV8EAq2N0p01xhyq2Gpk3yEbnlvgYKwnd0K5lljsbWjHqAGsEBlVYK6RQdFIq4U8a372TnOeCEMdI2DkuZmitKA05pRjdAGH3dWq4lD1ATcuWmisammuNSp4Uw3AmVxt0VqUJU93c5BVbVmSLK5eQkh27lDMQ/hS4nAPWJQm1uzFc6M8fP+C7PDK3RzdsJU7TaNJa6mKTg3RCtduQz0dtoOqCzNKt93q2NHFJGjOqLjYLpB8dE0lgbZHY8xHf5dKnTSu3hJgw79x6WMBdFYP8/cnZSYYto66fEWW78dUK3d7ELK16OO783iiaiirlayi4Isb7k5jbGis5rytqu5VmHhxInOmK9ImLjnU7oCtgB3cZvbrfnIgYFhcJEtN4S8eCwnVRz53nZGpglTGLJ+cUhAuGHMYBx5WT5oXEr4lQWBrW7RXUHAiF82V8eFYF2ltyfqt0z7gRQTNBsM/MKYZ5xyEYfYo1N/e+LYO0IBEp477f3GldcJhyGEHMi8bw06Tx3G3SyfDBlyFetBDo7ZR2jdld5rT/RBhnkMvpNV89X52gPkGNpJJfkoCqT+akkT3mA/Z+eW5y69Ji28xLDTGvUNldpeUSyxcseLNLoQzeYFEoaMhRXXN1U07m8RPG8pfE4mDtKpaCT0147Frb8PXfUbWNdt8Lhclz/eFRxpgzZwqdYUvBXuEEiYi3VxAeHFwMYWsTWwavq+wFTLEx/x4ByxM5PN9HRDQDGEIMBlA5qRKEbsV2jXMdK/ICVTgYOybvjpru6cH/Uw6kD0dZeins0TGSoB1FBK62shLTn6a47ipkhNfzhr5vGS9nhocGAJ4Y2cf3hra244t6pTvklw4n7ZjMENrlhDUy1ZkiMnRQmaSoGQu2kTVIa0ZGIbQOwLPUgL01pedOG+CrzCp4Fr9qjanbzj1yKClrQiTsO+AnqVDnbotmdxxH7SSvdHsPd++9ECrn86jOqA2CL7NXKOjykYuBYWjq7AoXNr3P4+tsOJiAmrNn07yrvLrwvUawqMO6woTGlGh/xob51xZDn3LOigxcfrlb1UgrRrPvvN5gIPdkvgqhHFI5u+9inAlnbPRG+Xebwfac9EHrS/vxGGK5qstguceJuyWRiaIpwX/GNV+0ASIpESm+MeDCQCVG4R4++P+18KYn0Ic8ti/wiQrfLaSMhcAnIXwnFrptI0EnW/gjJJUzdMnofdLajCdmnB0uesVKOBT+iFjN8ZSVuT4sg7CoQvhOsgJDbkSHQudB0K4AECjTKIAZ36Vuvx4L4eqUTEu2HGIeZld0iyVeDufyL4G2iFklL5FVFZb2pJdq1Oksm0zf0T6NpYWy86aDGcgy+gmQkgWRoHEir34JTN0lotsnMU/efUvf6F/+3sgts2KfCV0AiEdX2u9Ywz+Iua+QiR0Q4c57rBdB3wpaipmwzPMEHONhKeufxWNdJYwqXCvk8sW/Wkyzp6nc8buUPBTk8NeOPNXmQcdZfXiSV4m6b5GF0cd9n/oUETjOfBoJZDHOVB3LE2qBsD3jCku9VY3EFkMn8Lcm2P9MzzzE7HJjSQQ4gYMJMy6IOonnQFbDtuNOPBF/MgXoB4AMqdvRUkfiUmK5rG8bqsctxQDXsaDmT5mX9HsY0I3+stV953T5PVOPWRuhvyBzx6c5UZUuFMAFjywjleIjga/NK+ELLmGxNGmoAz1/gF+C1s8r0un1YfF4kiTwUyiXKEjgNBbpDhcnOm/9dMwXFeKl+yENtbdQ3YjIdXjulGi9gCWOQ9oY6SBTG6vDT1FeNY+QBV1KsN2M0/lh0NKChbDYxRu5oTPISjjisFreFF8N4JePGIW+lZqNvtLlzWdTm+bCIehddxdzUhtF0+drSOKGyAjDLspWrujFZOMPNSB1+GTlPrPsk/2Z2QbfzqbINGGk7H01xiTzsYzmINXyeF8jYNxz5jLNY6ufOOW9K8KzqUV0v/QyhN0beOjSpjh3Ds3DDQCWLmWDcRWNWz9byONYY7Lm6ByDsGOXyLCHftzupmTbnuGk0hm8D7Mc0MtRNUhFpKrZReQjQQaHbCuC8qoQzuZU9MwXpMg9FY2igrrJJxjLyNrAjIGL+qhaatnksmCt94DEQjWuMA9fXQwsWFLmNSSUDHTNN54mIFxBT/2HAYWGpv6Yiaff/LbvNvjGuUPxdJ/VmdM+p4OHOOCbt+jP2RrwfR8JjCSlS/aT5XQBwMX7YqKU9aXztEHulztZOKKoq8e1v3iRC6EF/zzoHdzCtol1heOnsms7rCbSTLOzdsq2xS1ASZT5ZrQZdW2cEUqQrMurRbzoySjYTrnIBu6mJNJ0u9FYBLrIimF1Sx0lM5pQKgPDHbqcuGkgEaxFnhgcFYk5hLNj6Eg53Kz3IPncVOhGPlUSZypX1lS6lwe0RFFz/mTOd7SBNmaGRUld/W7ZbztrTYZP9pq8hrSgptQjQPFCS5MYuIw0snTOubXox4pkQAAFCE+6CHBFDShwjRf9vErF4UWhtHSE+tcYcH4VhcnfxZRxIYGKQDrA+ezOOidXr9RTjg1SigDvT3M6IGgdi0Hn67OefVrh7mSF1iBhFDEugqvtChu2io4ZQENVO9Zy1Wnax6LxELD5QwsyFcRNfiZ06TFBXGKEjsUDRmi7TK4OZRcjFojKw1be58Ayz3NG7iDN/5lzd9mqI6zO7xhl/LEhPLXpTTMLqgyrZusU1TlXh0grWybRGtEKY9STXiMIuOX9a/2yPtT+A4A7ATfvo8Bx97z3o9z2XzOl4S5u0klt55PhIJn9x8KijO33PtZ+e+bVQ7+6tBINwZJ/H7ybGYOp0k6uS3tt/WQ5pgYPhPqF0zwBxt4CdVLLXOdWK/McVMKx1JYLi2t1QRc2eWsLr9sF6ifQoecoaxHPc8poJg3ytn5b+aqaYb9lgLVmD9lQKZClX5AwGU3Q6UIQs3vt3e3SIiNe0+hq0KbzVOJt/n5vVHEsJ0dfzTupsGow/QEpX4oMYna8UOpfq2CdSj722OfhSU+mU40AEK40dQ4a6yb0gIo575kGCNP9BzqecyDiUfMVft1Aha6mQdj0hz/uWlDIERc8T8T4BCWBt9EFfd09tfAxp1VHTOQgZ6bcubmG+TZUQLmHD1Oo792vYYIU0wHNIj3yUri9taXzmybC1xshCFZMksevATWkwo0YH3Qgx2VrdaZNu/5pvHSKAvXPSJDPEF51OD8eYUDc8svvEShbD69B4jdd0bnqqgecL6MWXmVF101v+4ZF0l4SYlikfwQjpMDB7yzhw7hTtlmSdeDUYC68Y3PVgd8HS4vmFkZxsjUO6qOztlkCKTZhrlUZvPKxEUUwObIj28ag0xtFq7+baCf2I4fReIZRAkavt591pzp7hyIDP9lQwcgsCZVVnBCDyGx3BPQBGruW3amarBngls2h5EkSeL0DIDscLDUuOMWLEMehM5I290pgDZwTE1/484mVjAj8+UgvFc2z0dIr7R1gFdQWMjOv1SSJl2t14PZhtHaUa/mWIaWV/cDNURGUcKUczALgR5/J+B7CT2HjZQPnWFM9ujUZvCTC9ojbcImTHChxDNvNoF7UUblzULbfvatUyNZKhQMcP7aYG/GaP2iVjUji667nZEiuBARnKdCgTtos5dbjFGuaCm//KXnLPeQ5GqjrYhpIiNFGtZ/b3Zz0441+hUR0+3Tq6a+onLsivcy4wS1m4ADowUgX+JUFvIX7ECrWwQyQsYJngTsFnvOyPAmd/RpG6Hh5T8xHCvfm/2m1LDhVyT1SC9gWnOU8kmZq8Wpwi1UtvuGAyi0ewUefTR+0JmFLPiZoVnrr97kWH0r0TMntO/CTkGrs5Y3W4cgCj5XW0vRzKeHONjFWiBAZnuGhS01KWn3t2Vzy6bqqoTFnPaSqvqHLoelLkaCVi8TJeY4ISSvdKb7cdqjfCKalX//jhEo52Zqzp7hrZZo1hBSodd+mwqvve9Nl0pqmwGM7gXX/iN6EkPGaFhhQmuqQJnWkG0utX4hdtsKldHBU59NjlC+2pj59+rkx1Pw0VMkqYcJTA6XTY2y8914UL2Cbc5JFj0JjQ0IKDDk7NcPWAnEWt0qeuHeQmhqrJfC+VwlNdbcFf7HytivgBmhk6e1SqaFWjp2aAUYl1bxThBvFNtKz6tt/CeYE1oaHZ2UDBCmeOG4nQWX61G7NNPrz55BOtrs6nxuwz/UEjsXKljJERYoA46u/UGlxvoshKYJQlbgdBbtZXE3LckGeW3O97szK38Q9mt5hthOKe2f9hLU6LJknfIwUEqapuiAucIPJSpo1ICoXy/QhE9mXMVvsVD66QanmCc4zGNNv3ohrG/fpGCYqdqRewNJDmqhtcNngBp1z+WKcHDjeh40FX+m7kF3BjmbYoxaZcKCXgPQZtLEKa+C21em3CnkrzFxPeQZJbtyeCtDbpE14Wo+I/BR1ymHKz3OMXbfTC9BFhlMKjJpJH4FinoesJjjaNAmvgNJPplm7RVOJ8vDHZKhI4a1FjOQljVx9hweJtZMLnzPo9aTiTVY9eSW03QscN8a4Zhz9vL16q7wYaKr2e//Tr6c0pPiMeiSkuMtPw6DLOt8VW/gSxWGHn9gWcpYFMWrsYODEVNXR+My+pS/9IdGADwacaWVKgqO99ToZ7eS+tUPHyVPzY2O5+jz/zRHhE918P5V6WSX6SYECbcdVSNknQJ9lr2z9u6V0BzYIvJebtcodXphEdQf1vECq6rLKoOMXqCzBfTjnsN9t0NYs6L/qzoj27WJZMpIhiz/lWAJ5COPVQ0uv7bYkwgOeICeOwfvlWOlg/V3v1wSrzddzRENjRa3fOXvUw4fXYYbZBdFQZkmiIkD6mKKrhrVveVWVaj+CU0qDwmmOOSsBvxrqidj6YUhsmpg7KdLAgQA1U3P+Dk3uDbJbZLKsXuLfSnGzOUMQJl19hZ4tAjhRgspKEEsn9QzU0i6JbXGaOgAorrDmehp5/NZ1ECsVYtdEvn82FXBp4kSRk9ihsSrILXADy8J35MKV76QMpOAKGhmX2deBESgVxNOT/kaOf/s6+wT2ZZAryw2rhavqMzqYhen6+aJeThIQSn97Em640OR6jSujQRyAfJx3eNe5iEFQdQTrQMUktU0PfTRSrYujC0aEg8TmzLBC5oyVqhgtta8uuKUACi6WsmgBFvPsOUhGcYXiwhW6c2hWMWrc2iywkWY9Corktbs+3ZPfEOKybNQeW+nqSQs7Sh9H/HWJMgiQkdi64o4YWko95n8xml1Eyke6fs2SZyIvYcyQ1yOKi/+poMu4ZlYoTG5g448En3DxNKDE40kH0EzIuC49/zi5UP+dV5yVz4BOjWSD4xAA3T0UzFo2roFusSbtFWfgjyoZO5IF+K5Zxu3RSzU+9prx1eh8ixL4ANZAgBpJ5kS5SOouFdxnrb7UARMt1Z0oIt16F5oudqxyqAtlaCUZMxHC+rtaWKOyUKFY2Y5bdObwBSqN2yIqVH/ZnGMBvjze4mz/GC87Uix8Xx4YYRxvbseXjGmxDUztNpx2rLKiJ91jolSW9gYDhOfOUf6sYr18fJuQtW/eneno2/Y4/9qx7IzqfBFOuqKQ5hTGXbi3dqXEymOyI45sdtQmU8J7Yrh3zu3dnSkO7JfCrcX7EgbMjE8d9vHMRRVU6+KqgddgJa57mi2CgyNYrwnfJ7g2Jjzxm04foiTWXQY5Y1Eas7uLDjFQx2P8UWJ5hPFSFdNuF0NIkLJQ71ODvwD1D9GRrvz+aPe7h1FyuDbfjzvvloF2Lp0A5LJ/bEdCdKyhl10oeA/Zng68BuauJ/DK463JwEgpSqdVINGGCU/2lpCAJC5FpuqGZwsrtjOAOX8I41GgvCciuKGKO6Lfuv7lQuf1Ly5lFhTB/rDYzR4Ia+0X05mHZ0d8zI6V/ocsASqbYEvnIFap+R7rcW15Nb3p4RcHwUr8mh/H6+Ia1Iu+rqSI1/WNqzxccIyLe/Q7izqqHwkcPIIVQxA2at4d9OdA9r9jZB5OeiqbOMYKzxzqZRL9kr54mkY/Nht6YLkEEOorNN1YZfi7N6quZE/CUgFvk+ShvNeDptuhJtQwdHCC8YTwWzYnf9U9Q+jLgfbpsTuuaiDAnZkW8CJ/y6MFLruGEnXJ3SDKmAgIr/uRYSaKCQ3HfpkrU5YTD0HiVlRAlI5nUNPGeyq0nTR11DdTQc3Ju9ZIvAQ2fh9fEPA2Zi48ZljPI+KrKnEmNSw8S7wilBNg==" title="Mekko Graphics Chart">
            <a:extLst>
              <a:ext uri="{FF2B5EF4-FFF2-40B4-BE49-F238E27FC236}">
                <a16:creationId xmlns:a16="http://schemas.microsoft.com/office/drawing/2014/main" id="{8EA4FB03-EA40-475B-B8C2-34B9E46A0FE0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5930" y="1828800"/>
            <a:ext cx="8232140" cy="231394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1h9D1Z5GDtPW+wuCTrU5cbsTyeRnoM7v2+KYfNB8pPDHY3/N/nQDLg73FVUjs5JX80ZEMdZ5aXYVE2SrM7ljDixtoKhF4R5tzsuuZUVsHAeFwPs6wT8BDaAcgikYk0qwkVK4NvpAQJVViVRxqMTRVGa6YhvvS9iyFCthmw7VEZkNBdJ7iPzdYH8t0rAwKQRqo2pWbyVCF/datImWRcwiCdpw1Nnq0iU+4chdsdyy7cnI3/282eyyXda34nxFwX+xct2UH8+DmAvStSw3FBQ1U2OzBM7jhfThAcNkvAwU24/Rxz3Fn6S9xLaX83l9oDoXAD9UKUleMjbZu7MhRwBgH+AljZUe7TQ02uAMRUeTRle3PvXCyAOAsytgIOyXbpvwaZHNci8z3IBG+ZsA9vg76q/A1UJu9pSbnUy+2/ZYgd7HkwJiD/Z33J++6ElvZre9FqVobZYCKb+vmV///xSS4wK6xaMlkhKijbK1NbPEBHMWmjKvPAZndhkDnOdZxvEr+5JcwTamALXWowW0XeN4gyfW0UFSlrZ/u8wBGtHgUvUOkWnyle7b5hxqmsQBPYfCMgmbCSRf2X9hI5ZVtWx2OKOIFy+2o38dg55RFAoGkDyivlOVX4CQ2EfYxcCeStl7B54Kdlp+Yn11RI/Luej6C+qyd4bOxWVoGNt5rAdSjOX5TRBzrSdo1j9eub6ZapXmblmN2kUt41SOJAyHnM7McQ10mK6uKB7/DsdFUmQ9o2wLPksIY5TFewrbQd52JWprBOaNELNfV5BTU363nwhwvyhZlMrdC4ijeq7DbCxj/WJPkim/2Z/vLxmQxFGZTDa/ZdIzBXZGOlfQvZw13rk4G5jft8xd4OsGznKcsN1cyhPNbDFdFPJCzRCaxOtBvehiK8/QhLPaMV/XvDx3F2D+SlWTn8i1ClGLV8Hqwi4VKpSBDw3eS+9LExSAXuR/cZ5QBa0AKZzl8ELM9RJxB7NrFBzm4suiDQOJAXYB7+E0UHo3x+vmCsMpVCRVLFnB+u8fklSxQSJ8JkN6eaU7Ye7ULWK5RaucgQjy63BqafqFE5EpyRfRTAgxro65L/weO/4dd8U5S4WjQwkfW5MKkhEfbmvhjSygHghKRCEFQ9zXOlkyTudnMgO3kPLV5KMmJJFDM5xycLFaEaiGlgMrHnWP9LxZSRgf6fDLS3s3WIbdAPQ8dgiybFD8dB9mEw1JwUFNncHK9zGlnSTNUYVapqWNQf/GRH46irbaoMo7yz2kPAo5tXmKB9Wd85JriMq3a0bmz20OljFsLez2LtPuyJ3Stwm7pjnnShASNAyuSS/CsVstKgkuhChC/vaeyYWRitD4Eb9ncgUeD5pTgio92ATPk9gfaLbxigypR8zKF/R82XjJXIv5uyycNPL68Y1jSsTjyHQxebB7A6agzUIRojFqPoEYZQquDH5cUvVGH7KL4Lry+EuhVUBSbKv0jD4m/OBsdCzJJQ7K6MtLV/kwM461aV7dhwq8fhGLpe/+nrAxZqwGUqjo0WrAEd+eWtYpWrp21a8WlxiLs442NKSGpAiAmuCXNiE85ytpkXLZHdvThgy6Vt1zZvWnvAJq/mUJZH9tKMx8jqQuf93sUj/MBDVjeysJxts6o6uYz2TRKmt63hXPv0JhrH217O2MdWGkuXsF4D16D5gQm3ZbPB4PFgVPfChS4pg/Cdtrd4Lk4FZGgE4++oUqvf2tmdnv5IfojutoCafOzklUJ3D/k6eSXEUdVmoDc0WwIXldMON6xUDOF0Ehvkvgt6hTQk/PyFyVInE3R2chTD+4HURgkQrx0G1XCGN7AuF4LG7jXv0sbwNYqRZEla9NgRFfk6J3AHiHgRErgZbvkhpaQ1YEQ68Rg82DVsFjhwfjYtzu5fywLLglQcRRaXNULkpoq9JafXfP0ZwRTooQNAco2G01+keo9D1L3DyR3XAh20gYzTq2wquXIz2vsp1zqAUAL7j8w/P2FFvdfoHjTq2AM0GAjx2rPP65+Peg8iCBRhpL6wc0KdW847AWv/y8GM+R53e9fweUtxh9QA4cVBqibbrkDfZINOVxE+70uaR23jPp074cQkouoj+OGuo9aJm6LPjdbBeICe6ULIOvxiJH7PxP9agrV3f7aoM47LA+I2ysU4cBDzeYG007E2oSwKz9JkPIEltBxeYO48xRFVNkZO/ru3IEjnGO5NEpGc/XF9HfOsf46dK7tyI51wHLF8QZvT0LQNenBzapptJXqlHRLmQbaAY/LoiWwoPWh8g5IR3hp0bMOhsGtAJlv4W/eIAPXWj4LMzD1NIT4mnZzPO4S2uffJ8n5dYK154pqVMTYm5tPp7GQm/xML5x/6Ap3MI/JPbTov+lrKqLA5z9hXCG5z9BR0kp8RrEikio1/o4dagrnGTSp5o8ANYf/qS9L3W2dHTBaaCks4dFazgrcZx1cOnRoFJhIBR3XUjjMFT4234PqgHkdNCX1B9rk4+puHI+IWIpaYUwHvDvAJYTLvzd8ZditFjbccmYZT01usa+W5EExlePX4u5P3Jyg4jwG7BtsQXePGvsI+H6OSDaGsKSWplXc32INEKYcqW/raFqoJb62CvAKxnkgxfWqZ6qL55/PMSeUEO4PgyPLECei9NDscJ3kLGOXhOB4KeVTs/3dj3NP+AEyH0bXL5+aEdmWx3/bxj2Y3EIdSJTJp6nwvUnfm6CtIKLIJUy2QZIMRB/EfE9yEQi0qokkDSVeoKO31TUBB+RBUot/uTVY9nyO0TIY1kbXwCEgFXvdTtwIBKri0ypaynFP0g1hzu18wcZBjHdHJZxpfR0K2h4abA1cVBd/DizeEibfydI6OEJiDL2ivjBYIDMRfSbnFamg8iyWJuB/x5oXIX+jHY1WbiEwYSvWEFxUxScGC53ahSqIYpgb8ReCzkxuRnl0v5crkZtHp60i5HWOqcZnyZ/rvmRDYQpBIJkAcGLmvF+eJNdoPDzXhBmk7L33aqNjPH9X0kMho/tznw9mwXQpYtwqRqOLpyDHG3j4Bz5OOCaIjv2d6M3yXtzR+IJS9gV1Z/Zmu+Dkv40XkQ6e5rI4blY3ReLzAbdCvEeHw4fMVNH/s14gKhiAhb45rgMpJszGAbkr55DHGlwo22oMFtosKLrNNX5LnLLFWnPAiSgWOhgyq9aDFwLv+GgJ4SziRnLXDi5iocMou+dRWDynfPG63JN3K7RxWMBAnrQ2GnZiMx3ry8UoJzdGvA/uHrZg7JaSzOKhM8nYz00S9y3yMCKiMds1Frj3Hme+CTuwkYrDSfaf3s+x/eohJEahw6Q4qMlSJp9cv5MJHCCP0DiimYbkAtrsxPL36Mh1ULidrcPQlwEnIf75nxYyL8e/F5TvR8iH2xOVuo44B9iVigTue3n2HmKlsD+4V7l4No38kM0xMWwAm+dSpuAGbe7PP3YR0Pff8CU5G6fiYp5yYhO4Lx+DAT03/8mMwp19RmxgYux4dhAV8MEkD+9fSv7fQzr8w4vXpn1+wtILzR/pG32Z6X44Xg0j5tXE5l6ssREr8hPwygZzffhbl2myLEweeUibgHjwVtfWDjZ1E560KMHYMMZ9z1EM82p06QnbAY+Ul3Y7r0bUtQDdTZD2j2mQZD8NS0DGY9il9REdKOSdnBB+cYfeOeu3h3L71QPJw4DfW4c6ndt2/AaLbOlNwD58k4lxSF6BYwQoZc9+6ZMtA3YOrMBPMssasc9RhazZACEJlF2PBiCxZiKgakpTBZFiCbvOUpjpvSlvIhnU+IMt0SGSEbVuXhye49sjj8Ct+OQvxFw9zKvQSg2jbbPpjk0h9gOLqeaHvNOXB9n35EAa2sb1MSO6cdN+8exl95AcPqxdqSsrH/1kHqjOL2dIxQmYM2PzRT6DIOvITqAuYWmDoQhivvozBSfdOS968Hw+k1eyWnNCqoJiSQMeORZawzohhHAIME4ZUmMeccBDHBGUKO6MN1RiYUtoj07s/reODV80qMQZaNdt2wR8m1kxV3u5E4/B49hGQ11y7LVgxMdKKRynilxz7xbtR9T6UEZkkhdsjwsqyyAcmA3bv7IOjtHnY8a2lQWZ58LsuDre+eJ213X9BRs8e2zQJuxcFadto0V9N3eyWjp2tWX8391gcpShw7zFQgWiHOBA9jaxGLKjLR9GVf6F+Z3SCBfE5Cu70pRu5+ptpS4yY+4LNd9X3YoUC8RrkZ2MGrg9lGiPA8Kh/X5+Gv+OXTGTgIBmZUZwc1eEsLswYPoIxSGJpCuoKrMGwpYaUk3unJPmZAyiqSuw+KwwouRi6SDF7Uf6cIbX15ABW23/GQjuXayYbrFgaD5JslVuJtRm1GnXyYaEnPF5UZu3rn6b5pnmAxdsOd2oEm17M0gVG0OfRPziBEZGaS91/uMOUxwu3vDWvYDvglliGIPiv2Lk5OSOizGyjdTJmPTFd8Oaj7XYzz8UBE+xdDInqZ1hcE1frWd8wPJ/Fo+G0bpZ5049TbLIOA7MM9V7Uh8YEynbhuNaHhp2YPzDq05ksHwbS8sho/w7yVirr+rRd6PhvTQGcNwG1IodXJCBwchxMNXZ1p2sedIGQNBjtx+PuH72hu5+cx8mCCrAQivJ5BPfYBdhmPMqncXqIUmQ+uVt+Lqi1nNqnOiVU9XGWeBQbY7VR1EKIV7vDY2yB5ZGLImpvphlHSpnvnpzatk91VxkbbpohXvEskeYd9MHS9zBkryaa7KUezXugmhutGYAjcDlyZYq0S2xRYU9hI8Z2j55uvZ//nOvl13Ri5yJqS9Iq7GMp0G9zSVrABivO6wN8D1Q8W4veP4DW6PczOUF5M7hji/F5KswVgdqJoWdI/SdwOxDm7DXP2+H565z+gMT2WYaxtOeTwRGLXNdgsXA4kSq5rxwCKtimywRO0rRGOE5lTbr+0nc7J47+1RRfwvCsGI9/w8s7FdExhU+D1Tmt0qQfCQ14YMgkmyQ3lYzuVmNLRjRhWdwu02vfpnBr1ytzA7wAAtrBRw9203vjlR0v2ZQ8jOV2KOCYb7ZhEzfWCl9sqDSKmJ3L8FMzacDDcnc90dVWKqlj73zYQxSDNxkZRVxoLsE7myRE40/tOuZE2QSGIRgxRMIBkNqI+90qFuyBFjkSahk2w0jlij8RtqGpe+zK5/enMnpB6V7gaWlCeTHHUK+rpPLB0j6FidyNjhj2eWbSRUt0AZ8g3ZLBFuDDRIvVSiOALlDn/r/ZHwUpuFbyCIPf5OWgcfplwkyzvIG0YGTQ3K1DxoRjcrdLE3hRotGobospkcn14lazuRP2Dm3EUpobYj0A6U6iSaftcEXWW9xPymiRghDKnagDaCmXaNRJKIkRd6NopgKp8RBZpMQUZn/oM6oo4SXye5wXxMXd0DrBaxViAwOmDutVC4qjOElyb62WZgrOfesws2hZW90k99ehKH7ommC0Kv5bhGhnr1t3jNCU+XwkrvSb6mmaYFtr6NgJEYeOaWKh+XV1JnKNaZSioAS5X/pQKdyCbAc76Fht0eO+pVZB2i/kRiqqECQWMzF19fm+I4HJeR5Xu0tDkEML4ux73CiSQO4aqz6X/nZPC1xvX48e1V8IZ4Zp4Efdu8yjlywI1N73WexU9jR0zv0mHYbClgEO3wOaMyGc527OagLfBsTbug5+YyO/7+lffp55SDeaHSJ3eoqHvbyLCTy1Jo6WHA1gugDSM3kK++50t3k0/zfU8KbujPl4Xsn9xOXeeBBF4dXEQSMpovY8/WAtVjdZHOlr1aUvGXfzRkXHTukum/EgHPELRRd8nmqmTrmyvTuGoQA+REH+H+lSrleVm1rTqRIxmdWiJvUpVeupoYwivfM4WGCv9bSIlDl/7m3XkVSItw5YPGR14iYnJQx+RBCOEYoQMwGdENhf362mg2cd7hAHdgvBsLQ4gKqre/qobap5ZJBBIDeG/3Rc92TzMJjzgaLp9EuCa+QNAFcC3+96qzydCItWMErLTyY3OVZCvWPQZgWhzMFllNI/3UEEywvizRyCrWmiHorI2D7oszqiy9+bAqU8Q8RPXPyReUInvoPPMIaZMWYgh6QZX/IkcSDCpxT0yAhzSeRCgpFHWfMjZg1go3gIZyMCZfDTz4DMvbwFvMRvM5cbN3zgfrIOdUrdmS8P94+5UMubfv5DBi6T8MhUtlEtp06AUf7mEl2SBeHy0mN6Oic7Kh2IyunSoDP3IsIiJUQSbneBsEB9V1WU8xgTW3kRex3mtlUaQUgUVllSssvq1WkVCXkU1Rhz/t+TCMAcsA/ft1cRXEIDZ46Hqu2HANCoe0rMr2Q6XluftFhECu0sZ4SFvJ2njrZlragmz4AcWvsZ4UTBDGLYzsJtuvErknPIluupv4iJ1L+kJVgo6ACiT4qrnZwUqKKB7CxFCPdx2DluI9M//mztBBsBPQOWQHG6E3gfjWsXaZdsUQDlmxk4ssWbocD2Y0BVrlHOr7vlC4QeWmasXKqfJzT5ou6HUVUDI5pELf8DUOdTPR1ywypS4w32UGG4xeEGoYOOWd92yFvb77dhNwZFoiR03Gp26Kkl6maGAdpFe3HTejqPRxlAZfEYgG28bMKXejBLdUUdiaQ7qAKiRA3wk4eSAIHp4GBrgo59NcNnYBxkGHJlx+M4MOo7F4TFat3/DRU0eHxY8BDuJj/+MAslWrTeKI4pIXQwEUO0ZaZrqDLRvOnJU5soQ6JY5DsKUxqFYXYR+DCPkVcUQjU+Bq5874Z3f56sVOVvACUVmy78L2u35WK+nTF8n1EKDa1b5vdjyz6De+ikBp18EuNJTh1moeVOD6voIWgh/rf4YIIT3wFk2fahRnIcwrAPZGuJBjx6ch/q6NBOqTUImBMaozDjRuib/MhMIhKW29vU5N4UhLCEZlW5D7d7QvbNJwcmVg1yCvBpU6kIWfVV2DEvbGlUx9ejrmpcQlx4QPfnFGUCD8IAjAS8i6vbtcXL0QO9Ak0XGcxA/mSSQ/e+MqiEq61tIOOACC3xg+cdFyUrO0ykOoE5wUpO/WXnqEN7reeVYMRgu0URRiOLnNV2CAoG5TK2ZUdLVcUX14hc9Qn2XK0iKFYvMoBVbn5RyzyIrTIAHZMnjlk76Sbdj9i7L4nu3RWTkv7b5JBPLbEeaH3ez45v9xvrKNALVAeX70yJO/jZT9It8mHvbbScxhm6fpAAQggHOnnZnKDRMIs48gEQdgZjKbhG5qtdDoQH1h5kRy8A6yxh6ivRA75u4pGfvDQh0hResc9laH5hq84gK5+zyP7lTF0XwjIwPKkOitWwAcCKd8TGFGa7xAV/UxmeUGqz2qbAhemAmnN3GCZK3r/oVmjzWBAFn31saqDy9A3lp09JjfNlMQ+CdBNh955ctUvJ/AZLQ4+CYPlFokGHQXhxKejIPSAMb2m066IiRiIIxqMDBB6eNgrG+J08xN2KqMYjl8PdNwjp4KZa3+QQz589MZY3QpMOk11PMJDBYp1W1VydH+ejXsGXMR/eH7owoaL38XXbv9thTHuX57XKsu7ktVlsJy3e3nuFLBZDAAwd6UeP3GXw0munwim0Rn6X6/JT2tkzC/sTfrtWsERwFXpg0k9uvu/COlYkaP/0QJj0C66F0p7wojAu0IB7iw371GsMilu7Myznt7X7jzfIEMGkW+nunjFMdEO40fD76kpDrjkRKZX0NDDD/Tos5/GFEU0OvpfMsXYONZ8JXqhr7h5LS+Do+heWQUUWH+rqFBqSsxOuFlhNv8ymrljAokeCf/J7Bjbbx6myivrsNifsbcVroweg08F4u55vKWAu9G+0YUBVdkADg5zuI/yk73ShQW7FflVaTLT2xv77LxvX6/ALdy94GJYbnNsNYcawC/p2VeCjUlJjBoWntY4hK065hKHC1wOvFquaKupltq/Fe46mtwXyCtiSbeRVVILPdBdGfDw+TgA4blhXXemZFA1ppfEweIH8VSyj03ImJhUkrVJbuTFgjARCMluhko312dV4oOxEzti/LEYM/AWrDwMQ49ay1nPNmycBxL9LIOpF28jZvPa+N57KJboHmqXOoMa3LTUzUw8bR+Fj5SvZXsa+yddjWVvdbepKW22aAU8S6EDiKpUCTjsbTlti5O3L2p+DHb+QVhuxJqyLYr/4ZuMqeFYP6+0YCiaTdqWhKfUjkTC82T1IBaVpiUcbcQdPRlLXQDu6Nu1f28/xflI6z0U6XtPi96BxogPCOf1XhkuvtpcmzJhlVJdOZeBPXIiQMoxF5pA6WK4ndP7098Y3/F7XYy7o2b4tTe6y8Ewjy6h6mq+oUHUcWhECCDgpUjP5g0g46qCAUUwDb225i43JMRGMbgxGsVWFRcKAGtMLh97Tvd/KAieCgpkMv4wBgLKNUJNEbcVMIbd8477FnMiRTJNU0N3QuEaIpMPeXDH/+HgbZcXxINVt5PLg+J/rdp20BS06/KuHukh8GMdzX5Lq3yp4pZmuznj9NvhiCJhA5Yw+8CqZAtDQsWWqE+WeeAhIRUxaFS3SkCKRs70CPpPXqwGXEEe1DiHb2F1McrpjvQB72BxI+yHYqWaCwMgUUIGBSfpwRKLfjWaAbMmQKmaZgzkm1NsEPdzu+nRmuYZUelebSrv8Aoe4R5xVB+3wlaGOpNrZNkV8Ssqyz1CjWAJ2PtDZx85MriVv+MKPuCwUU5V0k6pv04WvXzb01cT3m3KZl4cdQS1RSqzX2cHrVO1rg0hxHdEGmi+GGSNO/QCZ9IZDrWESl2ph8vj802u98cYKhcr+2kzht7INu2eJs4m6HubILIX8Q1S3oV/pyybxM30K5dNcWWJO1z/qRwg0yGhDOd0DygPBRjmlGxZ/cI8NCtGjQ0tv5t8VHbqYhKPE0JupxQMTeC0l7w0CkeVMFTIWgd8cs0DhVDuGpYkX+orsYmXdchnNWpMe78T67ZfvH8y6ItO/41Auc6Ho9xCnzWwwceG6JLb0wqFUFSltGGCkEf2sjjaoFmnIaY5/IEGjwagI/LjpzqZEgomm2pRUryIBNMyyp44B8gYooVKflzM6lIDtJPP1wJfZGbPD7Vd3XPR3ECSVh7q5u1GCSNUXtusi5L9TUOYh1o9HzZoxiWsc5T02S/wC76u+7821Q5c6hnO6TB4meVEOxOGQjnSm7XdXayrZtGjwGXRdwLi7fp2tXs6I1yDY2r0sm/lY7+Ct05VjC7D8M0PKOzlAKOmDoFBOrcwCxqKzhTnnMb7FBiQlmCekDI8lExDS+V7ltixG8AZWCZeMPP6RI/L0oUp/b+heBVj1mZU9fa5a/MiKZpnJVmw8NcmXc3AG8bHEWfqoeSthi5S1AFWEvw9JVwmBwCWCNg/Kr67ETm+lon2ms4yQevQo05MRfQQmHKKgRcHx4GKyUHuzDYMgB7RIscu+eJbvXA4pkLGuHX+uU9yeKvz8PPk76QL2Ai+K+2iHAMAn3lU8Jv5EqEYmJSmyxqoP/KeyRPFNu4RAXi5drI/mKNIbdpBxAK7EULGZeRbPxU7IxYOELNLOsFp5Cteu5F7Ax/LrMlpVA8H/0XyUxI0xJ/JlMRuDzhqaiynRVsnA685VzWc2AW/ZZ29ECaKaAski4V9O09D41JTS7qNvImPQYTVtWbSxWF3PFbW5NouZSnfpjUFdHq3vn78VuHkHBoaiOPTVkS+qwa5aTFixgdJHM2u6IGUhm+goRvCDthvSDNMPgkn0KQuwNCohFuU/x8O+QHn2PWOWgHyZbyhlLAs7rHKLOT1XkWZwdaBR5GmK0y2ezhjB3fDCFRZ16gYfGTuf1v7CBEQzKEyeUyfdQ+4votn+NaivKBf4wSJ7Xe6wpDatQy+lSuNSydIXxk28WIuEHB2OUr4Ss30vaep3ufdE3AlB4xx5NaH/wRjkE6xsJqA/XjaPz0TOv2gN0aUNOwEjzT21tcKxEP3d+4Lkd+gzGVFIm8qip0vvgMtFzudGrd7e1gO+u2ziRTsnNTg46rwZfr9cjidmHi1z+Bdu14FML0tckkjHpKvRvXZJMqo9jJDcVt93BuBXCFRP/kIcMEPidDoBRPND89OFj4MX4gKdO5DnUc/xo2onEL1hpcda640/lDCTjnxAamHMeEbFjeWg3NqPvEv9rSNjW/TyXGAODhOq7xtrQ4r7h1qbAzR3sPIiGQMgjKI0LVZl6DHYc0R5nFDr32LIlDuih2NCuWxRxKUhpC4bLELiBDTzUO4acRRyPoW/JaQ/ZUMbT+aFwcJmD4Ohtk70EMcPZABTdbCf+3vpxdUgqO9m1oV9LHqBFnN1hyYSy+vbQ2ErJw9A776L5MhDlCD6yXibVP/4HCPEZlLXfxFgRMpXyERkzR0UK608Wx73CNvYsQxQERZWI3Jvh/K9GJC4c8axrEi7L6Wol3FFjf5AcFWoNMxUYvx2sZQ6qJUc2lCE1BD6kdelbsaH0OtHSH9pYKqPJSOH0jmnT9dnOD09en8N+F4N64Vq7yNJB738trdD1SoGuUNEoGx06WiSKV8Azd9lEnnV6i0q6hE+PxuVE+HE4kpnZXOn9LcfEShTjwEzZuc7df35e0A7ltXJ24od/cEcPXS1H1TA0iG54JIlspEwhqhRqZXcVbq6zG+GzDfG12ke+/pMuM26c1QxatRC+/ev1L6WkBaDHF8VJiDlgXGYzjj56cfM6GnSDJML7fuBd+Aq5b7bxyfSmV68HZuKqSxJbIfrDPwh5XakBZust0Jhr4LE6yHStFb5ZKGkK5LAz8X+b7/qnlcATPfGsFCSMU00tMRHZoIwivWY6qYnArbc1usbSGLw5uPX9uFFC1xt3Tzir81yMsdiY4sXQkk8ziKtjM/GtdXiklFu9Vmarcqy72WA9iOqFg/pxMWjf7QtsHGJz+1BgZCAI1e4ic8GFZKUvjflKC+EpXhgiBr0hZVBcXRQJ3F+0IiXyvDNfPjQO8nrqeL8qq8pinAa6TUlD5V24xzzCQ7qopeZ3Ghwzaf7L0uvGSNBMvkil6jap6+5TVis3/GsQyFjVghzRMziX7JUJ89rqOzhSa7pRsjT8TpyFy3upJeVZDSk3StyzVsISLftK+EILZUQccfDMsvtXDhLfEbGJSCt5O23Wj/aGZasJ1LFhWVKHiwSn9QPiNn2l8eII/wcyHTJA3B5AHamfU7WZQWjOHdyP6ZD8jEnjmF+ZtCuwdtxckE1VCjhC+4mIacMsdozWLWdts4UmDU0cpoT4lM3a6U9pQkY8bdRTPs/f5vpUn1vgaxl1h5aKBfGia9mB0XIMvsEBHUuVs9WsqT2TdNBOT1+FuhGu8ZA4hk8oyQgz1LHJxEbJyJnzPa9JzNPSwrlcrbxd4jLWmVFLDEo3j5mis80sAS2XQbLZFZEdPS2WcdpR1ZyleIlq+ODBTZWDX9TnC89Ygc6st7fjcLMye2hdBjR3wcQOQ1f5JteUsogxow9Y3DmT+hTsrKCVy6SsOMOSS7jdXmw6DLnNtyarq8SpfRXS51eO62fpg/TVf9I1fQvHEqiMC29RZlaq00PtP2YNp9A8LSVrxIKOnaA+0OXZ04Efrc1O/sqIZPaDRBHeRxt+S975Pl5SoDVzYLjXykLWP5tQqqYjYrGJCir6XCY14sq23rnpS/KUTxQZgdenTpdjBsZT6Xc70eMNSsVDbWODDJlboUWO0JT/LJNg814WwWfW61LII4DSGl+4+VhPXZ12fpHaHGQDecRweZ6MhgFLROZZeiZXOy0vU7lJ5DKvHEONJKUIQPU+eftCaYJ78MmtZLZ0ZktKWOOB3M1pucorMBRS0HIeaW8tLvgyRhh2Fkf/hjCkSMdb+cjSmS99WQYSaMBR4w3zWFntehMqkdZqgDx2mGqmYcXOV34lUSptMk7zE66KqYFJadi45sdt5KT71YOB985LNoC39uYxNtnJkKUJpeBZX01L6D4F0EVaDrLTRDLH9qWaEA+QOP5Mkfai66nB+7NYjPvLDmNAQ5SzwtjEk80qu+fFFNx+qF+Z7/AucQDGjOgCveyX47hdWqYuC9lxGB90BcgX8djMMqTkijGA6pcVbJuFE4CtoIRWCtffv+whJp29h4xuTobHTEBKfvuwdrhWFiCAmPjRv+o0i6QzIUyZqJjCXnfa48Jcwk7YOjhvd/S9G5IQTfxMQv+sE7QwQLRgHtG8xi6CgSvJIhtjTincPa+wkIoEpVGbZ3W65yy7iATP24mwVKbuEzlxbU9XDv2hBgoVf+RdnT82B3yKcHlKPWtKdAwVXv1DO2Tx+JBPhZT0JUKzbTo8wNoK2iCr8STz/G7SFQ1Usb7Djd6OsKk4ph1JtRd/sgUqdsqOktqzdTkiQaaPVKo+b4PzKlrFmW9tpP5VpwDr1ukLT0CDk5i6NZDw//B1RYN94wOyhMqAbx+sWdQs9QGuZIO1O4aj3KV/Di9YERrLyG2GzfaW7HddEJnqndfpM5R3wK1cbE+wYZwSiBWJIb65v0Qe66SGuFL3dXIV9nv6YAeLVrTV5TGLi/n1V/tOLNHbY4iFxSczrUoFhRhU05z8MtLE84hzh/ppFZOMtOsdCPNQoCLeObSF0ZNF1/BwAAVSSlcyfTNmRjO2GuVR+uKOV1f0gABIPk7VgdQV6xlC5SGDr1FzfkfCgskzudPhe9Ddtx/NG7fNdWl+n6t0Ln3x3unJul6C+TV8pKDmoWIEvrYVaMOz07BdEDgKl17w2WpaDy0zghtqwynLp8keWT8FbVZM3ndi+jQNEXiUKvvN3a/+0joqiODpTFdASiVTZhvVp1R/y+Grd+zXGHbNZVP+88+iol7wluFqk3Vb8sVQrDhNdW/d1GHjwajHtVmPn5nTmFmP0WLssYWJQVxUcdbmXb5aJBN6nhelHuFGcuZTkpVp8U7DkqKeCmhUaYYGDBiB8bbX/KFM+cejlJD8+YGCK6Xo57cWo9RbtKMmj5oEQ+O2GV8QjVMspQCAigUyjwJISLnV36xg25bxSq2JSk/RMZaQjQKjwey6MHD74nrbkwSfw29b525Hxyy3KSoEjLXgiPsYViNlBX/nz/M2l2jBFBM21URjh1nU3ZGWMg9n2wf7D5pMYS2YTKL2EZ7CP9h/q/kB9CRblqfDE8P2w93dZNqg74A1aVy0Ni1byJtC1MZxUgEyqN1/mwxC4iktBTUbrIrTaJaA235OcTW6nGvtzvrkSdleNsNvc+SHzehk1GQCY3BU5rLdcRzkjhlUUgyghzaDbNKdMAoXAVpw93nEqAMlmIYavWHmB4KmcPLzlJfizsuJ3stgjySGXOdMA/fsnLXnqmoesKR1CE+jvRVb/1lC8zd7qX/rt9zijxNBqeoRvAaDx46QxE4dlCSNDkS5x1TmOqpLALBFKY46Qzzl/himW0C+1XRyi72Z8oyUKZvYIUrttaCONc2nvejp6BBA6NAPCNnIonkNeWarvx540SF8RH4jCauS/96nOk9I7myLqp2iLrvCuhCQqZF764p4hrurv6iE89dVZ3Er3Z59LQcbTe6dLeQSwe8lAa3wGgoP2CIXUOXFORZrR7SoVRydXshoz+4AduMAj1wCqLxagcLkiHkQad7l/lEA0rB8LL1FxAU7sQTZ/CGZv8m99arrW1/K/NQFH3iovGBCjX/LYdY34r7DcIsr40hT0JztA65ZX3EL96EIx5ZS/TWrSIArM8zFHjMiqkX7lNAIdppaHwN65yW3u+1OPMc/nXfdbZ19nF7t0k1mpZdtY+TZYB4RIPPWzWxMa+5hVp5x9AnQvkR/cChOulVziVoeRqxO9sCfWwJsiefMqcXQa8UBx/Mr6iKZ9IEL9adIigPKxru+KQioF09EGoOk0TIwQZrUHdP6d+vUBo/VaNSDUE8OLYUf5A/WRdsIpsErleRXmY6oSuwCT6b/S2gfSJ6Qf8xSkgChDVmjTkGxNHRIqHHJ6WuZue1pjPRNamzY1Oz/YDE7Mu6oCQKDjCpQezXzfU1BG3iXl2xRqSSI/y25f7a+erTMoyyY/P0+XXhhRsRI8fB7zgtwtEw+psCi7CtS7o0hLyWNaYCi0E+rpAyJAHV8jZwFwJRfsN8Z3nMqSGJ1MnASH1pkx5MUcBkV7mzJSUAidkjkET4ThGCiAHfD8NIh7rnC1R4sN3TtqT9VxDOHnjDB0nr+JULeZMg2tcPg7PjFqYAJa6O/HQFnXY4OO0/bkbBkE7PqDCSHq+H2h+DdlP/lOQJDE9/r39ZMNjFLZabf30Y7HUD8MHOtHBEmOGt2xebt+CECUyxRwc453IcfHZv/NVUJk5mw8TjjY0eFPDqkDsSJG90jR4ix4uz2+47wWg9l6PbzaZTr0zWMtAKh01D8QqJokXr1BNfRkw+SRvbuRUKKkNasjrJ9EYKYIV6hJIU0rhCIdtKxH+lfpd1oxeQxwyjn7SIvQhNov5D2sIbhD3iiawPFIlNAbrJeG6GbMKa6x/UOjXR79IS54LHdK91Gw9j7beTIWUZfkEu/h95vx3ATwZvEIpMfH+kEx5M/jdDPWz/ItT5PW4r98q2aT23Zxm1NnsNhB5oGntDyiwBiV1fIep7OLxrB9uK5xroB4miaUB1QexiZRRG3wO0d63IajRRufMv/GL92EDmj3+uXU9SbAX3AEDms7WuOX3gCiESOyDZuFDPyNIZPj1Gl0WGWc9RHhPYdxh1O56OUvIO2OVaiPAsA+6O95wumOnh08XkOufBYafBtsuO47r1OzG4+InnsNidhI1Dnv1NXBeFapJ+1f5NRmjZDwq+y1PZc6YLZBzLH3WnaUfRs9x6CduKFCKsU7ZjgxuDerYDAz8geoQ5eqBycHOMG7dT0ucn56kCnuTQUWea9uVnDOLky+C4qdHvMCOJj/9+7Yg/cnT1miXmz8Pm7PLTzQWdTHHolS7SYujssHmHkrSx8VIoZwYIblCNtLuTCAw15zT3ASllaqlOT8Na3xnDw0FDwqQj05vRFN9qPfelj93wKyzg0+Kj+AMavozbYE4gbRJRusol7LS1uAB6Ih/dXe+w7VtbmCTJyXLDXTxNPPUVOZGQFFbJcWE5zrz/V4zNrkkY3f5dwl+06SrUa5SuLtadHMIW/LBi88gny5bYuXfsXvfNcKFsACo5EuNYzjRlEKeBNN0FO74fLrt2AX/5nw5d8R0Y1zv2VD2KZ5MxT8v8Ha/k8ZLIH5UzecqerUWTwXhF1g+8mzKXIqmDze3oWN8qHmMMiNn1BT6kxrQIDm1XVVuwfycwF8r2Q1HBfHPEvYJyBnkjJH4IYUWWwvkCnFFqOtqNKKapMxFin4/pe+UdUFAmjeaxb60Os0yo/uwExhySWxM6S6s1iSN8arFC4GNSMTZouCNInKEI5v6eRi9iJOTuKiU9NWIwhk/9gLuRVeWg/xfmZlpUm9dztcYlwoTyK7ENhTdeX2uRQorGwwVcMt8er2+ham37M1wQB6pcO4+NDzzuG7kFWJVJ67wmEgFvzBW7q03wPdHoS/qehkeq25EVXStsaGF/uCrq2gtS4HPKx5og2hiGlcM0zM4FOAih+9JYBUs0e1wpOxC237z/OZ1jjmQCEgXwL6I2wYvxIzeGFyE132Dus21Y+G1OewrcZARVs6xlq4vwgrwnqcEUBcyEXq+MbXdc6u6dbbxsoeXZYqKcj8bjPWzY7tOQqhw8+mu3pfhxDpmGjRKEcpadmJn3jATX5iR7le90DkZ3eCiZCyhQgW3ceCr+AEsjkNY1JinkwcJPNsBWTA9i46IUP9wz4AOv0bcZYNSSUxmwjbT2O53lbPGVTIM/bBs3qTpLHqSMb9x/HuBxKqOcmJ50Bji8HqSi8zhX4/Q2bw3JKPX68zsD2bPnHhgU5WQXbA9UySJ2AhbzcaDsPKEAm4Ppy1HYVxxUfmA7BsoM+FBlA9l9kt4AabhMQh66KU8JcrP8XruDJE4LDQE7DzSOZyT1YfMRB1sm75bU+b0Posl8LwchWFhe+3Hy10Ob6f8JLwvTvkQ7pLRqC/CEQKr2AEcuPvK7cFuH8XEXtLzYY9a3QFxawsUglSEEykY5kV6cU9h9q9ZqwCebUXfELU3byWJMqNMdZLTfBfCspnvEZoJAWTi4t65OhwP1A4g/Z9EcWigPOWlM2+/0BrtrLvE1Rk0CKH3AOq9cNVBgsNWY3AM0Uu5yLY12yaxL/hTJVpUcYfU5rlhM6rYf7FudmQu3JlzCUXPlHHueYvZ1Zt9TPk+eb/QmNtAUGfrYNaqCfvFYte/DX0v15e/lY5FPLRJffaAhHRZGhcxi8TB4turjo3Tl9joIEjIZxAOCAqo/PRLo3BGqM+kAgKKAp1SDIah3IgqzmV7TBYAsy+m1HT2zivxQEjPB9mE89qJsx1/fOmqulLVVwgl+KbciQkfIFyiueHg9A3A0DFDCX4vuHm8aHYaCYT+j4xCkM0oRDwRddUojxyHqxteTNPy2bzNsLuagj0XJkQyFFr/rHTqoFZygtFZQA9NEDYS33nJkQp99qMo3eSSrSkblAYisPI7xHih7KFFfm4GhkhVIOcmZbwTHJD9lqzy6YNM47OR8tj/gZChFDaObdbGOTXKcOjHl9vnD/biXQ6sGkT5LSBcRAhwyc0wayBar4IJGWgMcMkf3EFZmlS0dxBeEZDDQQ2r7oICyUUM0xQCLduT9XsyccZ/qsXl+vN36/tmPO4ccR4BTzU1l1wzlOClC8bJM6UVZFP4Ch3zoyIj8Zv7435rlz1AqNnA8eiLtMMkuMImE00cQ+1obSQa47Al5KoDNuTBtaRYUSbaMVfMxv9/aFKwILqcy/JN6k3gm4jimbSRRT3YMdkLAQal9NRehJ0QM/TlpMo+1k/y1GdY10zws+ekF6C/PMQsv6SSUy2UiAvZefPXq+LZbJqKddcbB3stihb377ZWCg2uJhV++Vy5h3RhWfTAiXZprKwH5d2pUawBtMJNZtA7qMx3WVhYzCdRfggL6Vn+h491vTgXlaPJSirxzzg5geGNMoq73Icc0F2jCEUVfAbzfF8S7+6bQMV/lO+jZmhbbu3ImmOBxcnfDFPcak3nCGPzXH5Qte0Eds16d+U3po4QldAoaBW/oOiKrg9NtlWVoGX+VXp+PH3w7+hGxLkg4N3ZqE+BfwIMRWFowE/wHO9ZgPaCRNMKouy+SmbQjLloEKPIjlzWddEQICgxPT5NFywvpryJ+6aDVjQp2l13jdOzczbvR1pT0oIDh7kvWEyt7VqkohdYLzTnprKgbj7TGSMvD4yNgoe0qLgub28gciV9CToxJiVV7UIW950YMobp3+6QJEdc3t8vSYjkvKzVxMmbkY0PYxjahabHlJD+LrjblKVYZWjJ1kyW8z1NSoOItWdv9NDDoZZKhzOTWoKBwrLIUd6JNO3zyOwpiDAPkJNj4vkLaoC6mWhI5xgpFm5AD7YLrcPsgRuoGYDn5un2ujVrx4lm5qyGRcx1aSY799dSj4YInXw8FWq4D8F+Hg3euWtIVR4kkcY4hmzkNLdUnqdLaziI6eUjo80vuCKvqfq5QCmoNKwomsCGvo3Yw40zSdsRXt+vgXfd/9BXuRhgkRhf+SPRYjeuxBRMy9GPNh+D4tW7g2Rzx2EPL8gHi+DYtLOt5oUps5Rz5ycjg/2tpR0gP68Yfovho3ZU4v9lHUnzPEJp5a1DTtGbkGOs+yPZc4xdAuYWJwdnP00+l07S53VaAvotLKEJUhHFeuXuVI7UILK3CRdmvdjTyLpkGevg4YWQ2VPL1uivPTLCnk7Pc8VNYV4/I/5+joDauUQqfxWi7F/9Hg9ADbP8mJXn/y6zDcOi8fO4D6y+LahFMR40HiIPvW5yBwEbt5c/pEeE0p7+pUE7sW7/zTEMJvFMmCHaS/lxqm2OpLWSsGLgqR53HasxR/dR2XF4kpdesXh+OD2HsQ2r+MWNi/yrhtniUJwybzI5baCujNrJktEYOszRwlNYghEMMKDQJzlo10oz8nB5dEDIO0T6cEd5/UKeBidslJmjnE50pkWpCf0f1CXp5ShWhH2yo+/3WzVmz6Usk/gBhHrj2xtqlGpRsxMMfYnzvcb8FkVjPR4UBO+RK02m4B16JDHTSM180ghBJrGa+6vt+IUU+Cq08gLea/W2rXvsYyZJy3uCfp46/zR6CEXU/1WtnEaODUanoaXR9F3iGxPQY6p4jmSRAYnpVjDkyf9Qh+gV59oMoeYhK/amEIt2jLDsTLZA9x3k/awe6OYXPbK+OOSMwDYlDA3fe6G7MCWk1vobZpK6vjoRWEPMHss/hHgV+mY9h4U37V/jbO+10ZD4GoUfeIYe+nE6MkNE1tL5aN1Vp3zpztkvIDIrGwv8AKYcrMD04QRLC2lVh/1V0uJ8Up+B0Ap5skpu8hYrtM4DHAQU8o9V8zReeKLJyypyTmRf15hrivTqcUQdG93BAYP1tPj+xTG4RQik3M/ju/gpoHpWvYXldVaKLS2PxH1jWOy86p6KinG4glnkMPgPiDsAztC8V67aNwxtzy6ZYtARjFB5lpP9GAaPvV1SJUgT9FkNb7drvAsXS7xZakubQVeDSfl05O35zee29hmt0zfnX85V82PyGcZgFT0uIsYhQtf1lk6gktg0Ft+R6ePAt2Feh+BsmyA5XSHi9aquKwMLh33KrdEO5v/1pLgaiK5PMJum/v++bKa8sSTsUjIA3TZC6Ukt89ZXyV4hDcS1wgzEU/s55C/Pz0fWpZeA1pKTIy2paCTjWydWcCyWVXsoTqXGynoQVCfSdOi8FWdHxmlpnQ40hayTLEC1lKjs06/95Hu4KvrFmB10iJFpj3+RO5MQgQk0xnvuA2HLdCdrQ+N1n93odPjNIotUp4U629SLiOZFt8alRqDkmdbb1B0Rj+zRetEdJPMP/8BKJAUSVpVsiMMrSp4ReSVLbcwQjGdrSUQH6tblLgqQ6F8GXyDg9gBoFcsh9USAGvynl+wAt3vNWAxPPmJ2gOtvytlDUiF+Whe6ux4I0rhU+Ejlp8i1VDbTh3SsuoJpDK0SieeDIbdipwLhO6W3ndrz5zvRWdN+i04lvjZG2Q2XMUOY0baqZsSW4Vk5tdlXy2v2fJf6IliEl43AJqKu1S6QIDQXyuzYo6jzuJvCJQQzercX/uBtVfEghbxt7442F+/C8qqTXH6U1ifvNhi5yIxcB8H5zcOxaIHMKhABOg0mmqTX3v4OylN5Ks0XLgDKPM1wWOinpSvw5xepy9tDTcrs7+3BPGbCg6CUox6n88ou7g1R4fnsKxHRtXS1lbFSFv/c4Z8v7lt5TpnwllG0Y1Zum6oTkQP7NxaATm+7l0rTcmgSXMJGp0QHemP37IQrQ7p4NQkaZwchiWfClNd1lSbR+SCBstHLaqFi0irSJvgTKIXcK+G7X3f2mKPKuzuIfTwtK0kjdHhhzV86CkSRz9wRWeUJiCpkB+CIm3B2bsb3QnY/RpkUqMYkKQU7t6uLiMP+hjL2iJ8wFEFeq7FbfwRMRAQzj0P1wERyq9fbo5+Ntx2mkRbFmA8zuEd8U2YgclbCHW8p2rskWQtz0OWrYZ6AsW7cpIZNPaiCyluTLeKe0bCwjxtJhEptBmDMJAnD5AXa75zDOI/yLe7smJKAt8etvKQJEm01n33Se4WhtC4LKLYrbMjHD2rYD57VjMCSOEsSdFO5aduAucn8RcIl7yJR2axipPSg0pdRCrU91OFq1P0SbC8XswLfEeqe3vJGc5KTD0n9UNC5aYriobpxcqdLwhhrjBmfBACgBv3puGjv0zoy2XAE8X464+h5fSuLxR0eZ3FpbJSlby2TqXkgj28SjA3oL4U8QiBD54mPoJ5LhzbTXRwE/pUeZ0z3FedSZsq8UguGFLdKtk62yfEuOMjSJCGEv1qgSfyyYNvIX3nMNcpE/2xakOcFLUAggPoDp1IjY0fdtRiasAucd+n/ETteL/Tx0fOOgvhL6cWlnPd7QFeNRUcXgh5Ph5HrDqg1YBAWlV371mgFSzGCsAJ70OXwwmXZYWxTJGB1swB+5scX4xT8he89s4egZs42U7H05icMByhKNBx0bAAjjEJlr0iK0opV+rO2oesC+SbjgXl4mdmLvkRRzqarf6hYMZYYoD3ZxhBLZkITBCMAo9Au4u89NlG5vdV8MRgpCyL1ofvdzFaSz2iO+gr8z+iOoE+7+gJFg8mNO/6zguM9ikVePodCwGgQbgk/8JWwgFGuull7pXdkPyS5jVnJc+Y/G/pXy5i4LQwjPCvei6aJIeli5XuaxOUwCU4F4zOVkYDfA12SavNEkcB63BIbIuZAWs7mlONlBMnwwWdnm0ICHi8lYobI/gsCU5kdcGMrz3k3i9y3t0jwxs+UqKGCigDnf14UyKX9uQF81g3bsHxoUh0YGTMCJsHsaAdcDE7K6ccR+eVzfD7E+DrR3cG4Vgb0r8UZlYKWmJo3VQbv35BmJlZXeNToW+J6jvmvwH8M2sJMrWZ/21guil0aEIWOvzTbcSQzUN6peZBfTVkEw2rK9TSFgZKcK8c3WrzU7NQvF3C2RIRheUSgE36pw9HfFkZUPLuC0J9nIbpiswviOUQLpTLT3ItmhdQZqpY0RL0eNDa8hqE80/l6M8Dmf81ecwO+UZ8gqVwulpEVxFwZ+PkGHCMilQq8Iys2Ljraf2rxCUXwwNGWx5MIRWJ+8+xxLr+trrsQUdDPRdyrHdkMtJeZ/JPHwBBcbyUwd3H9UxIjgBUb5GDaqZZpvP/elvjRPHpTYS0w+8kO8aJbt/ZArfir8Ua+avdfaNNFkKAa4bKIDTqdGgeCsVMMyehkOZbS1jbYrwJI8CkoDsScPua9QcQwMVkUj4CW5w1FGW36DcIUBaAE4GXZ5sGBnk1cWav6rqNQ0JXq70BA7b7l/EM5APFLgBtuqQtbIThVjtfkJUl+KwIURks2EoUyviN0hy6kXnKXm1IDrO/Ns54GxpiAPpVpNXNy9wlPcB3o2YuLp7ZgCuMxachZQMl4snRR8Ky7JV9ALhCqfTQpHgHgAjwWjrrAYtP/9YInYZU/YLCkvhpvlpG7PWXF1AndNfMNxGCCmFZYEG61kYj9E6IROoAQjlrvwZz+APhfT9EjCHNVDn/KwmARaoqXnPgUW2OnghIUpwzjEodQ1ZjlnUS0yGNu5lMX77fiPzXknNg8Vsaib/cgb3X9e4hbyzcv8vN8shrGAFtefa7wWKIrxouaU9loUKC5mg8lxHTpehC2+2b+YNWeSDows2Ynbu4kKN4dsVZoeCa8R4gtHRZR7w1MZx2Vsi4lBisnNuAUgDrocBNGFnJqp7PnlHuG92wqmb/QFkGKHZ5iAil/ZkWljNy+nFN86j4PLYTSOELaAZxHxvj0m5lbTKfneQoOF3Qr4nC88YNmlT20VZwGU1Nm1njtPa7q46+LqfKhSJO5sCisclAEfqm0tQXLYiZSXYLeUmWzxmzQjD6KJO+4QHlIPPFZykQDp7QGQtrZhMA1UhR+JcfQG3VOHUfHqkdb9cPIfLbrTBzso2y0ifdTyAEPnTZQ3aaLsP9wmhXy9qGeAijE99JToiL/xZ4pUiw9B52q5guFLqy4O6bwo2MQe1Wx53ieyV4OMsQYO7y5MgHgOFQH31kk+Opatm5PpY/XzDNq2c92PcJcy1AkOFeBPOfpMfg+KITstS6A0s4bUwadVsf40HtbkIzsKTJoqqW4ovkHyEXsSkfPjS3yxpfQcqlbTmaL9vD6UyJWukx7ieCqR5ovEp7ZIlzVZ4D4UPKwXklbOHs0m1Vqy1nVmf53DGfvi/n8arFSL+LSfktQMmlbUNeelINR3QzyEIjzCnw2WfnF8H62CvVSarp8hMkV4XuDln+w8N91hv2U+A1epyi7Xs4ObP22BneuXCmuCS4a2WcESNmiHys/Qh0gg5JWEgh3gyDyazuSxBeFYz6gmTUotGM5805UE7KTHA9949cT8LzxkQ+fDk4H5irKeQfnyv4osN8zyZqgJe4RHhNNShFHe4aDGOgCS5Q4Fp5nr/r1seJc01fWslY2eI0bWthM54wkKZ4im2iQtZ/4Dxekleacz6WfxDKCcXy6zmUXZOhH3VuntH7Kyz/p3KJnuvyPV2G/coNFyPe752pjwd+6AD+pwJE0z/0gNR2sd2thRZ2EKLXs0qPvrWj7LFCCM8fDbKV1RDXvHvmJbOFeeiI+d4UIYBU2uio12XyD9FsVkVvaXCMUCXWfkefhzg/C5SlKZqbb/p0RKYniGhh6Bfq+p7XbdlS5lDAaHU2D2vK15MVhe/vizb/tLDM3zUE4j17J4N5LJLcpE5UPW8TiDFthr2l6gJcYujC+K7EDPQ0dLe7JnSwdFvBFtNGNyRpr74DsibMVMm5u5S1VwiuVZINlS9slKdk7cQIGcLuO0nAbtiL4kQFb3KrWxktICox/3EbQCVvRrdYulRyGPI1Qx870O0r8hOYfaq7sEL/ytXvrEHOJCINHnxlSAVhi0BtlgJWD2g1LRJ9T7KP1GyAWLicpkbqzVrdwtnS5LJZIee+ERYhMn0DQgQphf5H0/0KTn5FW81di7P4Qsv6t7Pfzc74iajCzJmx29YUrT0KpUdR4ZxYYZi9ruEEVeyorUu5lmCmTwAktsJG/x9qigulm4fMLplIl69aGXgqRVSvlQatMCPMc0N6lnVKp3muv27PJDg4NR90jOLCMXwyq5ThjulHP6kQ6+EogIJ6obdTJyrqARZQFGGAgZjiR6T7zT7gDH0uOkLt6X9Y9ScRqP50EYdqGGj1WBp3ALmtNgfpZsxRDOl5zHoYimplwh1eWJmwCOyUCuL40OjUxhmT1W81gDh/PxQDX53TURRGn2GKo2h/DxXAf4OsQ1G9S1LrYCZONwwTaCHzTlMlf9TAtJz9dpI2Y36ymutPrfN91lnNbrFrKjgbWJEkkTVXOommtJabzUgNJtoLkOeL/DnvOHEs9xUzbNMx0leqmjHgLnM4K2aGk/KF+PHYPWa6RurxOcJ7s5GiOUj2gCmoX/fmtFqT92iCk0Nlq7Lc3TU85rmjgGvsixQQks6AR7qLa1DK8aKj4IwW04PONmK2sEVnC2bMpX5CGf72CRNtHA32BCBncY7JpAHwPf9JqhBPTb2e6kerXrzdaSEYPHWGiPm3BJik6dnTSygbJgkmeI56jXgVIWUK6WthlcZ/IGhFWqvBjMYfGGc6ZfJ7YX2bxUeJhrbE4q4s4DW3cljnQzNTsLOfP6lfzIXl/tFhQQUZGrveMkBxY3bEGajRx/CqCyfTY493nYqT+s5LJw1p/899v7+LnqaXmL88LYMYnWq3t8628yxLNuNGKcJLg01YTP097gn1n13D3S3k09kMeX9HXdiBYsS+EYnH5l0HOCFIh98mvbrpnZ0B3QRrQcEEBUx4MPYGAYcsZPlgzGupI5WT31jyXl/1jJgQ96ie/PnsMJFwAE4JWHfbnfQSD4AmBnKVebWDAyprvuUUupH/+e4kfYfuJf16xd81lyEarwovXwqiHNCG0fpvuFsjtHIsFlCfEdNFX99Lg/FFxmv/jt9s58WEVDX/s0ZEAQeQdqsI8DmdhjvafzVw/q7iwwr9k9FMCUmUUjX29y07Nn0lweH7FIvrr3HlO/RbB36YJeGq7gbPTDrsnIv6IicTtvE5+7uTV0DO0cmYitzz/ucnFclY7idgSIsCwfzoGBpZOqqTn7OaY1AgXS1TomLNvncFc3jfWMebrzxw+sT5Y3ki69giVUkU2JfC9HYbRHAWT/baS58trIRZS1gsofFswokRyf90+8lxC48eXumbdPSqTrZOmqpa1DuJyvX1dkbmzSjR60Iyv+dChn54r6uTI2fLdLnbYEDprV7yhfeTxo/1Usg1daNeDX1XeD84kEPxTKEmMEyKkBb1D6ozUIFa4WOjAlRXuH4LZXSNFXX4h2WdojOlzjgLX9s702Z1KqT6SwDwRdCPtIJDUXD0Ts9a4LOvgyV8zqv4Brx3T0qtWeGiDo1bYHB9rOHDmP5X01FKBaly1toaC2ElKRC8qsCVdSMWcuNhLS4tikjw1C2qOWJFlhceVzI1/YJAj5OUU2roCs34DyRxSG2+S24wiFphQQaOsRT/OYiSncdEXm6ZFe1LFXq/BdZB8TujiQGwk9bUaPP8wgzvEDC5mzpcM9V5PnKV9SNXuDFyQLDZPIGtS7/JT/JW6EgvksGVa7dK0DfDV2uNaPTpzXEJpc1Bydhbsx+/UXIHdLFdxyJTcMKf7UzgoI1uJXuoaBhqpDSpnSjO4cXloCkRJ6EY6RRPhZyNXUmLYaZ5JgYfGaoEuZvK2EcfkJsGSujeMsD24gAW+cJGYbWLW+687xpNLZ7JGYzznZNvll6lNeEjfZRbSerYEojeWhVUd0j6ugHn97jeY8xIsaA9Eeo5xOwNMjrZNWBOb3qjYEJ+LwlPkXFaBnkwJI4Ndf8ry3XXRKGBpKNGf+u+jC5VXvFZkDvkCowSVEdUy4n98Du/cbWBvGrIgFjUaxpTmUJq6BDGsQxUenWZRS2SqUounajN51E3BLQcpfI73omGcsVgkN95nn/EFDa0j5ZXsPWUh0ATCz0KojwhFNpm+01ls/oYIgOAu7V8xtwuUCeR/iRujM/xcI/MqH4iEY6KQ5oxaoGXU1VZ+LiTSaMZ6RGX6SfIu+FJ3yF5TMLgb8vRvDiXq9lJicfBHomsCKvHwKOcpN8FqfPFDYvlnzbjxsoOGNw7B92Xp1jEVxrG+cl/LJlQMkIiZnt9QrjBD2yviqEusGYmHZkvMg3cj75archDnAN15blAQDipqwfd4zuX7xFlYLiaigP6dem3wWqtoBuVM8c3ksvsxZxLRZbf4S5ancnjawNLcw2RgXgHdSNj7brzSKD47oUeqGoHboMZIqyMiNzZnHLFKira5Mfakm8CAanL7EdsArfUd2wYDueyYevYDAgfer9qvnkiQu9BuF7s77sLO2tVr9WOrnfgB/wFBF5WU2YclbC4lnCKWPyzefZLxkxGX2pKOnd3/4Jfx2DKRroMb4Mf7u0QsCzFW8zzSb1P9x/DKGcd14DVcGUeJ0VWjaAJDCySeqVg4WxRBZJ86xG5oLLqkWbCAhDHDbKbEgjKKpwfKYqYwN852zuxbtpdZ4UGsaAE+cKItLk3XOC10r1OA9HcR+T9Z0zwsnLuqfir+ty0Ng9IzQ+lzf/p06SCn3Ee1FhToT1u6IWG1DpvR/nMtvu/ClIOxuWKD+0qGS511rKK0PBbYPL7U9KrPpVhDXkxkZJEl5fN2g58Ry162Gupnr8pSwH/ycDYUtvXcMBrOYyHcwK+IotcFWjFxhhGd9Y77a12n1BZXG+KERe0tcANaAt9QTsTg2rn/bQwr3PXPiCjHVtRzbd0znZnNMOvxZurDH5a5oVZflT6doCukP5N9dqeg6sb6/1/aoKIaJUvvf0Ha5xNQYncctys65nt8glPlkdHfh3/ucL3uIPFSXpI7j75yHNBwPDOQtwMM/Fi0l67B6AqFyHzKg1JEcjfIVr98+n3nvCOwcksJz9T4ofgANKb/06RQaebSnd02qLEwiz2BNhUqQjqximzpcbm4N6pPJfEbjKI7P7z3pF0UO35QqJtY4rH62DOY+QEJ+w9yM7MuXPrUhIGHlBzjK53LuDusZWd6SsbfFr+q8jhcSTREloZfwCuOtLM0W1XAFa/Jrtblt9L+Z+MyHyWe4evcVHZ8MMeGMUMo6aslMGL6kbG9yYbgfpJJWGi6F07tn0zldYMkHCEnLfx0Jk4Y5fqrvtBAE2cD3S2RJLi1Lpauyq682rX6rO9aCS9JG3hcXc0KDT0Hqz6DokKUWUm85pU/9ZY6BNgdquB/31Q7AVZNZSlaBHdczfy1yXA6vhnsN7/6jfezzTxZrVl+04Mepa2fj+jfZQgiY81zTd7Kt8gm918HKWYmygEUlQd8JUvQDdJrI9IQdI0ID3Plo9T/DmEVXtAYJwr/ipsKUmofPh4rBbIGqEBwQe3mbevfb15GCPOyKaCRmXcufvCTWtIZHW/VS0+AQpSBbE4bRoLUM29SNTOGASTayfJEzBL48vlbfsd5C2BKwo0GRKdgzrwNiFoIFqgMQ1k7QJCE0uTaJM3yldAgbCVH/j+11+qpXyyfMlwdaWgkYgdhJPjyIR7xtTQMfOqVWarlmX3468lXFo0MDFsEiUmGe2433yjOgRxCRcehoufv/NC4M6/fP864UOmMo814pu5y0P22mVjP5czQjORK23ToZqDStcfcqmi6R6+P6Klfx4fo+G4nLAm07HX33Y+VdzM13wqkNCJJpXLcGNpjWadqnZHIeWf7d/uXHhTPZk+7jdET5mKJAaU586vSO7fqD58Acl+vIPeJDDVbG6pEikSbtQwutXXgSsZk1WQNvzNvaqeYobMe4L0cpLzVrXYT3fG3MwtoblcjeVXjkcewBAscEZv+ey07Vve55oC7zMjIiDqzjDIDeBF9w286Mmj8Xd8QgiDhDdTv09yk7xsTVT7w6KCJFCpYgC1dtwS1qSuXUQkFkCIwHeAvVaRVBCdmg6Obu71W6LPiMH/phSRcA66TsDfWeRu3Xwk+06HR6f1uMhGXf1XIVUoHaIA6K1BeVa9v8B75EuLGV/UUDsr0ea+O32uzy4ZEo73/S75T6gnnI9kYLIkQSFAlHh6qM+DR4FZjKFPF0EkbnElwHklwrLNmbzTgGZSjdD/s8eVGDpC3RYxg9P54OU1aAzoAhl1zJMb7g2YG7t+P0NDhrpyDKGQh6mOG1yN7W5RaaRtgNCzSEGL5jQt+oJZKicNnAf/WXtgHKODqvHXgniw2oNxxcfWzgaNrWdl5WJelru3RksFLqN0pqoowl6zeHyTL1HkRySk1FLT8CkbuD/+ulieXd3FT80vNolHzUu+9CTDooOCLdTIFelXD7FCvrZykKTt850VeacVM458tJPrnnIvhvXFFRd86Ig4g13va1RckCccYoRUT87RNq+68w/BiR1ixUb6fSXWHEF4H/+1Qmy2q81AYXPhLGy8fnbbSOU7xAcYklgYcA8A7V38as2UFLKqDNzqRSqUjYwArF1jZ4cjvByA9NcPhW61sMAW8sb3mSwpSkFTu3yQiEdzoBh75Y2szbrhZyrDW8uoG05+M6WHnMDYjBM/BHFWLhh+GFtrHrpnGWkpnfD8TAObwBSJs6R2isVoO7/tzTulaKZO6Jw8M1OznrLEC1fAyws9f55iFX3igu2oX9jzNLEG7DkSuSsM/Nd1oYCX4kep1m4eGLkTf7V7LJyMWfgMyhlAGmH0zaTgCldsT8+LrtTeZ6dY2ppjOolTGVx8nIWdvquIICusKa2O8mrKnIzkNO1sirIsOyY3Nd/PGsMjDj1HyvlprphclNW0+TeoTg+LEk43FN6pY0uiQJqCotGeVbDDXptHU7j3MZODgK3uPxvUa5F5xtQVpcEX6AteIcqUl2+mUopkiCBlWqytI3N8uUyoR2EyJvVnx+aJds33to6SvCJjmzuYk4///wmiJdyygU6+SKqOp4dyuhDuLZkA3dPr4zvLsSwYjMb8XsNeBsEaxFGSzOF4C/GV9cDy+t6cilvHBYKFNe6+Axt9vTFmtdG1hu0iv4DLLgRVDy8A58ss/YPzFRV62MT959ApeE/G5AuqSvH5S8AjLMSLY3k4wZqro6na0x9SZ/jsXCg/hB/4j/D6Bt19Xg8bwoNE+lV3MaxDJIZnGy8K1+8Wqp5ZkDsJF5d821My0hJS+w8BHGV5CIiFYBFSZcJ+vCROGifhZzfLdxvu2pfFi3kZOAFr8mYxr7ozu0tIee2KomTbM1InFqr66D0iGjMRB7CQpZGmzalzQMIOdOUG/c8/2XYa8V/V9AnhHBe09qP9kZGUE/0fcVlb7Ebvu0SGPPEM8tSur48w0YSUjzRqWv5M2Q3a4JTYuijbFnGc+pAu7craXztgfOFB5sECu9Mu3rEmFzgWnFp3SepoTbhexqUBKgyKts9U2LybB7/g/IC94OKq4GZB1d8TygXjmhlEW14C3zDKRO+1zw0RFN4FJctDoh8SiIjbj8pr7Cp2dpKQjDVdDKtqo4vCNvnB3P0uLfUCzGP7L3cikUmt1O6WU29zAPb3uAyVeQa3ZXMHbV6r04GkJ6IoR/5LtOSgTIwHcAgbQEDpnV3UNbnlzYy0zjLbk1ycV52UOhqUz77JYUJHs1bvvQTlQnBQnSGRXXP5woUiaMd3StEHg8/FMecF4HmEks7X+36X98sTlVSP4XJ4DITNdTNuAoBG2T9mRVKFrY/5U0W9xqoEmfrCguzD6Sy5QmVXQRDYqadM3w49X6c+1XuQ5fc2Xiu0XveWB7DNGHKWtxJIOQ2w1ApwyWyZaUGUbUMgO8FP9i0tGDCxWlpGePr/GjpALJGbJtRLXXZAHKKpw3ua8CazSbn8/j3uBlRMgvvtr7X77Jz/+bC2hvNrLp7ga+0sfCiM+/xbRuJPQnR0jVjHHimKzHyL4PwMw/Spwjpcoh3IqbgTXcrUAjP5P48S1jJr4Pp33cu0b4VzRuA4jeI/iPbr3oZwkrl1wHTcv8LY2G81ZG59NPiPBAQqZ06mO0ganFamfKfUdO6yAZj10ieI+DcmEh2pEv/HqRov6E5klnCLsqOxakiC45FaD0jH+/sD1ueSuRDXYNHVzOPbCVyoibpkm9U78ZGy25r2JIeCUMROCnCk+QxHTnt2KRedYO0i/zDv8PVhWBx0bZF0Mh8UeyuFaFcW5rQpYeZPxlApauR8fJQmrDBGi92bwJVD6OQWwDtEoAimYVswWjH0TJwsY9B5Dj873EOz00wkP3leS98aTSThNKpfZ5jJnM/l2aTFUL644UI1LM9N9SvbtUrdI6WyemNeJOC4uFPNwDFxYIhKXz8RuQnjdCgC4n1mS1NNZNecCfd1qFaDsKzHsKHTZ4BX77ONa19hXT8+Db5MQOwdGLOcqRTqqDfRH/yKbZr7jEX4xvGM5oGkd/l/tygN7yOudeSds3sZhhI9i+d64K1v3oRU69g9rv1XXWBfYS4uDyh5lpX0pJlp+q0jjwHZEy3y5ncHK4qnxA2QV+BVXPuX/nyy6YAWXGR9T7KR1bHrS/UFXeMb0vbML6Y36NcZb29GZWnH+nDMG2Nh1h+OltCy3rNJrw47kfWPtA+8p5SNNRdR8j0zyIc/DShEdX4VTsTJST1d/Ztmt5592L4tzaunJL9ZV23By7VE7g/CF5ChME6DXyK4vfpPfqhTxn0OQIC3Q66fOB9rT+Cbdgi5tXpGzDTbxqVFGdCAS6XoeMCsxb3+fOYMoJyoQdraKVCS/ZqJP1uv25velmU3GHo+GrdTFXdc0c3zgPz+nD8oao9W+V7drjigDg3M9Jy5/h4Vtzom4br3tg4/I681MtzadT9zTV8F1OjsYvRxZO7xa4dxduH45Mx8yc8uv9UcSBiQhxjApVN4Dy+wGfB4dKmUleVznUQlNK4ri0nPfIriVQ33hufBDrF4PgoVw4hckCTKTG2LDzjm0KMaYN5jZlnLd2UHeyINyCD95S5wmjJOdzUbpr3O7I2rEsKJ3upF+/hoZScor7peRCB2nH3ngZbsTeW0NfBJdiRq885IgPlIeUWNGDaYB0SgVTmyd1bVItfhu6bai2HmPFB4jfAi2jNzLFuKELtJNvEGFZnzBn0NlZR4H8sJATBLquOAvb6szldZO9TFnoLtv1c1p6cGXouimsQqp9tIc8uqWBOaatFljwXHZhPWYEH34C1H1ZwboK4XEA97Xv52zDA0Rwxr9C8tcIrnD2BMSqEE9YlOVMVHhCXcnfFcht6gsGvHrKO/HIys5go850GRTW3Dq/vlmi/+MtOFOzyz6HrzN53kwHh0R7+e6r2LWccRxxIx9XPfO52OqZtj9bVoMCaFPRBl3Mnp8hKK0pRWDtGVvTAAwy9xxGp3GvS9kzaYSA98ZzL4E38V+oseXu6HdIusCpF1iXDFYU6R+L3s9QnpfopKBeVRqyViXrNruMFCvvuorgOS85F0dKeowFBNmtjaGjoeA2lrkOgQ2u4bw2A2/aCGDxFf60O4G2galUj2ZfH5/SYOVY+0VL8rz/fht60FdOJWAcSGUpKPn9y8mK7QudxbL6l/KdOi4LS/ulZTaxHbcHtuwg7Vuy/coFHuFD8+OdWpVyQBQVpW6b1R7rg5AHonV9RqT2zdmDNllZhaOL2iczxn+MSd3e33vjA8hRIDm3EfRpUrWUAVpuKg+4AWu4L0nowzRhmiSIRNWIDfhLrNpjM7DbO02p38kmUSR2gtllesoM6caPT2vzHtqj3qn8nCgj1XX/4Iaw5aONC67ghHEODpgynUK1wUYUjB9JsTsJxAY6hC4dedPRMBFkZF+zg8IYD23wquySpkLbSNybsFD1y7/5njMSfeBfGSHFy5xecTv80+iHUHi+vpthxiy9VTDSmlCmZUwbQtIF59D2R65Q8ekSYKOKOHB5zYBx84yBS+DTHWfGeN8TXU8LdW0vdGlO7FfrYCDa1dZLt9m45qWru73LxRC/nk6WS6ZRsukRztT2Xna/FfJqjyHhjynUCFkh926e0mcnTqmcqLdwpfS6ljFi1AIlst2q85y541gtn9cRjMjiOStjCRUy3GlMRM7st8UfyKWF7Diooh6c50OCkWBcxqzaT8/S6ilFFiDi5U0N6wOHa8RSOk/FEnxIEYQpmDJaI4/vRQT6LdjCIBpyXIfA/PeqQ5y1lza+cy/dDlceyUwBBRB7tHlq8rIaXcP3XPDLVN/lyzRtAaQ8eP7g8lK+pAOPC+QdlYLP1/dtpPnwqf3R4yKPkWHQw1/CW0AKt5ih4p6/Mr2Q49A1OpjwyEYXpVnlJ61kW9y2hsLlrluFO0ctnD/EqJ6V57YpcSrYW+7+nkNEQefwA/wyMiwakPtnSRaL9iJZKiVnLzT9sg6O1n0oP3Uidm2UgywbDFmmAOfslwr6ffFKT3EuyJ2I5dthnFZg0Ba1A4mO+MzLLpQpKbTCKI2sKr+8kA5pGuAqgShd0epbOQXrBng22XBP8L3KG0Ee+iLOfB5OjZzW7d9wjI2h09GIYPIRTTNdJYT+rMMcgDCy6VS4rWzVVJr461Q6fisH5kohg4DA3sdZxH16AdjtDt5LZ5TFacFCwKIu9dnrN8AgjlmmKHkXYHZn1m7wKGhN8SyLA/85Sv5+03luaUQO3my6zDtUf42WbtN8j6pwGUQCl98KMptRDXVXPxGpdV8guCPAUTBFFpeXFYRguiaSIfN+ghSBNkv1BaP+W3ICwStt1RnQhEN3ZdWLIukMtTd/LdG4mPTqSF866J9df3pAavhzDMPn8wbzpY1AuZ/0ZmGFjZjDuJNMwwiph+tVyYh1og4PmXiYbrCQzfvVL//RzVkhUqtUnqNLDIrKK7o121eM0JHj4k+o8JBFXkw8F+dQb3IN7Jf+MUHoZqbhZDgWK3SAB6A1A9bgwKy/DTlVc9ljaVBtVTjx3RWHITdOCJRuszOpTQ6u6NqSSa0FzHxq2+gRKmPDITy3PrtnOn2gB0VsXGupg+xlQk8MvDc/qC9wfbGU90UmVEeQ18A1IhqBhEDjnhmacoEmnyK/6uZL1cxwKYIOM0re08C8chbnZSqXnm6SEd7+9TPHqzAazvwSVLUcHoML+yncP+MfOE05slNA3pv7SxjZKm+/8i28b+1fNbpOy5xyyPUQcobafr3fAn4L3jFeQv5TeXVG+bJgm3Go1naGAuyXbvLdt/+B0W2uifsZiuBfP5eWERYFUEQHS+ZtAk/b6PK4+yClh9W0TkuMnIDZ1dJYR+/Nh0qtVJqdio+exgQjJvbpabwKb8hDbLOpVUMB7NvEYa6AJ9+8iNhXG75S3hKZVNkUj+QhE1occBnvlh1ZJ/pbYnbvSke6XSU1Pq1OeUkZfI/hgzzCZOsBaYrdJOxYG0dk2adFpo1P13i+l8zuVGZ5U4j4sbvYXZmktLMF81WS6ZP0G+gl+shfo/G2FrKWYyRw3Dn6syoIGgxqsLOm6ifuL1kSkkJV2J+85hQjg4dSN8vJT5oQEa6MGYXqUysglm6FOAhoJG4eh29aRJGJUPLYcuXXrc8BA60IgWFXXnSM8MIS7TXP278eU2oIx0Uem+N4dDuybICEczJ/ZKE2dUEo7VBD4OiHpVtHUKe4rQ7C190S85cRyPoOswGO66t6YjhakBq7zi3XnyQuzXk5oQHSmD5uQ//R7PKHdXNnjBL3r+m4Dd0NsVKA/UAipZOsusY4rCiObTemSnhZnZJ1NfqWQT6GEbnShjfQlBgD+bId/on+Lv7gtfsc7yH9LrUfpD/+Xpr+2TzwdSADB6HJgmnpOpsjOWwVlAP6HEwdbLGvJY1WQgTOIvQRBCVel0G0tBTWsvp8YL/qe4/7xBkCwJiQg8Q+nPRtu5B18iZM54igXIKmJ2QikCy/t1z/XOE7j552Y38IU8PFtQKZz5daJG13Wdlhl8OH0k1qOJu+kcj+JUybtXwwJ3CSkzGOJfLekUrnHTwO7J9VAUToxpKriMPwvRUkqFjrifyJkGdJ1317ozemOGpZCr5byF4N+WbsXitreY0Keed7REr1jKfjc8OC412dDqMzg6yPmIWOyo4Wx/0rjAyio3jbOe8VpbJXIwF46ZUZmpER/FNPzPDVL8gnXWO6dGHy4vvJqCueCwmx/fq79/Bf8WpaNiJXtOouCUfJozWK4HSuaqigPKws5kz+SwKgVvSLuzoVLL85Q/xjgjhZTFrTQaDCj7+hH1b3racoecLIMw7b1UkZ8840SSlqpPw5Yqj6aMq0acJjYflODd6IxOwleDxVgCHmiOylJea3quPqJlt7C5y5kCc5R4dNHRV0Va7oKp/hPfr7z1yWkqFfLcxZjjmqm+x7gLJj3S1azyjGJ0V8R3clu0rgB8rA5R8JMTcfz7lFaxjrCwsf1VgUDMW7T1obWSXENrLE6R2QtqLQhaxx89pf2elrYkwEsSvfE3hLCfg+bGM8nmyKSy3G/VoHR8ZeJC2Jybei7bTvinb1YkLIVgL4OLMo1b8baWz0WLKILL8YTh5IEAzsbBgvhKqQo+quvAnMyPV2QrjTXt9/vWDBpGzI4uzGJXamPgk7VMZFGRAHgw01CyvxpGy/vBcJ+yEhfnEv4mwrTpHjeBBvUM2iiFdcabgsCAPlSjRP3F2z9ThmZdCH81hDwAB70ilu8+GHHylsGarGsSzd9YTBXACI0zSFxOO4KwfaOtEHEQ0We1E5/e1OLs+xVyM3V0VMVQYbscyGk3QKU2GZMFeb4bzbLxPdfmM5oRpmRinz78UH+wL1fQwdVDWnr4mZQcZhDaxdrUzrEHOeObUbSD1OGlzHIkDT0puLKuF2NHuIntqtgRvKyB5LtJ6SVi+e96LPdKe319zc/Nedztw0eU/AHDkZXmnMTpzpNlrH+nP0I6t9shvNOaGMU2UiPdEgBubwVBCEz8WbB9oeA/4BPU59KJEvo3Dli2M8dfkrtRMPCaprDr44aV+4Pyc1u8jd6u/c4hBzUecXx/E8jP0zFFN/WQ5c6yV/+i9q/m/yYQZCs01IleZ7FY//L3TToC4BhfZyR6mYvlOm98/E+uA2uZLgzDDQ16l+naBfDeiBkiMFLDCTSqXxvcwCPtlW1eOThqzmKYFiwou24hAyxw8F3zB58hyZH+poBlUatkaHhy+LbysYuHBTwnGuvWrxCm0qfDmf+tBe5ukDbz/Oyoq2/Ey3NWpyKmI0+w3dc6fbbFBInmB8o1OaIoAufXs7YwoCKiN+xRX6jfUgiqIz/K93gVysL6khQ4HmFUcOVdEk44qegXiT+DlVTiDjzWUPR93rPrT7C9wB1iwOQ+avfTbTHuRUWdyt3CvGhDIrTowP1JFdDHtJ3DGQyElPDwEw4zOq6SDHm9Ltss4XW1rQ8MtofTqtBnYgjFpsAqwjh+gJjL4fBbszxy6IIDmP6IJi/u/74Y4+ox1yNMyHyOHVrLfMAP7m+yuyxaolCapCepSjIxR12/6RS4GBvTCn0UvNeHU5jvdSafCQuhoaao4DZAOWiVV/qr+B+ouji2QUFtMshn+eUxIjsdMkYXzTSiUc+T412AsE+r2VwMggbSSguCBecoLe27L0Frr9EOdV0zREU8sbrNRsigpDmrObZ0p74g4tKf78TIj4nHXIzLBuHXahDv25XpbPuEyVXmbg5zCUO2bB6yAnNDHCrvafU3mLfXDRcREuRxHxAl9Yx3WrOEp73Z9WUlQXhb4aNPmeccCcSQPMb+xOfQ9Ig/qbT5BroSBK2uGPQmDfnihAPOq4U6Jg+dqBM0jEmE7usdxzYsxFCV3GajzSmVi93UGteumeZ0XP+fFZ1WkYBrA+V8KJBM8imoaS0KoJJRUjuNlArb61oz7qo3KaGf5tUMgSJnocIa2MYXN8+IUksYTEshRieSbX97H4SvN9y7x3+e6dOAUtoa4y82LwCaMSHtxtn/E8F2N10JGEfhlGyYUgxdFiQwVF6UQ4iYxpxtakhL5LbYPrELgb9mqxp6acWweNFyu8au2hkonAcTfk4t4NVC0+YIDEO/UX+EoS1uX7DnwfuaC60KkELu5cwM/rbEA3O3XYAH3eF4+3stqAwfnYW+Br8HJFSUqcKzUyT360kRY+Ds+M7i2+FvUyAkljW3GL1Vmj1DZ8EEokvvzttvkv6oYSFWAC1q3cOqPnK9ZGGBEZUBGpf95O5o1LuXnL0LOdyKCwmmro6dR2fPh9qlkVDhSx1rCplnbJpTlb+MKlj8Ip8oHtb3VhSq+M99hVayOC0wiM4AE2KI408euKFM44Vax9j2v+jrgXw5WU8kR/j/rwL0Nq1enhGgCvgtq6GXXrsRBhyVZGkUF05FAiMBqvTASNSJaHq56V6iaP3RBQjGPOvegiECFuESeVEcTjsRPiOtzfDkWEsLRnj2XzvAUlK3yJ5TWDIl9+uchQ2El7F0zCVKco0U1QpTH6xQ9pjhHg7Zw6YhF1D9kezYwaMYcJLp15vECxZoz96UUUPET5JrxrTNk28Q0+qKXnKs01x0tbMKQM7udUN+J8pEUWUgAq4PrN04JAyJuNcmjWxHQ8VaZf+/5sGJ+lO+GOHynvoSu4tiyvweZOK+8ufbbJE/8WR3RiPUgyRoKs6Rc36tIVBXIWkzH0OYwE/ZtSa44U53M35bKOdp15iV0sfc9LlSJq/dLKGeIyAnW/3zn5+M9vbLZPAFh285zU+28IKTkj7zPirB2L3Fdm3+kCWxnJ9NIteeLzGXqngzP5ebtImQhR85FgNLhn5O0DEDyLYkY8W0V+/riogaKO+qpSyA64Owp1qY8iOchGaKXGTC0e+iGuhCsETK3mhmLnoMsxYfPDa62NrB9ZoDwBq5KIyurGoAX2AbyuR4YvUy0Us3wrZly3e+V6SPGUywJxtkiTtiqm13gW3JmhbVjf5CXOw7QN1zMZS2IDOZ2YQNZKUm5jP/4OkLxXKP1ECQEO+uhhMAfdFBqzayYsnZu+keKwE94Bu1cXr1hHbwxJn0EcC9trBfoduvWAfPYts/uPzKP394y+xRzZTL4xlnOYD8bKboDNPhwL3oeVPzuP0OJTV7VS6K27mGTgeAMLvrR/AQjJxTWXUAtMUhU4VikVqAvwhE/alA8ISwSQFzzIc6LD1drROC4quiBCm/E3Egqqoi1tdWzaSZkPOXhr9kglrt+hpw+OSdM4bzJsvL9Nz9vXsgMrHOAPJYRnr4w3gYcJlWGJtXNy7RvAio+9+tynR2xaA7NdQaAnDXIKSd6iJXl+3xi+vc2cFf/IkhQjZT9Itgefwq20GtRq0MYnif0adMEmsy8nEtPCPyl4yIdI/XsXuneCCGXVR+CL4tRPZZmLD1OyFKBrNGA9UwqS8hnFf4TU6AQijb+wK9IwVffzqR57MZRqxUITTX9im9vnK1CI7USsB24/wpCP4iwwJAMgv1/O+jWyz5BmQt0D7Mw3m0lwWp2KISB48YRqp59hBfl+KpugLtaUoLyPRtHWbw+VfO9AFz4YpNCZkdfq4Zdb0tPgXP+A1HgPbT6Ac5EzJhv8PpaQpj40p1UKQKORxFwLzZuc86zVVucHwKajOaaCKn7NYYOz7mGxxx3EbFZk+R7rRSFwgd32Nhb54ZW38+2O0SbWUV6b6Eia9NgjRkccgyr9CjUIC4Rf8tKt5HCA1nSplmC7I54iCHcESdA+oOI/3zF7OirsRh+8JtaAVUPBIQHeJlkCyUuiLp79C7SWI0YLcLOj/THlQ7W/J6DyrIie7JFLPTZqoMEMyKyQQ4PsyR2Y7M1vjw6DwEFder1yevMeUlg5o3p6+psgddosxq5u+iwEfi9JbbO96knttqnSbWZIuPYeKRfoofProVzAswmxa/0TlcMq/EcLlH3cDimDq5ce0jryq2Hs2WibQ85NEVpJkJtAr/iekCt7L2R5EibH8/0+1RrpQzDMWwf16SEDou4VuSSLtgFxHOEvgWogIcPIpfSu2s/kVNdMykSHIrn9SQrVJdirCodWVl9irFSEyT70lWRFJnTpyJlsnkwDLAPVJNMydTjgG2B9pJ8AtoszaLhQ+1pZPelBFw3kuHioxDc1Rej8FDT5KAY90p7i580EM9emPxklpVKXeX4FcCA4ntv47ghtYEn9xWjmMRmmiaiRtQ143/LQ9gBI744imXiTyTTM1SDiQRVj9IMzKmHev+879+dyejFJXG/JM7wbu7eNc71gYqhGo8vvqofAhDbALGxIMgBNJYfY28CIDUT2FvhiLiVw55+0l117IpmlmzIaeb5rtbu4R+MZLwY0odJLBtsQKLK3EvNYbMDjZ4EZasSGtJd62kfHVaV9K1pqfucaTm3JnNQ76b1sCrTemWafga1oyo/PMe9Z1qW9N4QlyZ+vYDMvnc49LpHHOfI7DZRjXYCQ9VuGkAAmERXah+1icI3q0klRyrmauciTEcUgNbKUDQyWoFD/3FvuYGz+iSKPZ8qCe3Sp1NQwztQO8KV2RQpAdl+YwGZ2Gy3G0eAKdpFGT8xwUSMm3rNwV5eJx/sS1W5U8Iv3nAGrt6gtTMk1jrxEgD+PaXqsNesLA1UjOy597CdaTAqCUdTQxIQpEAaOGmZ7L9JlaE7GXaElVwUY9Lu0sbwpbD/8cOQJmGgWW8Iq+bEnc1lLcxwtxzqkvUs3n8M+siUGBrN6QrRli4gJ2s5JqzEp9qp5ZzgrW0D22XVUbOEyScLcZFLpr0V0au4wi5ZBovborxSlRJLQhWejDrijLn+AUiRqOFjippN0PH+xn9umq9CrglxC9mjmWnYCiXPWQ5+mAttTUX18PZq3q6g8wPCfobiayDTtvsZPEzCSvw4sXEpvRHmDx2m18A4FPDbSM0x3/FrhbIu7iwgfykyDowSEpRjXNv+FNzX0egd8EFzG5XB7VMu7RqF9U0svqOJaJ/J4Ksn1N+BkZ7U0UJDbu1hz75luEqniYcmHZQww2IW4O2aBD9+u/I1AfvKcCaQAKd88/chmWNKh68jJOcVSjcUyd+upetKultJ8ieLRDMA+SakSpV7rFwmP1/rjsVQ7Zt4z7RAXNqXboSx3gsJjis5inU7tbezUpoBPfIvblJaAf+FPcVSChylYaP5DJv9KAjJ0e9J88o+PGZRUTfDGxrfwoOKAKLdvXCN4dotRoSG+daO94q7bf2mF61hdx4GU5055wNm19qY3D4rEWW+08HeuzX2V8WUoU7Zd79UwzNzohxdK74k50JPLKbGb9Wu4Y7X80AloOsQehEt1MLHyCY2gUY6w4MdkFbhIsYP2Mx2b4uoYfZ3UXoqeaTtqTwHYfc9W9Kyn5YavEPv5NfkwxlcWNgtVZwX2O1AR1Lr62AoTBMLKY2N+sXMBVYdp6dMPqRv7w4q/eiPxBV8zlqnWX1u689mPoFarutyYUD/9YFMLcXQGkBBMUUI3CH35+MQMTZqGvIQRnd5r76cI8+r9M3UJYULa480wllBqY1ReFo2gwpBxNeqlIqBmWCvr19O0CNCRE4e8v3li0wW5GjyDhPvL/qPh1jLGVeotyMegdrRtjCriQBQ3uFzkyEGwJ3m0lmXiWYKmrUH9T7yHbGZNs5Ac8GqSUTgpZYUlP4zTHu4P+p5EFt9zglux23fBq37VM2IKLDbYkUXGOWs2sg8AimtNTKWUIyNkJxsEh18Kisq7iLlnZUHgtLhwGpdqcQqUt8sgiq3XD24HBGaIZI3BmXgOKyUmmkCieWhqs8FWnJPxlidTjN47jbDJaLL1LMEG3hTlVaYo5oPTHv5wOfQMplK4a7++hEMjTssPr8uPqfX08hUPwgeXtFXiwWA/SXOVp6xUmuClWI5PiHWDh7ABA8S10bWP97wQ2EL38H+/EMOoN8xVLVpDRD27l09H/pi9nf+QSvLEXDqlXThVhshU+ql9Pac9aPqC/sfAeCy0r8igcZFodpqtg0ovEQP8jEkWqWp31JkQBYv8aN6NkKLiVk6chhsJinI3N56EaV9nnsvsW0+LTsEaVNtdIvNAUP2dJ8oO3PPuJx+vm7WGfAGxAz3wNUKRmCgy8x1rrpZ2sWROH7iB4mLBr4ADZ5DHeLznU1texXAARZPMeKbKXKOtetMKIBwTmBOptlfeClUhe04pISwcwuI7T6gi5TsNclrDy3YPqjLQdNlSmknu5sKG7RBwil3WqPowdIz94X1+Q3ZskDgLc3FSqYt6LeFEYIVzKy7UMgxkmoNNEc1w/QHBTGqcrrN9+nRp+hbS37vmjShPuYg5Srgk9dvRmUYZAOgSQfFxXbXuRcCBYbnG03eFW7+bupMBQrsj9bJHxJVtmkqxWtJLYN74tw+60C/YySLAdU0UG8mPsqE0FNo2mfEKuNG+Anrr4eIV7QqcbeMXJgFNSZfJ5PU9TlorxGLCwIAcFt0hX9hBOQeiyZmf11nkUvD2QmbovL9oFZHbDEiKfe/BcmbwVt8vPfQcpv/DhGXcLzy8GFGtNE7U1YZ7dKsK+jSWBX+c+Tsb8LKdlPPd+ofuabJ3Syd8yp7xTKlD/bZPS+r3g0khcK+/SiujCQiRkrpAHTrON+15M0AzmtVBXCmUIfn1Fl4Ap5nV8ih4siWJg5fiNtZ55MZ9od0dZr60Zeq5vN4SnYCs9s9hmnMHtDI34dowONiM6lN9oqwYE3Tu0P2bNf0TIm9dozwxjT1jS9nxiBUyIN9SRVqsP3Ck75QWs3G0rjgqT8o+nTYDOa1YaKLhsJJdVVMQhgUqPoxryGxIX07XC2ZLUHJvCQ5yDJsCtpdYIgCHOfyNMtLqN0RBhICee2qWm/XAMC1T1wHi5cXzs/d0bMrQwa33xPlOWmR3zknNHCSz5IkFY137N0aRgCDu603be+5l1KgI6k4pjbHpVdY7ODBUp3VRJO8r33hCSDkikQzo7Xn8alY3RcjWWyA5udVYOs58gUFAtPF02e9ZoWwwhg7vo6wUGPfzFHTRjXE1Bw0RA1tZerrGwOoiGsIwPIWanLUkBqlT3paTxyyszZpts6HmzgTDfPihtubhqi6aAvggKnDmyWduI0I8alP3px1MpCKqOCnu49HVGYgM6cidK7n28T2izDXfo0NJeogqYfbXdOtEQFFArcChhgkG3d6PSVMSpIvMfBLsi/r1OC4GXxutfEY1/JQ1OASXTCy4UxdVgu84BH8BcJv7cEBWrhzNEZXr+v8/vYIwsmxddLmMKNJm0Mbanoi2+PpAV8Vv6Vy8f+QUjpwAfklvLwJwhh/5s6iX1FTZFVrASNU89gTDU+66p6h1SZA7uGFoLZdPA8/zzbqwNCJ0Ud4hupTshzRkK7+l/ypGamOIDqFu9ctHu//ZiIIRzT5tsWaDNgUDf37GrvGG4wOa3mDkGJ2ShcmxyhSbiot0uQolgHPnIE5fbCdYnVKBLpGb/PpzkaLkhJSOmNQThw7/BmEfuM1VYuecyFMSOGXobjbttGZszJJ4wk8R5NBy82crq9OfZB1Ss15MNRzQukHo2T83kiMpAogAgrClyH3UbZd+QLz6OzQ3vSO9shnT6hiLx9vx6cbnGLTMQ1XRwcgU0f5QA==" title="Mekko Graphics Chart">
            <a:extLst>
              <a:ext uri="{FF2B5EF4-FFF2-40B4-BE49-F238E27FC236}">
                <a16:creationId xmlns:a16="http://schemas.microsoft.com/office/drawing/2014/main" id="{4349C3B8-0FA8-42B1-A8EE-5430A21D0B59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55930" y="4139453"/>
            <a:ext cx="8232140" cy="231394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3359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1h9D1Z5GDtPW+wuCTrU5cbsTyeRnoM7v2+KYfNB8pPDHY3/N/nQDLg73FVUjs5JX80ZEMdZ5aXYVE2SrM7ljDixtoKhF4R5tzsuuZUVsHAaGHrcvzrGlD4yAm3CyaORk4O/aqBJgY0aC2MNL7S7z5ijemfSgX5bQjjq9OQ1XUBK0ZgINrN9OG6sVK7rGsEM8vfxZf5kf3+Cs+3Fg2Sy5fRaQ5ccUR2opIae3puEoYX1/q8LkRXBqJVH7xnGGAHyVuotPXWWl/MCNYEHkxXtp8GSte28JsHppcnFpFPVpKZ2wpjIdvl0H+niFkCOIvUyoneDSk4qTREHIQ6oV8d4GMZgdf+n88FhieQUyI7fTzYzQGPeGecSTlpEsXEAvRxY/qVjxnBXEnruj3EGjdLU/Zd+g7+fmpRtN/u7Yytz/ZDt952vWuvZcLnAO3S76MiNVWzUQhdy5n8dVyWitYUsWTD9GA3gb1OmRCt3PEgFKVSxHTsxBnLDmbtyMIUMY6rmJqFHQcIS2CcgnqoUAoUiQLBcaEZv56opNFDqY8cE0+hFw0LsZPmxGMii/HPBfdrMXrv3ce1UWgu+bg8ClU6atK1YiwLDA4wZYseVBySjr0R1P2KR9W2g7eCJ/pC6H4HBtrl9I3W6Pntigu3wFJar35IcWBthSQOi+j+R9urrJubUVWB7mcfFMDRXtyFflQQ5RYl2tChSJY4jXL5L7EMpb899cxqcXqSIzuhArPSuqATxYWHzT1NGwphK+zFG7ZWAI0ib2QudDqIxvYyfkwH9h9RJVnbEIU6gf/pqD9i9cLqihHnfSD4uKb5mwZ2EKcpEu3tSKk5IHZlfoih2xw8dMqV16bvvBKi4aZtsVqjIOAkQazqh5+xWVpjN2EGzyWdsp0Mkgw6cfKmx37y42e7XORGQG7erqm7ATvMu9ssqhLolcacY7wOd25k6RW7lZGPgyHo3PJ0/8oZW81FS7OfaeLl4f4CWmVY3JXuGtlbfQ+QuGD3W/xd6LqDeQOWLu9tKRI2LC8ckWzYhcelXPBr4rkjWF9bNaDIrcLz+O7ayB+U4oI7Baoxu0rRePafDclzdDyWRg25SJxwBmrGEgSvlB/GsEXNGxrIkREN8HzuFbQSvnSik5meBuN2XkFGvE1QRlSlu26WlXjvkraOdqlYo03v94/7I3nOkLgx/tRfkDdZUEFgfuml7TeLeqzllpWibMxA7XvCRHwCzuHhYioDRMuDxFbSOsI+YvIswgeMozWEdBr+pAWuuHrx7VxuOlpSBTLJdbLsznTTuWbdMBN4lPwQUJ9tHwLgwzrAgWbhafRPWVkoUzTqldYVK3izYxTyoHh+80pe0eajkYn8dZBmuR/uv5KeSF7qSgXnLyQk9gliLQCogIgcck1ii+Lv6960arqMe9Yt1nPvMj4VvPp0dm0TQ7blijsncF6XmhGJ2a/zPliRo7Ao3FoV0/75+6Z/6L9Qt43zqElLQYd1Yy84hKdlrW1BdOM/TRH2juRyHTuIvn9v6UtDBEfXeUofQu0gEtsqIk4EJNt/38/ajPepEO+TtonPFvN/7Jc0zuM6Z3IBUO2lsvZcYh73rzVoXgD9VkoXYIi0PBbpZt4Q6L3AI8pHbfrOWCRBjxzZAiz8u8Y++XEC1FQs4XYL43JVh6nq3+3W6xuzz8gbOi2nfomG/e9E6lpIt6McCQyWKeSV/2wSWbW3onxj7HPQgi+WZs58MEey34OFAQox4JAZFj1EjsuEHSzI6MIv6bfYtnHfq+5uz6nx1/W+TjuMDDcirM1vuZGiuLTR72omSsZqy619SMxS5Lwk3ip6qmTN3KehoT9Nehte9LoiwvLRxnxaufnNAqIQSKfEod+Lc7fBhgDFcsVf9kH+p0KdcahwQ5vIZHtAm11EItTzEsgc9fmmRrhhIMbMwIXZjGWqAAavmBnmp4ZK6STyi6zCwBad5/0KZZn57D/ZDuCdPVEerMG1De5P4ElAhAk+H0mDQAY6Ul0pHkks2lFzii43pJe9DTDC9sc6mo+zudGoZSstHCupyGHfNum3jCRiNLKs0GLBRhDfqEbw/7JNNI5jO5WWOPFkebfGD5kBjHq4Tp0Qv7HRaiqhBpJrcmt6TbMK1tQzMmY05GhBNQLChJAw9pfc+zIi8H7KIgRos20fsotXT8doynnqep1E04zJGR1+3MDbJsHEeSCjk2+yVi9q6WIlK7MKE4wiQv4Rq2b4i9VbaIFB6gXI8DOya1kXOecZdaJ7rUXhDUGEUf9Bxmursvs6wAZkY8eiz8tLF3nK7wBbgU96Et8/w+SDgCd8rIfJri5YOvo8yhZhPKbvQ6xDeCTaOer1+qukMT28J1SBJqmfG9AMJ7KDWIWE4cxXbm31yD7msFDGIXf4RT7qmZUc6WJ3KzKrSfqWWvEi0JLos7PCx/8gqj0654XaQVhFAUA8IrmMCf6qLetMMb20Q3Rwex++7fp7A7ovRxtRtHEzudNQQ6jnmkauyzCj9Sv+hnls/ndy/27RRAY7EWaDDYPght9tQC1V/wN3iC6fxqAWFuZW2J3sassTNJOTAo2ZufMv0ZeT1XKLU8offgW6GEY4R3Lu617t0CsnOkj0eZOHYn57RIu1XzrYOO3VUHeIvtwDsZoVRt0H82AC/x3IJ0UAcjtFSJzTF55BheRJxvkMAfkUo169L9QP7L+LPd5tQgDnqLFj9tvlqNb0DZf7H6rFm7EeE0n5AV5qazAor0FliIvf/fHLT7EjReyQ/LJ8RS5GjWzfQ30+l2m+M0tY+UkIZ5Bq/+QSBL55aNz9OXJ8kiLQZRpK/fwif3YT47He/8gFxgtwlgwiG/K6touuVeW64YGFmD7be+ylzqaq4DllvRYNdWIzioHTQvEAlGFjxOakoWMkLp6edqpZme53P+i+u1NJo/yoDiPT1fCXvMHwv+UtMyOJ2E33GtmIRhohtw8101dnJcybjzAHUbwu9BkXebAdO5pvSzCx9RwLSURlmJ5p5rQIY0bl5oxO9sFhp6ZPn3LVDzDvESyDELeZ/YD9TFr252XPkM4Qidz0dIVh/cuypzGjej1/XhV4ttdhjslS4bW95T2pc6tfHJhQPX4YrWWeBhwOAmgXOSkCYHSwDSYe+TY16FeXnC1PUA2YwDfcgTuPdSN7qzeOlQqH6wWNJGt2luw/Ku6ajeZ2L4IRmfbAHTKCy6hHY2/8keYqGzpE/7R/UZmyNPcTb4qqhmdyYZWCLsVuV5cFWwCTWK5wM1DnlG8zO1pyoFNhPInM76T0mxuTj/HSQgsZrbLCiFka66lh1eQlv4TzuTccoOOcwJUeBbcJcqpiz5MUJ46JOcA3LNskNWde5gWk1kC4PDoNteQZrWlAfm/Cvv40GGKzAKj7aB9oAYIQEqQdEAGJTztsPSHq0g/BI5jc8abU+RuEPrBUT52MvvKqJd4tqeg4EtfCBEo1p0awBWiLmOV/FFWCadbOwU106aehDNRPFxEU578iXAs51JJuzeq8yAq5eYY0qcjTWdQZ0v7XaPgf8HlyFYtdSZEyktM2WFSwrkQuMfGzF6I0HZLwdoeN48Lv5w7SebJaeRyBSz9GTpo93wrWwgrDL7D9yP5hj+KgsyYd66fTLXhn4RcqlnnkRK+TXZ2mCGNog2eL/4pp3NlBE9VC8LskqMS6j+nbTM/BViPF+r5WrpIpXVBoofRiwoSpL4TFyy9d+J5coSYDIO81OzLBZ6K32xWbN6R1AJt1y6Kj8VyHPSUXqtfCoRwGNTi3in5SeiyryC6kzQI7Iq0Y8kvDOZgDOwaRVHjuEK57AYdKrE/+Jdv/T+0THsDjjHPWeLFybGUBfN6pP8HRlks8dtlneYthplRTIFh41KJ8C3DPR/y/sNDcYl2phmaid/sje+uebcg5HnAffV+8YUuFNsbNnxnjuL60acgxUkZfFJeUPeiFb4M2eYS9Q5ktPUGAZqnpqTSNnM0v0CwBrD51nRUNTx4A50R7xijbzTo8MCBtVZ+bmiEOG9F9iK6q/oGCZcihNE7yJzKUdJRDCSUR0W4V39/AluL4Lxt/qcnTlPyF6SUm/5TmtNmLJh0/dqcXGLQI9WBBSG7TQdA0/Q0I3dH1v75ampmKGfYPqognxrpemdDIZAqi7/IAk/d7Tg4ObgA3adeVE8M5MwXY2ISYi8WcbsiCPDc35cwJ+2s87DRT774+hV68f0tmSj09bW+J9vmhYSgTe/7zofRJwgGWwSo3p60XUohrISwBAaP0i5z+/8wE8ajrIoVweC9bMqwG4+jCUAYMuEl5JY5/azR7yLEogfV7txQXhmfNgP3ILao7SzajOoJ2dkeKZMK41Tu/AA3ytLNASI3SMYddkxd7+Odx0aKm5pAWnBBoIMcx2VvOIaTQUp9C4XzHGo9qn0VE2F8dPoM3uJPoTfQtCOW1ZcbeL2ODqj7ZiPJQav3PpcqifdaM8AmykBYP1rJN1tlcoF4iKHoWLBs+mIjqORtW8nCz54nlGl5LoT/SJurCPExmMlu7CejZTu3IDYU5IfIENwmI/zINgXV1ScWCduKH35y6leDBUrRYtLF8E5paBqJE99AKuoxpZhCWYoakSa8rbN66YkeV0DOOKaaGKIGy+3QJmhILJN4zAQe8+QFvkSIDDQCaBerrVT3319L4NIfB+ZX0B/Qs7O5zgpMIiaAXZltg1wXc9A6eVzkQw2xW6aR0BJhzxhsOeb21lmxhpJIearCdtCXuVfAENAsh/AjBL+BOHO7LvI7wqOeGqF7CYGW0wYctwLkc42ZYQIonUBbazogx7JOJD1QvuwZPAaF4DAgNuozkpIHYgUG7WYO2dAmhZ5vWPMHTcYzboMoPZlPTUrWYDOZvaTN9jLRqAp8Dmh943mLZ4cZAJn95sUmgDv4xLOiSVNVknnKSOrZLKp2NFhJTInVb7KcptDqxEHYCeZh9CeclAkQifwC3Xb3zf8FzVCU53p+yv8O+iAEnXvqQoX/U9FKUNOAYtSIwsflxg2ht6sG15YpCkjyEt2f1x22/dH+WUTxSlQctV1Le4Y1j5zQ//rZ9IKrpAwQ2fd+zFcn+0lB0Ei3eL9YRxgBLfJOvNGbu6OZR0Vg2ChDtVVxCooajyRCfMwIv30XTLlnYegTgG5tNatQgpCq9LHRBY6tVH4CgIFvRtmHyARcLVvhe/evzYb02e59Q2aTaNifloVa67lHQW463qre0kjrmGluzYtpKbEJw/8+YjzAhMQPkrL9fOaMd9LZ6ws+MjkViVxPKAUyARBfX3NHwiB/MlPHereRZ2V86f4ro7slVCf9M5yR5zJN7A7caYqo7eTQ2qTQ3NDDebrhBPdLF9ZhbvbDEfZoqMeuTTIS8RruqX10iNH0eCO2BzQWpXXC7lvk/7nlHlD8DhDw101TFZrZecvjprP8rITBBA07dFQOy7RdfJQlLEL5CRmUhszPHkO+6Llo3UcYO1KV8LDH3GU5eJc1XVdQS5tOLlrEPqnMnctF0QdOTZJY6/V6rpW7fGbQ91NlYtvEX2JEd0v7+2pYfgrHteMBTxx2GeU2gzp2bDNLO/CeoT1DBI9AhfnzEMMJsvp5Qngpz5lnDFEstL430cddC43mfz2lXvYanga7HdLv0dyTIIuGymI8+Svh5vP6C/isY5aijlDvEOTaiM6dTXn9cc9i1AKo5nlrJPtV9IGUX4kfqQ8KUt939oTUmybfE9kYkQB6wGA5lVojHsgIAZeeCPABdq5mPgaOSq+SKb2uqYZFG76jqRWvxGTZkOGGZFtVc+xubwBJUNihoENtzD1mlyw9AhHNWkLT5S5OfzbEgCRzBgMyxfPq6VT3BpReGguBx338Y+saP8tVryvGjbe34o73Jnx118SGdViOig7CyccvLFjFyUtZhENmp4y6GI2igu2RnjArRnk33RmqqXPer3JSx4dOu4yVviQe4W5KtHG0R6w+SaFVg6aIqHs41qWY13uv92bm+p3WEENbHraAIF3xjB/Spr+wyVLFdXVPB7xuYmSnK3lycyBnuAgzO+2HMEaa6pGapqSLQIg/Sna6YjFxSKwR3qNfrRxThVGTdaGwEYz+Jj/WKkb63slBWAMdf6T7wlGVcF738BRgLmG1wQvZqq0lotXiA+tmAfIxGy+HxxqcWtSIuJLOKE+Q/0sAKpdiMVOytVzAgxqcurtkdB7gx54WQjlYnTjrMQs+dehYGbqu8Gm8pgJwyxAavRVmJ/4mq9XmH5/TixtyJZ1xKRFzueeA78UCsZcJIJx706ZxAQh7HzvcShrICSLg6dUOtEYfTF7xHdwYrC1xdgy4MnaZgJ90MR4whWzg3Vet2Z1//J6IWGJb3TkhYffTQTML94YzVCCzOj9t8TxXnMW2HYIaOPCebaSgdPZ0BC5WjRrVjL6OPDA3UfmboqPKGYN0hDSRCWAQON+nw5aDGNzYQZ6OvwWwbGE5SrGTncOeow+h9GBPkmoB4tlM52sVdAQrVJuQabz+3+vHCCu5bc8Xi7rpPZVXMbWHt3aHPCue0jUqVxzV3etvNlqom7F1aTs/oZMozF79cHQuDQiybWFDsLEGTLRNCBa+R9fW51hmXb2ozyzjXg37OZJ4d//RQiTXFV1hlzBhKsEC+6r8cyTPGYQ6+r3y95aCho+/lABmQ+KKjWr8nl+p+ONb8p5v9wOiLW+l1feCg2ZC7W+q5fH0fS3vHGadLccf5lTu3vn1AYRNzCCfqfxkn5Qia/ZHCa+QMB2LcfpB9hzCkgKGwcDBDFAgoFJMersyRv6h4oofuXp/y3z5+SCs0uVbGIyCey0N5h2wtG2/uqk+WiDO/ubE/DGPTGYL9MI37gHmYmc3KLfHObdUhanmCEBh3Nya1dqs0IVIVts/NZ4bn0MMoJPfZW2RhATHpdecqGi4MNEYUHFTv/8bhw3yFnUjK46Yzj5pL3KBMyEXmD+z6EDLF8ekLlGxHqrjgX15UzM9S6uGoDMc8DTTRlTTYxBVrC+vzkhEFMHcAFhMbmhQ1CTAq2BPHLIZGHJNG463Vz73wndTUGHCWoDpgqyg9qfc/RnLBsE/Osa5vuFnUa77ox0H21gYHf+i8e0YN57hfpl+1XlWGQTBA8uo7bo7ZW6zUy9v0Q2ilpT7rGBp7fCEXDmYqa62teociS7+DhP1fk/FONoa6KJsRbNiHvYLXUNi3oCeEJ60knzr3Yt0PWbtn2spJrfnPRCE7A/PfW1jKdqzE7aiBiKYLTwBtg2L0q+XIAHH/UFw7fjAjSwQPvOPLBDryaMiItvENWly+mRdYzrT0vzbr0R1FGb6AjurxjWkS7fLqA9c348MQ5eQmP8m0+J7834LTGKV2I/ZMVQyhR+Bh/D3vgCHvj89+eIum9+KPzo0ZNOZ9wFfcsmfwJ5sEFhjyQEPqWtBAaoHorqbDwdWWtNYaM/zNZpf4QH6XLHEQT9PBpl3fg6Vzetkg+34BNFJnDvXRkXGYl2MtkcZYD/qdIxwn2I3DhWQ4VxvMyJWA0C7Bym28gKW1am3EEWdzaunKzqKMqwvaBkTRYoP6NncWhdQ2TrgJQ2RtWA75daZE5UhLreO5UIhbDedpf7LwU1ZRM24w5ZlJsqcMpajC/VV+RGO4Nzqao11w9j7efSYy4L5l48mSsQ2lrc8kSV8jEozERnV6gpGtSifwAwpY7O/mwJHWcweG9QDj6tmdgdyY9cd+nTF2q6jc5TzvUHU5+DaTFjBTcPAMjYmYC5cRPkAFAT4i7OH8b0polYgf2dvQPjpMbru8AUMv8z6wBVJXX3ASUBQ4cG9rMr4yTl0EXTzokFQKVeUbP5TyCALFJy/54fdeK2pQwN3FsQrvjd4Ud8Yg7Wi8O50wUmr+mJRLbmV/qIh1Ab2yMpXvM3rJPbzMPZYYEhblMhgbXnrTsJcJjdexk7Z4KQXjd7dMwu/VzHcLobSC5SraoKwbAQ6QcfR/+BZ07k8lhz8u8MyrI2mkixpFIxdg3xmK+DuN5zKtmDSrenBeY+KQJekmB4cBhmIVPCqszkQENUzNTkGZdeGfZvHL3DKj4Q2najzUjba6jLJYpzNI9zw6OJ5VJCFus4SaJzPHc2NYmaqvVPNTsc01qb/BzAKyj9AMKnN60EKojnG1RN4WvDePyfRPIebzq3ZA9ujEstY5UXstDRA5iPzKNFXFsUrZ4RDxEyAqh/eaWK6AivUGvSOv+c+M+iIaF2mdPFUxzbH5aOXFfxnBtd2jhsrfIxjryTPHUFGt5F3q34a9ufURyM5B0z6WxvAn5y6ffWPVT8KVKRmeARUxlkPo6l0JjcVQdk8WvbzzLu7y4YNWQAB5RTQIf5LgeOamlFPRSWNTA/u8s5drG/GzvISwxhm5y5I8n1gn2TE87NIAzA9IfUzu60Hm7jaP5gtScmbyZ/1WKrfZNfiX0A3EaS0x5rPTPomAGM0xlbsQgmPFReuAGuv28mQqSFDz1uGp9qNQJTfHwxaHEfzmb7sj3cfrUXka0i3UBrDJQcqAQUtfvXmgHmx4VBaWf79alms2v8YFw97UndJdbXLqcNxVdx+Yz/GRhKv7K1Jak5J3Nn3xBsmEUr79I89n84XQGxAxYIldinijVlGZq+B9aAyPVOkN8WUmwxUseotCz4mJa21np1LWZKpA1VgW3KXaxc79ZRGn1Ug/x+ana+kjWqV9nHlSsUw8iOpwm2ew1NJyiTR0XZAfFUU4Z7h6JYHzWGU4bxhcb0meNm7wHEYSUuOeB5ai+TDyzQgyBZvuFkNfJ60H4DunLV7st31o6K7Ppa7s4oT/K683LyoPaDNCoUqk/JiSYaWE/+XpwFSYIToJi635dMeq0PHcyYUZzSmeYVvz89OINvztk6yhiaTGUkkOtGw5XSke8CyLyG/5NCBdndvdpj1ARbE588gAVUTUEc/zj0MkVjY/4IAtSjZt5owBPu2TVd+5nFhdRJThygkLPLfLDETsCZxONI8vxYpPGLJlF2KaP5k8uo4PT3Dl5ki9yNJn0z36ssRVTcVi7rXcjt8ccyVyP4+YgIbOc5T7sN6fdOA0AJrPThkNPwHduC0gmJozhIlZbLcdM5/3essyVXnyNz4Ck6Z2bTpWc34znYuwcxYbluPKutP2bNr+FLIK13s+FydbQGV4U3vppB0lx0uvlKPxAUDi8SF6wRIySXxLHirP6f9GJSOl6ylTVriIAuGumf7thKhUHBiKfdnNrzhoRlyT/upnxcJmxoveq+hm2qW5WwQmSqpZyvUmsGpERkreDwQq7yCCGkNO75EKY6+RDT2meWkM5fTRxuwsvgC4G5/ZiPQDhYgZJGiUFJPEn6szh+b/wBm0/CRmjnGXTothCqT1qXrQn0Ivot8A118Du8DSbbvICZ6P7ob647I4/FpK7j4wTgeDm7YaKyeyiMmu8LhYv1EauU3hEg+Fsp8+H7pCgEZeRcShIX6BgV9MfLphcQqdhaq6lUC/CiztiBPbQLN8RccfDoBQ8EzA4hzrXGEibdxcLRbtgVRXNl5uNmBZ6TVBiCuhCbk0kH8IKBFjpLWR76aNs2WEuWXkY4tOPZEj23bpxMh7oifUEjXGPqN1EW0aEw+EqtsKcWSV7GVpro74ROVgwnj2j0WMZeUKIZRk4ehoKPAi+tqjk+GRsZRMdpj7+bAbjPMNrqstvLFTmL2uM+vFJrL3cFO/n+VOIT6gatpqyc/FNmKIPi6RApYgsLBGCi1D9zTklNAd204VTF0VPOFckQvUOB4RjBCeFYiOFibd0pt64W2E8btj8Xl7jqML0gl37ezzEduWeIW2ABW+6KO4P3uArEq5GljVBoZoX/fNa+/GmM0enNmcIp9c+tDSBsD/azACYkIgCqXRU8rSdp+Lw0QqoLKf6Cr1sPoOb+2ix4BaPIjTOoEPNt6tqjQ5ZYfvaUmFh/e+hRRk9+7Xd194mlX6apxLXAy5TpA5PUMtKnzbAg8QCPXgGj63yeDNdRId6vKtrtSkpXFgV1abOgBZXZSp76Glce89NtFebHeZ9yUMah9fdzgPvkdE6Q4XLdV6Xfksm0kPYjPHEbvKlFJMePgd7iT6uMNbPNCxEhx5rAO//OH7nG3uSPAMkZlpchX8/JI3vXpe4D+pMOiPhmlAn+Z1w2JD2KSgm20GxSv3vhvCqgzI6uBw5Q25zKKk4DAteAu8gefPuZ9YLDXkaXJIy3w7t6iib6X39sgcHvvq3KhyDI65FSZfdIiXnH9akDSrIxgCaZbkxtH4md3YEHZjpIIsTfFjWiqDZoX3l1Ku2yc/BTSHYEJ2AxKib53GLQwqLS5TH9+Z77DFguN05M2DVrZHaK136g2rfvOTcMXPje0jEB1Z9DyGVUGQ5Z+mwS3Lbgd44J4r4t1tkiEiIQnYLHu5+GVNgnfHo/kPlNNwf8hks0ehUCFYDdSoEKpg8LnSsgBsnULPdqkuk8k73SotF0Ww8RsDEMcEmKBkUFAqpYvkRSlNyfECIhxt6rLA+DHktw0oz/wm+BdCQxv8SEtcbiBAow2D5IAAJpXYpOCPaNbV+jrV4+qbLPmUB+TkijrWRrHrNaQ1NXL1zRO5qQ107W8cx/NtpMqt7XvPxQpiIP80smAF6nFsncRmmV3AVu+DH87AZmZSXmjmtaHlCPUd23TXRIptmeZ/RYcVa8Io7ExtEtlJQMaQUAughzGRndezcV7QUnqvyBSkUfOUhieKM1Gy4puSq5ZPKXE8QK3khxe+7Od5QE5auuc9GnmbFFjnsmxeXlT9L6uWmQFbb7JMh7HbqFBh2yIsa9hbQKwi76QM8JDE9oow13rT0Z5wx2VzQG6OGLZwDoTPc+idQwN2jEPnyr+wyj1NwxxbSc3NsArURQ6lN5WIMfwRVJLl7JspYxbICkraXIm5i4bLgdMzDTaja9L5Ty9n3t7URu6xOX94luOBGikZdhMjdOlmRfcdwd12/Dvh9Y1t0ox4Hji05wYMb154zNxY2AgDp4E24UPm8mZA78Tr5FCr4h8Rr/RpGnTRjw2YIG0HxSz8gtctIrQS0hGBt51dZUMJrjFuB8qxiohvBGBRoTxf3x/FILYt7qd7Nt/Ekq8tUpdSsuXfAPNh5GD9xFDAgBwpZyZuOloe7qUoifrVdM3+r2vxAspIXzHwemfIyVagX7Jm98pD11CLSG3jZ0CRxO6avv2mZfuex8yVYYF8yRdrGkKCaJQYr0w1LuiJYJyJLt6Ri/Zy+OkbRp/2JAbUbvZr4SS1Ea+Yyq/YpWKEpttM9HeRNziugq2wH3PmZJhPVHSsclenExDQWPiYwUmkjOAZmaW88JkZQz7SOGNCBKCU/dvugp1lHOxLbphtUt9FbWE/frtoMw9J0W0Nf7JMZ1MWDEepgfPveMuc6G3MByXVvh+P2T7RBkJWleYKLcLikBxGTugR85OSy8FHN3IREnjxplayQpMkKePn/vM0+NdAA7dWVPdc7UM+OXOI88y+dl44HcZIgdekAoOknGu4YKQffwdz3ADUB0fwe/YNP8BjLmJB9jPBeGl4Dz+o2ttdLUO3vEgFZRc2S1PRU2SNtVji0nGk6ODwRn/RD9ZnXKRZYJ//F8q/+yPdAXDcZxtdmYkwRoqA7Zqo8eb1X6ixS7yuPMgk0etMBFC0RmWqxZ4rV5zeLDqnNokm4zXGLqRAV5cTySMcjbJOsIsxQkVkOBZHTJzZaPlIhKn92CFteWQ/wRuYir3p0zNq+nHNJ9KxfJNO9VZejBSQdb90+ja4k781TCPVENZfr7dSfPNHkCnm7DKgJKefpl4P9gu2NJhmBeeLffniTMST6bfOFW2EzaRSrSOJkYaxjxtQY5QEPqSBoWjXmLTeMF8sIQqZ20RDnJcMGp2cgEgRt3IbbuNRim67+kv26Zm9IgQpo8mXMun9RL9ZmZHY3tQO45BfvNMcsSwwM7Sw3vpTh2i6AOGKBnvbs9x3SjBhBTZiZKzdPf5USfcE04/L3bYtwIi5e7YvDiw+8M4hqBLAGEicvrO8U2KKWlRz0IAunfBL/G2PCY5Xdxk1SqD24JjXZF4cw2XkGkziTQBhMNXsvwOi9lLVGo3kB5yRIYn2e72S4A/578G9vBNZCAQcfXegvtPksyiYe/wUHl9kySIKUH3gcXlPL+vsE8pUtD1KhgehF1KEHkHqA6JwNzjcBvXrhMs6pw7DdhuyRG05C0nNAfbz5EJCl39t0bXmuuNlU1O907ecJUS4CDpQvVj0UjN8I/+b48+/8jHBz8PQa/ctZlx0QmJoQxdmnfhmL3uvBmG3KMug7QMzxeb9e8cfORNe0g6HPMV2oG4gql4jh2MNX0zm8pqQ/2eVoUEMQtF7iYGWTymMMe6Jo4IlH7Fi+79cjVonFUMlNmBhQR7JPeVf2gMBUmE6csC3RgbhwQLIU6LbDIwAM8/NJYm6PUmK6jEfftidhxM64cAnNBvsPtrrBnOTEh2BoVUKsb9EX93j+PTCHMdf1OkWwroCJ0du1HtpXbcC7PiJ08UYjD/c4b3YIsul48xviFuJRgnFk2D+X8lqWpPDVosH+WnKEvdG0/EHYgqdZMIW35ygVRpp3SSIQYyM1ohpGe82J3/giylOhen967ObJ8IUxJpgkp4IMr0aw238CwYNLTmA+mWGRGnGstzvZ3kjpaBuzax6gXB4roKt6nTtMxK2el/rcAB01H9RV15Uut5GYYzbyGwa3pBqcZkzdZ6DL0YcxoETERWN4eT9f8raopZkMBhB/iRJpCw3yK8XBBMm79liHw435e71rcH5AhHws1XUrOjvl50cr70qQQDr8fULRnywFQNq4UqiZya9bxYIJ8JiUpnAFXmdknA5vxajsdYH52RhdB87HP9qQ2jH8Tn5FjC+X8IbqltqXeupSLf9uU2qyD1IsrsXoQ4VxHydqS3uKBnwRu23izHnaKTiIg2SgBaCADVxeydTMq6ehUAoyj1H2nJ64JculrDC1u6T5a4n1oxIxWoNahKH8nDIPU4AlaoVqPeaPBWHuR2/yFLSYB5RgrxMJk7ih7I//6JqlOHgJsV9nDxkkxdExlsvh14EKNxXaqAehScIUJuYd/pJa4umhtdILasXbWfrLxj/VHm1iDm6zJURWTX1mVwgZWMAKnOu78b3QU1JyMk55GVf4tleUYscSuXVmj8J7mkiqp0s8izeWz393YHYkHgIGCd5wAzWlywEPfvcJVhS86uVCg8HDGZWJFknXGnHaX0CXCG0E23rJykzi65fa4/w4AOBkG3FwkYrhtJnrsv+/RZW7eZgewzuCjpwiogdtnqzoweRCFZ6SzlU7xUQ3ZgEfxLD/JALZ99WqBwn5rI0IR+HiYEeAiQZTkHTWA2iCW0jiXw//uyNfDCdg3YOlvYFqUPJEn/vzKwGNqFNM1oFVzdV+n60uqQQ29HFXQJj31bZP5Iif4qemWxsZno4lA5oIbJ/IcsYfBTfPJa0n35wF/YECWKIxhdxkMO+9sN6vTen8WbkNMBeuP93EhGLZtvU/qhAMM9Ss+aq7Hsld2r/Y480JUF+8Hv9MJzEPYHYoIAaBqeIJJ+6ET08g49Zc0tBuR8ODdmOH/l7QL4GB1N/23cbty3QStkTtqE4qPCw3KARz3KzgukIIv8wFF+wKBE0xYWBVhgcXEhRLTiBAiaYKzAgh5z7aWv9D/Wclnkf/bAvLQx5L5fMUAF6aUTtMRV5hu427vUJMqffV7Aft0gyVB+Wut3QFL/IbnRZQqqKLbk9b2aDTr4uAWG0FfMAGtUHgtEKf5PBSMWYiRzRTDUauoQTkY99VWv8WuFrnmsVJaN6K+i7GjzJrj49Uv//o/7an67gcpwZVpCQDeNLOdZ5oeutj0TDSeaPjvptWDteVP2wa12p3OCZAUToX+PaOa5BhYKUx8qHccvISOw+scY8ATK910QsTZ/2T+0fAZHzArysBXjm1bKfe46IVaaqIkniJB5cavBqrntIZGAsEfuigrELi3/kbUju/RIT6ozBT53SAzJ1S8DU1iI0P+eilLdrOcAAMdZav8t/9ScUgF13e/bT+lZDUMHfR3YupInAz+C2dPu9qkLdMCn/w4CryH3DPOxEQ6Qexb0c67uLlBmjZtyQE/nfI233boGXJujWFgtp3H7sCK1JNVs9Rn3KMyuUbik5yxFgaIMRWfFGtLUex+0QoMoWdhmAPIBx6uI+PBfOSI8DZtlQaRrpzvcOy9XWmNorq6FWyHnQAUDZvzkUpEvEpF17dfR7O2/DIsIKBiU9WGTVrq9Qoy11lRigIs8Pd9aBpyz8HtWmCx3EV9MJ49IQeMTNU7Ov79YuhrubCumm/i1iFGIwLY2I4r5NqLXeuBvBlKkm3DpBKe1J4RYePsDs3ewLgJbX2FpzLVHkLhpwOPqWXf+KJWzvo/7xtQV7BnRWL4awazHUWuMaahufZ88ISVbMECBJHOvQX/JvaVTfOHUIThXL0a3xIegEqOu7M8k13CvtOjLZd+0xO6Lc5C+FqskYdR9UZlcCF6KlkVoD58pU0BRB39FUejX4wFJAq6QmhLTHsQ04gXNAs+XtJJlJ4Hm4c46tqIRtyuZ3c3aAA5xXogdD4xevkd/6+EzTMS5XRrJs8behcEj5P80LgMqv7OIow5cHw0DcwVlDTq04LLley/pGFjwfmRY/AOdsl+uJt5P5yAbnU6jZ0iSeG06vD6iInHVspw7AqkK+e6zp1e5AAaq9yFYv0WTTORKD/YNoZbCdRiuCRHkGOgilRg2uNUmTJjm61ur4k9EHm/CxRP5fI/W4FFgJqb1fNgCMHAUA/rvDvlU06OmeYvps7PpqsaCvezhYExmzFvogZBcnzTJRisarJqpOpoBX6vpz6OdY+waxGQB5iuV+TFhC5fTCC+JT0kNsQcCH7kDDlhae9wbrzEUfvj+t+RubFno77sDCW4ko9giCHgc1NxUjT30mHItD9rBxojeU+KOgcpLH6Tl8VDa32QD5kRv3c8BcsPRO8AF40tQVFdGM0OVcY+dU/F97VJjXvHXxHHkoMKTqp8/JtDZtroYF/estPoiHBQuEOp6yZ3txw2LlBxC46M/JXOnoe1fBBMWStkMVOYBCIlaAK9tjhSFSr47SFbJZj2QMji5j6cryY7CHomjBkuhvzTbhTuLnnBGZvexhQmf1RL5VPmBf7J9oFtMTpCn8RtIGIAybajz3Swb+GaxJ3TZRare/p0j2ukoX+ul2eQEzj10WE/YD/6fIyIlMLYpVXxWxYc4ldGyGbQjlpLILEROKlzVxpX+Qo0HOAO2r1xDiQECddWnns1o/JNs71cWiLOoCysqJ+EQGanWINIIXALi8yFnHffvWqxVUcXOCDUNah2WLH2KmM67AxfeQRni/p0W2Yuwz+lWsdSR8XVojlbtxYMuH40rEcJY+SS2IEhurFd0T2XKCTIuq536xr48JLoMSU8KEf7WWH+0HJl8toDOz5Ssx8UHBZPc+nHz9MDiUAkD5frZmWu6FApeIOOBaT7zmRx5i8+t+1u0IF0M/Rh98VN1hUCzkwl/AKjwiL+wAT4Py9i5TC18b8qb2dm1jT4pNF3rhQ+JMH6GS1/ZiOBIrgvkOYnSbxhWtWPJGiuoCG3YIZitmDxAfytL72lEXVwvfIkqPmVpIi8/zIef3c0C+UNu91FTWuRVA02cSjIjrvB8Zswam+theBK1CgLNKabz0mwFkwRw1LTPJ53rW8L2jgpo7R3EHdAGPGHKrq+bWMWvB50szoXIp6De645W2CmdP0LkIlZb7s3iwpMjyatlymSy90LGyOCxK1kXbcE/HTcolcHZrzujqbpGoO3ED6Nr/5WKPmOA+PTit/zNRFIAg+weE8fawUhARpYPMgtKskJ+peZpElaI6znYEDPJogZJWRiCKT+4zBOHfIcBrm0Wd/W8QR/ml3HnMwvbs51Pj0KctfMcJRocT/9tAEVDym4JEi4hK/6KhMbKWbfjLKt6IwdjWTpjYZwB/OutHfd5EEs3fEyzvKSaRTM3aQab/qKmh9arrRhoJ9IYfhWJcrhEKv9HzxRWgMQ0ywAvSOUQk1kccp51wSw18G1pq5b3oQ7ps1zco1L0Zp9ypkS+WMUMco5galBkUTQV+VYHs5fNWqAwaRd6LhK4xRKmAh0p1w9whKBkf1Lo6fjFgf2GVMhZ/vp5bOUF9LIt8DqinN+SehM2X8HN7zHVUVOmpXsAarQ1mc1niYY5T4Cci1SP3lo/0ujK6QLVRSmbReZjGHndQgx88ctVilZloa4ZiFyMASg5dh9PbBMcENe+/Zu4yfhO4U1u7ly/wM3ddqMja28nffgLyxmYHb9Jna82CA1kYBFA+N2oUWE3f0DxGjFTqRej/SVRd/7lusvKDPw5g1VVhx42ID8Wesi0+5JQ7bzMBldwzZy9Ql1o8EERyv5E/48sVdvSum6PIEbN12kvMpa1i/m1gamvw/cQ4nSF54AlRixOPORS7MkdDuFBG4zJfZBQwvFPL9a/z/VtjAh0fFPCLd54pyEoLGp+HtTDYme/rVKqsMkalAN9hGmWrlByVgJA1rafczUjL4rtWWFKkwa6dTdaN43ev30sJFkKa2X/xnRLrlu7mwHJ9HLG/IcdULhC1CL/kE2t0MA8JFXc6siCejm0b4hF0cLyvTZ7C4DyjdJU6JzqwEgaVd0MqQLG1RGde/DNWktHauUIqgXmFIKnDCp8MvFbckZiT+cYgbmYTAWN9oL5mIhNxz+5m07cvnCQWvDiX2GHcZ7uOAnfxM/nnt2hhuVUCs40Sy98Hg00GpJM7uYgTEtBRVvhHUK4Kyt9SxLJiiplxf4cPZHAu9bggdSR/FUzx/OtZV1wekPoMo4ZRpBamP3LnFHooqnkPPi9US/sCcHeOIGPTOpBbmsuO2zmn/M/ejg9GLAq3COs97uuGAdd9Q0JBDebxbfah+dpwddbe8bCp1ua+pimBK7UT94o6a3i4gsUj5Mszo738nSUL67dC7ndsbnz8jeY1av5y+yKzzpiZ19+PlL4N/WQqzTjh4mYV1yJbY9ANy0v6Sg7+m4BalGlhMTAHK0GaA6+kZ7v9sRGaYKK1ai26uZvIUuvi6MomSBLpMB56141zjY8QIa3ujxjBQZMZHCeKmLUBXpb9RzhmEIYVJKUWxiXo32WCNs4+ROxZu42/b9XIhWRfEm7cciZNJoPUpROwKJkg+GF9cNZwnMsxtHeotJp28kN8qmHO9nEaJGf77CRvejFzfQFcXtFh0rLFFsIULnY7bjmd992N36Morwh45teonlqADQK0N0duI+yYIzGTPnUMeLJwlqdSutEt754t1JuXMAcfNIsnfmtb/LgwfoYaAaUGSndQPYoB6toROVqsGubFTiGiEIYTHgxPUMtOwm4KL5bL6Nx+O5bw1Pv/kQoxAynhKxu9P7w1lOSdrH6CuxWOpdqOq2jmOXcZf0ud4wa/BqsUD1YTxPciS9j7enNLnCLEqZTg3euXiC9xKKDz9azqHyg1tW/Lps9wD9DXIJ53wIB4XyR1PXWEZkqejcnscREOxa9lg6BUn0CliKFypkfGuM62hjQcjiEPlqZkmuurGwQQ54kdr0ZiWfIM1Mf3I4y7zfqa+/tvJL6cXKNjU6sMdlZjp7bS0Q9jVBuaducKqAirWHunDOz+KrDgpFcPFO9GctWSjkiwaTo3dSSQcpYBWi6fA+KrB3zLLHAq2NlYmuuGXf2veBYdZPvGAAjf55OGDFRzgLsymN/p7LCSlSTsW6DspyCzobqesvvt1nDCMb9ru5S+qPmIxJNO05JOWBjXUdQlwrY+ky65Oz1UB4RDaHAHqoxDWh/mnCGXWDxsg3L10bSiqDiqHM/JPQ1sgbpEyS+J15RIH5+81zcWD8Oe4uTGkhItu5g+G2+M3EOUGgxqX2tfqNj4zjSFvjaHBnJqKFGGBPz+7SY4FjltwY5ckgxndMclZ3QFG7qiiPAaLYPG9hLn65ByWOHCCiymFF4BXQ5PYuTL7jup9m9kel+kudtC3dbHeXj+tvNpqCH+XDv92mP+fAqFKjG2bTLh+3UYDOzZcOwWdzMDV0wUqZw3YS0Gmp7rdaiiWoGeTKq/jsMF1BK5+hqMI+Kdnvh8yUUwPvlkMtAxB5/nA4JR5mthr9J9nY+ClyE3tua60SH1TLTuwfug/SYoxvoRO/minCnUX4woCskVSYUeDh9ymYUGnBdOu59k7KoWYAUWSJVnbBN+2I0Pj1PREXSdhNX+Z6fw70erZlzRl37Cid+5ckrGN7LWLkDZ5A6EdT4/ODbNoCRY7qksUTqKKK0nYlLXVbJFySFucGHmi8c5nzvCg9V9WqgENJvwpHXyiPjId9c/gpa4BeXy7CER0XkvgCredXe/HrLXDUq4JX4Lq5K99uvXvcK2pKlUvJk1N6Vbz+ycPzHkC+ogEQuPKXf+n1S811voZlkfmMQ70aJZ7wRA+iumd+bABcnWhq7o1HfKr78rGAB1MXFQEJu326USzHDAeVpdtffe/l6FPM2JBiy4oGwy3yQg6X0cHMYNxtjRcKoO0AXhM6KvKpgG+f3zxCsd1SHZBkZxENLQU4i7FBG9l6kM3o/AVhkvCmq0geSKcWBq+ccsCX5TKauPmn92MdlqT7IZJmwqZsIS0w97Xvk6l8hAoCvgoCUUOEZsKtGMt1AQ3SB9dVwfINNtSDGYd9MlJ2ZMZ1Gr/qdEmlN3mh+tN5Nl4z43ztrrszkFrHmljQ87NkSnxwf77YeeRzLyRWm5RJXow72Lo3m/IGnAfY9WRZm3XXTL6iINQrSpY8XXv4+4hYlDVYj+IJL8pCGxr47OkJxyxHolaDkiohGf+WBpguPssI03e+y1/63XU2Ang7Me4Z4qvXRAf7+h+lBGLggYPc/P+HXxkKTg93OjifyiPJq3w3iYI5fwPv25mltPYVeUuUU8S9JZowGIKcBFFgDHcec1J52IDThzr7MoEATwYfb+QcN8jK9ASPGynqGeEJmU1gs5MkBscg5LZ+sFQerlhC3kmsqkj4/W3uAjbcZXEUbwdhCwpFrjv5nLoE3GqBb7rRiwquLf3+jPC/uoibasnM8McD3IOo8TlJC19Xf4S8OKdk3JHrBnimMdr27X1KRuEwMhWtPqBmcBkRDkzEg7OUVXAmYjll3wHlfRLhX3RuCnSZmQ1JlOPD92PPrEZ/a1p54+WeXwG+i2HIGAWD/5cYFh7mwvNT0elUOlFk/kJ0Ps+Q9FDQaO8cAyrnIWu1oSm98otDv99LpCpeyN9SXi54jdrqhfniL4nCMbDASkKyEunkMw7Edp0Btt9hhyNSdo3rh7RHeHgNnRY/BHqoNfjw18bXTg1tldvOe1XdNKkNYEjozF03vhrh3nfcAZbMuD7yJZPSTdctJr89UfWMSA1kO+PjexH5X++pPU8RDTRY1Do/2Qk7Zk4r9LRVnQ6OuSQ8t5GRs2+mvpS0dGPdLAD7ipIyCfmKtr60e3MgcLhTc1g435+6r3zPV/ju4SmJ5Tp2ENDGGWU99tXg88JIIyn17lpp3tdyxaydeoE5NeHsJ/rhMmEx7BXJSbgg+po4SsfFwiSuKne3t1K19dEKw79316i695yv8N0hiWL/Qkx8U4ZDKMX3LHsAy6JETFmSZu6dV8baw4/1tilgcWnhokU5c1Ea8H2Rg961uqoi8LysvuQKO2FdUJbpCNF73lnn5Yn5bhkcQMIM/0+Zs8GdSmfEuglc5qsFA67aZuTI3gjZMjwhOE7CsbA1JwwWUn2oPmo/uS3aIbO/cJF++/v6EKxIJL0Ob330zr90DJ5g5FJ0Jd43Qy4jjcfcoxFlJz4mb37i+OGWnG3oflLJS3G+Ry9mc4gQaBVR4wzk1Bd6WUcWmxOkQFCpFLTbpUpyXitON3IKCgvHT8JNXgvyIQrjiPZartsqLh2uDFapg2QiSPAcotyqFXrieEXbiAmbgCGV4VFtQpR1JPU4AxCc+wFeMo90jhi4Thr67bZvlO0F47K74j5ZZ2E1sYYq+lRMp0LA0qcc/juVBHEoxRA9IXUrS6q2CAyGSQ2ripZJXHQ+nAh7e/sdSNS6Zu96TMZTTW5aC01IeRKO/CegsNqAczMEjllmzzAka2NEDLSgU4FOzNSyCWSk0Gg8pB/GunxYHkQ9GEtqrINlFFtVpWBK51OKFtrSd3wkE8S2z1NuqQj0k7/4Xyf22K5lFw1ciSn9TQxGWLWyTx9BYaCI+PjHgm4mQ2GtGDkLtAIsVVENRSXJLc/HbFwA2VvP5bkjYOqe2y41uGZgf6WPdZzvwbMXnQp0wJ4brqU113xNElFQK6Rc8/tKB8HluST3QUdWD2wRRGbNONi/3BClCNP1mLbuHiIWFQSUys05YruZqRO0AYhZeOTxerqfpY2rzEmBOqRJs7YCB5QTSncuUUJti8jyfB4Y26xtnASt3LMAwfgK73F3mZIP32GjlgajT08GDg4Z5rZbv52d3/mYIRmvAwELT4Zr8hZNIerX85PTaGXh02TU+46lz+V1F4aHi9KcRvDIDcYVggAU8+aW+4zlwihXQBt7gcxigjJLL2wogu/nOdOrWE7hV8cQi0BXpcqVmLbQFo1LqNBfQsm2bDiAzoG/1b7x/RWLbE/twG5pg9x2otAc5TYpBnOjrjieI8VoSOVsKTkI7RefiBcd6cVxvFSHTstk4Rphnf7P5WYig2/fHANWtfxiV4LEPAbMjtoP7/UhiieIOvWn0hCkRZYvKJeIpIHMOV/ZbGSjtsD6GQBx928814sP+35QWsc+ZF+Z7QRL/D8nTngtcqWHrkoMNJKRDJioP8q3IlB5IrwAgjj0V5oaByT+SxJcLo4PBjUe2/se7P7hY4b0K6xsUv8CaR5H0hsU/7GodZSwXpdIeWUjPOqewy2QMGWJXu3qeovYt1tVQHeeJNiGwnfu7g0xkH+O5vL3BBGgTeRQRqMX6v7TTh7IuZt1vMbSDGXw4yHhklHsHlwuxlMRnUa4iEiLhiA+vOzP5pFogk/J8ELPi74ciz+0uwJF8DFm4Kx3WKzXlYnB/liRsEHe4fYKvS7Kb8T8lBLgBXia+FCZ8cpgfMfhnqxnORRgswRmmO5CDRqH56lz1bxd6f8Q35Dmtm6ufkTeBJc3n4tAG1ThECg0X/fKMroWstyT81aaspMk9tF+lA+NmwGeU6+CHSRZDAJyAuo0FblncrEzaO04kRmd08S5bIkmaXXd+ehvW30ph6NZEM4gESeHnFdEGDP7Jb5osd+jll0NxYqoqHvELl8qbq/9oL3xtrD309B72Z66u8/uZ37VXgDuSD1FIP69SPQpmbRWwjVKQBZnU4ImpoPw9jGjWGRkPS1PRhiTrsQFgm6u4TYApo3Vn2PGTduTjmaMK7apR+SOuSNgftpS+j8qlBZ54iX7InbMdLaP0f9ZZ5t+zXafVPYuDG3OQMjvPXiIzG5Br1Xa7TjhVX/Hm5Hgr7cgoTHOuvJzpjF1JFbWdrPeEPe/y44ZvseDf26V/iABQtCfNYHFzr0aY6TPjjCcjIj1yp06btGengyRaO2NWHl71yK/Ijao+KekDWwEkIbR2/P2JG6xkSe0Uur51yAZoNxPl2p37vKDxeVggjxNM48aoIH436BdGfY7OtrU1F3of5pwpgeHRAg5/NAbQCtAFJRyQyuNvRSA4xj6i6TAxFECrFhFHt624haW6hEfgHchH+cd6QSkY+bjXm0O8Qj7gZPnqDRUsk/kpebhSeR4L3DEQw0+ORn+GCt+ynldwvrhVVllcAq1Oja4DwoESblPPVeMBJ26Ol3tvZ0yEpwkb/DT7tI78j3uQBnw4c1P8fBtRGLP3TSDuIc/I/f2+iNS6Q3otn1SwrUO6+tA2pzcidI0I8JsbwD4s6bMxIyUdLz8eBf2muQmllvVjPz9FOF5QV5qx/g8tgBaudIKANq5RZ6DJdTibpQLS2bBdThu0ncwfxntPabgV/GQv4o8KRDHljgIeUvSh1scC03Z14WwZ4VykUzdzYtLHNZfTyxkIdrCwGFFO9AK8LfgPFVHb3MZjly7c86rsfFRGXWT6I1dIsAdMcDnzFIS8xj1Bfaqk5h8jSphnwqk/WeZpJ4VGKkVbafSEahQ3A6B9+UXBIm9Cjh+1fUjLuQo1+qgAI0O4KanZPayugWhQ7RHq8fPZH/fXR8unmutiPx4AXCHD5CFf8joDiBGwM+lZOCbwHptyglHj6J+qQyDCAYhYkD7acM8ASiU5tEfEqRoZA+TW1RygscyE5bDolENfsb7FrYa8PJ3u9QutRfHYzMiHWsrjPUE+BfMn92sqcNwVHYK7cvk6gntd4FAgHX3Alk9F3tU56zGcOwp42YvXqmbRq67jK2HambraM3Nlb/mn0CicAOzJisinNBuFWu9X2VnvHesp7lY1mC6WlyrJPZvIk9MBMX3EZBONs66iH2I2OXU/rJjglAmXmVkVUsxaqQBBhWWOgIe76ikq5w0Q2qLlBD55CPJWABwlJZ4MjBtDKsmb1iijHnju5Bwfex2j2zNTOhVb51crpUoDx4RQEfcueRFgEIjKxOX1DNq/FIgfnUV3HoqXTBscOth8nVrSbmeGbl+Mc6tsccD9dFiFR36H34CjTxpMbIhrmTtTMa80u2ne4ZwqPCjQcKq56WriPN/L6hYcUAB+k2bUqHYgLks6TKMRcmU7xYGg07nmhnBf4oUNME0rBXYQQQGStgnEaIjZx6iMmEK5bXdU626a+JJocu8afL7ZJ51/4vYPsWhs4iljSXLjrD+GkgYCJalys9/OjY/Ej8Dn3HI8DMkbTCtNjtdX/GyqWEL8MYz/bcTWL4XIVsWhHSikQ3p/R7zptTQ1VT9Imp3/ors3Qx/fkcqX6QxBMx1bKa73kx/GzmrIz0adQ/0jfuRBsw/ukRqKQaPUi804+n2li1DHLEA2uPtmapSwQnYGNMcKLPXfg0f3X4pS0HKQFt4YYL1kY1K+ML9L7ydFb87wDz1VfgMbZfsWDBXV+9GsZyBn5U74Q3zoMuMu/BdlOqEgWCGbTnG7fZSsz4R1iwGVG7iMzpu3qrgewjy/13d/F0Gk+aJf0LkEaCIloPNOsGIL+Z5/f3jpq8+et/pq0kJ7jHOaeAWy2iFEX9TvMjAulr2mEj+fB9HrAlw1y4C7+yYNZUbYWMgXNf1zv9FlimHvthX8IFnkhkIxmTyokXzfy6LofCqnIyDG4RUUGMs3gSF3HkmBZ2d6+tNCHbzKYonc2z3su18nCMWSXQQtWhmoyjL09eCYuGgDdsgJz2OoqdO3BhvqJH+Vu9ow0jP6LFNV9KsE6XdJvTA1ajZjl0Bb7KbbABxg3arNgKInQILH1WjaUpl6JHSTC07BUyYHSi+IeziWvWBQd1Jh/nMwyBSN1AyASotyIKEaDBq0YuIOD6s4UIiYqQEvxDB6AcObqtOGobn5QADGmGKTFVTp8Vv4e7fOO9kXHl7kGY9qWAXYh2ovEQnLQC16oV87NNeW7aDWk7dzZBuhy7fmcd+w4MX+0MOdBVdwiGm5Sav87TiCicbjGakaWFaMeMjBjefuK64bt8bnAAqNuSxgfnTOacahNyGBzkiCBpyHDVR0ucRhxwZFQ8/6SOQOgSlJ7oGkYtTAt2WXLYv5s4amYwDKQSWf9nz5xcQy4D2WYm8xABntZAOQ9pndps2mjSmD5QmqZ6gp/EqikpmboR30/sfr2g/wEZ4eDqUUv4qxK167LDsHFz1pazbHTKfEMLa0cWelE/zI7rsVMAFd6P/bnbdH+tQ/97KaW619Q9IKQwV9txgfNIXv5VfHNdawzxVUBBuJ3WFb8aY69qqWVMlYB+WJXVRsOknvWJ160dA9tGwehOcCN6lVZ4KnClMHNhrYgs5Jl/dP07ykqlQOpRJUFVq2pL2grabXi35ZPjjBH+TDhBE/lGJ09GY1lg2ef1K3C8lpgkAfHLj/kYVeIf+F6pr99yQ11hIz2rZn4wNFH/vaF0qKPKnhKdkMWHiPItmJe+9i65UUYwV5A19jQlRlI0t70JFavalsLDK2bwWEmDFQun/O4P3Hfu9EBet+3TKr87prWJnirHFK4N0PNxSCTcW9iC8gygk5N5cWU+8gFsLGJy4Nld33M1bLRTcHiEVMg+c+viwWHMSzhSopybRvsj45NyN/hbQDhr6ahkUI39aUeDITZNyAbsnBhKZnzOw9Up9Lp02jrJSPeDAHZMHYhULGflekOKGxi1T9TGQUbyvkG+ySdcsMIcH0ri/KRuUKThMQ0IIqxQXrJm75D+N+Vu3uQ7is/6X+5lgOQkMxcuiecvtwBiTy+dmngdZV5ooarHfqiK6N1iIXqjeapxMIamCDgtCwGA+gttvOMxO8qq9c+TKTFHhADE4bAUnagfIcs3kVxyFfErZRqpVUSSxywBlyOeOpqGmmqXcX9FZ6tw4ZiWErM1zb+ItiRh/IEycfWq32VVv3NhNZZ+e6naEivLwHQf2aVeuT8UvkrBZ01ixkmIA1jEsIE8p4juXen9I+jJLQBYD19g7WLbzgsAtwwC5l7gAe8X/R1uw68vPBh1A38EsawsGG58U72r3HqTQ05Y7wGQH6HOUBLsH6dT6n/ZiZEEwbS56JrSSL57o5hpFvarZt04UCos5NDcsWlZKWg08YKpdhrbbu9HU6Ell3xgFvNoaQ7yLs9vS+Cg6UboplE118lXHH0Y1gtLFeMGNlTUi3hZyDaBVIhu+1UTIqH7MKQEWRlMx3tE2nOfyLMgzogLG8I9IxjMAnDKRMCZql8rJnOc7SSmNhhib8M9+aevHixbEXTqtGY9O00P4DNuJ3KS+24BTdbaJS4HWsKCBFlxucwm0gfG7Z+e83cZnbSgqHIcAytHBys8fDya7ewewYV9PPOTszFcnuH0kEzIi12Ojo4/k4HAB5UJBCniwwULarcuUsmrkmnQa6v5V+IBQAdS0KD4986/F6KjH4PYu73KJwWTksfKWHop8WUYNpY4faHabijC6UsSZeWdJ5WO6TTw66cKmIlZEyqzllTCjayX4k0QgB+NvaEfql5yzG4NvqcJJyvTBOg5aSvh5jl+A3YgKvKse9W1950snjM+Pezhmb/2iPy5EDf/XXECZCwVkHu5YwSR3NXCjsodnSGWb/Nu9aN+uvqE95ntE6vPg+Q5+zKA8brj/5tb783GkKovzn9JQzcU7daFoKE3lgezwCYb2tvaQp45QPsQ1K60CEMgFcdZrFyknjWtzoRoOlqG5lf55QTJA9/O00/RJLU1WDz1G6CReV0FeOmu1hYtc6zDHIUJBR1K8XEO+yRhHyVFkaHKMaDJxKRxWIOtyoRQEwlwVGx3iC4cnEUI36ZiJlM44TT5yfYzKxJQrBTImEYadlTYAtHFGDxQEmTNAT/o/t4StQZzD1olRG9LDh4IijHKI9GvyJYrT76lV6E6ifNXt7ZmU2rawn77OIYM5u2DJW6SM9UYkW61NWmpTR91bZANL6Lkl4CwlmH8feDfTCpblCP6hNdPpbj9woAfKX8rD1x1NZ6Sv+NKxe6mOrTrcrFTyTMUc8qYsXjN1UHxXRZn7RU6syBuCCrjs31EQYaXjSUPnMvaau4n/2KIlefO0D6Bx0rg7OkXB4V2nk/dBwieSSgD8q1BFOfr/71T8K0QwxxikFAFCHVZiCDKzFbuVfal7bt0Wa8DqyN/Gu8xC1fwL+DSkf2SligbHIHvQFMKkiuSC1EnjWBr+oDn53Wfvy4/WJo5nvsDXnVYF5N+UI2HVdxyoP9JA3kuW6GwZgpWRlAc1zwRKaBMdsoPcyAELdsKcNcifiJsBDVfs081pQjNguyKMj3reIJeKhD5dLGD0/0Zh/i3O83UQOlZMuv0xqM4BibHjlu+4fTNNIWajOrEmRQuAwewQCMXDpziQmvOJOa/UDGPbr9qRXe9vqkngdvo6Ah2n6wEd+WO3kTZDnQ0BmBUduEde1SSn9p0gQyADV8AHRHN9H8DICXTHR9gKJc5T/5GLHdWrgjkBS7WWI8aKfYdE17f91Rf1kBifHkeEKe8Vwk9WOGVCkYoq5Ju6GhjIPTbGBdbk1FWNiFsXOizK0yEHnTiChwsrPvL1BIKThyp3pUnk9fLti8ZHySr1CTeW6IkZ5obyATrPFMG3ZXsIZyPowGSbFnrNMyCOKrGePBwtavUhdbRsOkMbjcRFV7i1R2+0Qv7+3W/vqXx6J2/Toq497xpXGpnnQqCGQ9wWGh4wiA/+lpGs1oCSsgVdSZROomJJGc0xYZf2I1vs/7Aleno1dIjofv94wgzZ51Att8U1JkCrxFRBGE82Ett/ev5xAOzum/D7keujUoT/sz/BO5h/kA6srGRvuBt1hGe3q9Z8ZqLb5aOehcrdy48crEBYG0wLnUDn6WFwYN0Kv5xFuSBgDg+G4ZA/PPe3TgW/zoAC2RwONEm0EVPzi+MJDwoj7YggllhihTB+XnhyuRUr1BHubMEmUZSuWPyOHftsbvYfHdwumF6eT3CvBmG6vcCZvveNrNya11v6oGcsE4xTm1sqJ40WvnKIaTZpw9LbNMVu0XKL7GutZD1/9ZkP2ZBB9chr1vQXQUla1BHAYM4R+LozTIINwvnCdXV7ozOYSRVK0DYaqlKTaF+7DQuRPDGAZpGGUw9ehpy5U/IMiTk7/usxU/ReMm1wMfKT7qbHh10ENI1s0bMQCiLIMbusKaPZzEE1HBxiK4W756/jHRnZhTIbUbO8BgYgisgebGUY8sHkvzsS8vHL6HO3ihhSz5glCHo3ZPNN32zoNz914oC2FLB1kG1iUQ9PlnUrjZ84goEblTef8JOO0ngAM0qfG423f1SEgvqZo4Rc3R7OnxNdSQNpyLiJioJaD4fUFIQiH5X4jJBjlR6vHlXg4mnyW+UAD4qI6nQEhl9oZCqkWK8vD8ZlMVuym0BgZHUL7F2A874ySC+l0JRCLd8xAq1xAuTBv8BargADjPTAgi2SMSDQTJ/WxzlzCojlxOX3BwWuMyYs9/gbqwHcfo2ErkidZjzBGJinDZVGklpcqOvay5nBbeNZhZ3sopJpgqRDE/Nz4v/QBy+YgB+bF+Emi4kPWwLWYmxX4cHvViqOaNdvvAuVCmoPjfCS1tC/DU5X+L6dn2HUIng4kQgk8VBeybdZIokHjUfiNiomO7XlBuzO0Nq64OahXfdk/W6udCg5iw/tLVuLwOY1uyWkq/s6F8ch88XChuWfwd6Npc+qM2gEakgE/39p+ZnaumtnygooUGUKUQV3oRGLBY9677OYfUNQkTdxVPtD1ptmYbQmHf3jz+vqgr5sZoma281WV+PIfZcnByRNgoNsTLQch9GtIpW7hzbSCbdvcsGmgdLZRuJKgyEA4L5NFRVvBavPTO2X72TvUw/AAOgLpYO3i8uTlNlgdMsaRdi8amwKACp5yQ21SGBTG7wwdleMMEoftoiug34bMZbe4A7N9uDzR6rra7RyVszjKAwKzYObWt95DMgGXmHKUXowwCUFogc64SAAgLjAoaJuMFPRsKUk56EyFjUwzWp/1B2eP1SgnKvNuCK6nK1bBeq2ZsZVbrzHV9G78MZs1wkij//WiYUMQjOo7h+w2/kvAfO4TvQdgQ1Ayj+e1/y1Sc0lyIKy5qPOL0C9sr4CqQuPe/POE9ymTMzPWOcKDZxW8MjCwcVjqr5ZzTzC1kTys4O70C6NLHKunHxMC1PuEfwLl/l0F4+AIYx+Bp2ZdGmYYfHlEokJZL14G/9anZvr4dJifo9pOLVVk5t189BC23n6ZLcD1EbCIBaWvx4RF+E93sIjcN2iatvPi3u2mg+xJfFqGvie3tVmIcFfg1Hegc3lEqNDwbQC6PWOFuqwyotODFx1t2E5z4c53Ks5lOhechrgeUpUqTfioct4WGTcVpl5FgfW7UQRilUiwxMee42I0uk5waz9Y1Y5LgNSdpma7K95vVzxx8Zb8n/M5mDntqniRLLcDDcnhiHQvZ/L9zDn60J2bAt9hedAgiJdwOkCUoleWwShoTXbkflIvGXv4WaHd21cAGH2v0AY1232AGZ4UxbCYm2Cal6zx5xystB3d3c8Em2rORcrZYI8Hv8tRc5/HVrhJImAtyWvxOoArROLJGmINJwBNTR/cMJkBgOHr3wdcDP+WwZsmQXr+7Kphxli9T+hTWDt79h7YVNuVcGtlIluA5wM0J7U/TXiBCpI2leoqeO/o8dxnceqLl2rYXv9uAyfuDbUvBRyqER61EfnQ0a7ktATF67b6FTymWyoid/01p97PfNrbnmYWSbinoBgR/hzc490SALs/hnHv7fzZy+xXusE5Vn1fLGTJ9Un2inCmuFachNE71uzBMlV98IzEYu+vOJ+2o9fvYBezdUnR7gKmfxGQ3u2+7VF9FRpQmKSCT++7UGtGlPXY/j7l0IQJI5oyO0pcUR6J0lhctZy2Z1r6VzLs+aEPifr2WCNSWTC4a83zLuZ92kvp8Fm5oulowFuz5SGO/qTB1BWlpAeaWi75YcAhlhdLJlNXlrR0bapuPoRxK13eHTEgYgqxH4qfZqC2mkPJPTUY3dr6Ev81l8N/xhkTWcWGK0YttQVNp9SzYe4wCvTkfhnGgQa+hCOVn8LQ3bLbScGAhIiCxz9rb/+IatJE5NtD45r/Xiq4v/X/K5S7ql7r9tqP0rwigmXmpzIkd2TnF1KRN/Zoo7V9tPDxJ/xTG9ykVWlSNV6gBOX2u8myftSDexDNol0dqJvoiLW60Rr5lsOaEZl3hRUKIJw4DGfcCJBHKtAPz4zHZbhl8bIgle8BKAiSMLaANq7t1HyJlPV5bZAWdhKDNNflGHSERg3gxYa4YAtBxrCrWGClKYci/iWQ7Dv8FgDmT/yspMKuQlC7oFd53V5QtHvAoGmuQyPIKn30cJJO1If35ZONL7AajPRHj+XOzA42l9s6rBDVCfGYCwA6EVE3TuIZjkLLP9+b72j+DDQYGvyVSAaYXtiA8O8OFGGsKNLjdny8qd5OvYCQh6HsrNiB3HnMDDSY8jCLytrvlQleegr3NGdydFQp9KsRvGZbeAOiV8bkXKCgqyZAEYLRmLq9ubdK6VoXY9fKF1Gz0rWyX1mwKp236x+NU2QXkiSMiQ3eht8yI4R9YI6pfn22xSJBnwZZ6ZPJjQZ+/um1Uqamo42IK7XIAMpQejAR5+AM0KG7mEbdnpIje1sScf/VatpeQT9jGbUKnntI5HXjNXgfnk/IBx76v9S8yGeroeJl5dEU3+YD69MVpTTozDR0gtU5pNrByrED7hR7XHIlqCFCTkBj6P0XglDJqYD5m/KuZbeFDRjobQNKZg32hnsobSvZVJW6RfJjGTSsswJtCxchMxOOyJpxEiOH93EKickO0e5jZvNxSYBlvP/mzxy5/gGfwwu3zRTMsOTT88Jws2pyyJ3Pj3SasGo0QLEZdaohV0sJOoDUTaIjTGqs08oVVLMVH+EJej/r1NewIlCvtp2lPxDZVtQMoMHAnUlDGDohUiYPl/BpDlQw8clJrBvJ10xT81BsNfTR+EOfV2Wv5ob2GoSniBobPtr77dmDwneJNXyIvoaOBfsD/0CxLNOtsx1Pv6R6RWGH+8aQkO8uUblnT4+Z/VGr6IJ2Ur2CVYJcs8bvFJpLXMGiX50mR/uU7AoXzBe4c9r8xyX4aDkAOmmpwzdZkkD59/kiphZaLXs70fJ3Yc8ZNrUr3fPf0uhQDpBUfrIHCcJEle8rrPZgbvzEHtLr7z251A5r0Zza5hy5gdo2J4epzlQ//FqytJciuxutwUb4Sk1WbG0j/3C1x633QDXvav6eSgnDLz/UJx9BJ1nxcBRMgyeOB6sbJigBwdqwDLe/S9RBaDSPNt4Ij5KV9tJIP1mH8REhBuDXmMHTh1i14siILBgitp8DucjEpyaMFO7nj+ObQAkEOaMH9FcvryetuFatyuiFt7OIbb1sougVSzTJPadztaUv/5BCNwihFOelxEHs1njaMq5OMZos4EulXjZQDmjlwlL30o7ku9a93sNhmTDaRqvvFjEzco5siNvmOhKCtMX8dVmfAyp21jD+lNgJAJoWrm/j16Qiihq5pUWI2KuyBAp/ROHH+DSS3qxz8dCf39DoIaJDRB90NDM8pRwdsICW8Ng+ncPihoYK4i3FEVSUneoYVyQvRUcoGh5eNfIBruv/RXXc8J97rdrwyWOIyA7xI8B7u88qY9VgznUQi2BlhW5Nz9nJu1FNk2VP3gvtDk9DqWIH7r7DZpR17eoO+pVavIv07K+LsKHag6PdXlO6eC+hUaUq50HUiRgNsSsbaUwUimUk9sUiPJ4lzRh2wBd9IGqKENb4f5Qt5DKnVrf7XeBNXkEhayuPQfGPexQtf/sow4d0tyKmMp1HJTsY5LNjYTF1PAJ8pJy1onO6BmncjyP8VvHglIo7jJmlPZLbndTU+Qmm/dlqJk144a7oHA+Vt09i9NaYvptPi/G4dw7nIbOZOkp0UCSw29bwDFrEoMbn1XfnShQnc/ctmdeGrvNLBS5R2ZyFqsoMCT2zHjiJoKLWsWqnMJpJsM9e9k2QvGNQ7CM2qSNIYnXdbc9p+k2U0E9BUqVNxb7P7d5yM/qXJO82CB8+5to1tf3TS8mJepCQSSw9NG6Yf1qjRckS9YtGDX1yBeQbHdFwseVQXKz1UgaysQ0UVzFLhaDOMf78TNYE5sh2y0LTAnV/nAFqs+g+ZSVc4CbaEOGEXjWEXVmPcpcE1EADmxnw6gIu3FSMy35uETi6uq6dZrZJf+4Rz9X1RONtjZL1kzE0KKCLIZ//tmJadH/LTLQQ6XS4ecQv7Gx73tUdeaQte8kUYJT2vPgg1RDQS3JQ3YbTlC+oSSm7SZVZnCSE/PVD8yuPV6YyxqYZoQ8tLk3Vydt06WyiM9sf8eGlTICRByz14837e9bmW8aAaO9y8R5IkEBR5Av4fWqxhmTTWLACIasMhQ4fAtQifBTQvFzeRgjhEW2dYZWRX+vO6wqLBrWfdcZsLk1ohaKHsAtVA5tj+zMgSWUTxDUUMg9ooMcy8TU0WFzhkckcQPDShP5jYMJ61AhdeiJ0GNNeuvG3i1AuYT1YyjAKtkjbJqxhsIpFbLxrnwvqT9HUVA9pOaWVcPY7E4vHN28C5NWg2G0VvR5WzK6gQK4hI2eqtFUOVHeGDztm8Xz0lqV8BoP3YZKiVQzB1yPamVQL37xOjfvcB+JFVSaxh1yX6Yu/ZOFbNPkwlaAuP8WnqFtKdn3HjZywJLIvzWGt+XgZGOjheFkdoiVFfa3V0/5i4e8nX5jqE4KbJvEx0UaBjM0nWlIzgbznG5Jxtmg9a+O8GvDE0buk1nx0mIpU8pl1lAKT3wEfRymS5VmlxKpBZ/WJkO20OBLXth0EgUiAWnnWOZ2vYnZnYcpWze++iC2vcZP4PIizzMIgRyNgpdWtt23crmiA/Txv31/dD5dfB4fVj7GInnikmbMt2s3HCdypDOpzmFMlIWnvtPErhHppms72IczfsWmMjYj2vqGHVWrE4iqZaoqX/eE5btgN4C30E6eX1Q9u1+/FnVroltwRf6dEurEMxp/FHbX4u1MKMKhwuf1wIXxCeJXJlKAhLZR2PxaMbwy/HHzVKpH5++KoO6SvUvVRlPGl8c6aceIGD8NErEBSSKUOBt5rKnzw+puo4EFVEgMhjxSDp3kQxFISgtOa7exfUsAR/sVJVrcSnQ/tragQMqlTydMcsdQmVpbyITT8v5l5db2VVCUc6IjXcWzHcAvE/UTAiyzOTh1MAmGWT3OEOJmPdobFM7J4Omc4T12x2k8bKGNnMjq9MBRtVT8/TAjXqPLbij6ONSHS1pBu2Bj64KqZRHPVserLrc+6akQinor1l6+V0W7drUDNsqUw/mRCaiWAXOdmI1SPriE9ZrwNLXqvPuZfUVOkSZDrK3ev4Cx8bD7u+hgzWHdCDaHVTY2ztjq8OmXYxVt6OE+bkGGGIUnK5VyZegOGkpTd+CQtvOURtXlCDVA9uzJL2MbG3IzUdBWQRxsIDZys+nClyP0RYSv1tkopXlFexTY5Z+0HHqi0quLZ0Nn7H++eWNF+y2A7RU6rauFdfOmJ/P0ZYPOiDbjacY0OLz4wDZ47t1GDIGno6LPS1DPhMVl3hxz+HxcXhRDcZJMRl7FhRfNwxUWyCZXfNXIikC576iXwQT+CpZQbOErAqUZcPUXNtxcYktohn/LvEEl29onIlStjtiY9gIIg6UgESJJhTrEPq1TMhSlzmaVOtao3D9cQFzxOKENnhbRb5GpKmMAnlIXFs+rtfqWt//gyvlA3sAmBifiJ9NUyOZui9DkUoRl++w0TLABEN9d11kFzt0bkcXFY9F2SoyUUL+gqaMtbq3EobM0oG9g0qtq+6he/bV8pli/Ivw9BgyKUqjllUcXArgKzZ3PE/gXAORdgUOpW6PhS4Q/vCfEQkoBEuDiQAJT6qHkbZHYw2zM1KAJ9tiYLWmlUK50XrCGqlGkT1bBBzgCRmsAjHxrc9kXLvyYYsyw7KVr6om+kObEefu2zn5BKP7pyM//pGPN7/EwBzm6Vz8oqD9NwW/imQKPZur1Z0rr+K3nbo1FevEvJjXAtz91WaRAHs+fo/txZGjuM5kG2RH98elS805WpxwqDT58oe1OgHlft5gaWArgVv5i7kGHvQFr2NTyDISxyYt/n5LbbV6dLNIHul/Bpjit2Cb3iM1UKW3GJYR/E7RMzwZ/6gRZe5C37X00MvgsFseQx5oyJP1NiQBeMs9JJPbdTE1wCplsO/pBWraNhF+7q8VGCyL2roAFkGeEGfsCM/Rl9brfSlqcWTiAav9pVlWNfub9ln/JB03SlQShfrE9F0puPxJYg4HY7qFZ2R1R3Pn8itoh2lFwyM6nxHPjO+oDn0ovo8dhDpvt5YIB92hNdinGaCURNAM4eaaa6eVhHHvCCEmU+UyhEDqthqRbKvl7nlqug9nvw5lC81WDEo4xWuMrWugNZYYbQU9DEIybzS8A6wenGm/ZulRzQt0XM12b9HJegV7LTGYENAQHJcDbux80mzD2XRhvk33AVpLryrMP5UXo63Vi9/yjdeOka1pfIDc79whR/uVI8R6nwWiLXOQ5J+lJ69KTgL4QJdHrCFXZVsbe3mzK0fRHO3GoCTmT/9OK94guymIMmHpAOeDqUyIvtu+u8oNZXwlh5Cu3mXO4+Vha6V5W2DWggRRmQWkRsW+j7LN/BUD7mCa7RMaZFHh51NFd0EOErha05yoVc4OA1HYFZ8XYZb4gw147fDVrceTyU8xZjVacbws6CCRXJQhsMSJxRgo6j7alU3qgrOmDfGR3dJoyZ82Ob5EdZPvre9DgDDjNyjaTgbwpFpm6V0A0/GCEYFXkT7akUaJxLd/NUMdoYZ2myZleBgG8LiTdjEUpqGoXfWHe8ww7WF8JUEStRNpg4twKuxQK9OaVs2XYa3h0zMAH71tSL2h4I/fAXzJBthjtt132DfgNaL45+BZTuBH4uNQZ5az3mNcIf5ZikXFn2tW/AX7rq7TTEfLIIG6e/TIhVdapxl56qml3XL57Bx6AWkZCLLb5RQlHFWNAl/TkjoU1nyqBYsq0XBKP6GKIi5XPrUfPVA2MZ7+VVVTFVUagH0dHiQD2lE2PAHyY6o64WXZmt6EtAPHZgOdB3uxkyy06jvk0iTjxJeW24O3x1UJ47n5hQ8kp/4S0LINCS40Y/OKIvy8xcxkGBS3dArEgWdFTc0CLmPMUerzMtHpEE45fcnZmt0vFCFjeAKoXbIUL+scjPG5binLpc8C+PsB7fuyavQ2WeUvIG4ZsB57nUGVpteR+MTINbwFR1EIVykaXgYkCo1DajoPcB4A1u2q/hlyTC3dVZHDMeTFgvMkwJjXS58wUYR5/a3KMkDM33jfDdJ+Wz5jUqKUzEhulrngOIRTjRyFkurO8vp7xeo82E/TUAwCpIUjkX26/C/o67ESG1zg02zAvoj/gZ+AD4vxscwfHZyo7QWMkWbL+4U6fKbTErDzfOt21A1bmsmOpxQKYdU+SOQu/yHlN0VLiHUY+4GHRFhcVCIL//AAuLkEgUEX5wGjbwDFOWWIiVSyClj4l2V7Q5ckFSMIhkM+LnRNWAKJkaVFlzwmxtFJQ3SICYkjYFaaFNgv3evgxIZXgXsdeadlbkcbdkP9UQy2x0fX+65Ybl7jSv8VFGLpTDgYTglqF3QrL9i3x71aqODvQeg/fpVq7Easl+sc1VsqK7HP1vZAmIOgBDbdzyeVkbtYztYmBnUHeLkqsSt1JowqnX/e8vRuQYQf8Xxyf4A2Jmtt18PU/pD8zYAEGEQx77T7HI3/0kRNSctZCpl2WiCCEc4GsvNvLNrO1CN87W/Xy4TISDlyWREn+DuyWBOKDkV46dpWgwGqBwhjt7C+Al+xBAgXc2zEMbmbCAFRXpcQRBwsdkmgKAwiQd7sfRSpYPJ2tFvwQf+BSTHqUgfM8Qwa49ZbOI12dxxTM7flSU9HGIfY8uA+HTq8TbUhE7IsDTO1VV7J6qiHg3ISxPkZvoVK+/X0MWdMQlS3kjpUxa5gkBBMCP7hZ2SAceTXP9PSUCQRV9rktkBIBWR59poFoTx56H/sHHzENOrswS4bI7nUnlAI3MkG5Yhk7EK0NlSWpkjGNtdtRUbxiPZ0ze8QntxgqmQ0V+DzpJWVSpbg0QItoL28v14ZOYBe0K6+4pCr5jUKiES1tyyXJqzMCH+1Yjf3ODf+ey2hLxw3KASsa+LJmImA/AikLXLnosn8BM1hZRT2pyj/vK9FhcAshoMFiEg2QXkB5F6GwbA9rSsrlaoE00edo5ox6983feQnFO1mflutonGVyELGpTrT59lrJN/iGw0LQbvLsflldVT94WqN7RZ0CtDxMNOL1BJ6vtN9/e1El96+NH+x2YBQ3M77GcqoHUOGOWVkeGzUIzFaUMjw/zvx5ZGt7y+bPe2aybVhzSlb1KcNa9V5ECmGHnixoycEv09B0yBD78po93hzML824sypqR/u7Yhmb/JlP5V2k1bctsAMeEHXwVO28MDdNZmUA48Gzp353q6x7ddvBF1AN8+7qYi6QMrHti44ctYxMMkSqRMJcghpyKlNKa5SmSyLwTuvTy+wV5mWNsqMVitiMD7auf3kj4zlUvmodqBchRdXc9GtXRVVD0u0KAcyfk82e7IoB+GrTyO6z0ohf+twsg5Lbs2eupm9WjHvoyhqxasa0gYkwDK5sDVFW65U3nX5wCuMKI3jGfmA7qYu/6VU9p3/jk2QkbPda5ivYMmEUCPdaiQey6MXQz1H0DmTE+6RvPls+KjGXPuvneU6n0MwJiZ+i4SOREuBjAwRb6lOWhgUhqNnk047f4nsNpT8wddxjuvDeqB9m8Cn52H/MTQGQou65LPSoVUZvt/A/RQAAlG/ARRgiEMEaeY/zx1/HXlN2SnIM2n5Q8aDMDSgmMzfFVSwdAKk1vj1PhGpda4Ev6lymHMiCQ3J/Z3IVWg9HVVaqHjjfHLmz9zhEupWAcrgHZzVv9NzdBR6CUd7Zfk3NX9OOUnjpDYUHANzBiuLX6pfOVQCKXbALS8eKrUQfsJzio8qzrzb4hW0YbzSq29qtehZ+HqUt9A1vQ33c0UfcEkyPr/3MLOa0YYCO+matLQvsTlU1OhgqMNM9XAqen7FMXNYoUbriG+oq3PbGLxx4UhpAeHOvY0/U+MYMrSJq5rSvUBDPSUL23RiYkgeQpWO4TuNa4cER5CTisJ72wpJv/xGNm8KvShfj51u864YkjN9gSc9r6VnmSbcYpVASGKVaWspXq+2p8r6/fIFsvIiLghuv0KCmbmZpQ4BRloNK8mg4m1+02cJhFM72zq7bwpRJ3wS1dZAftIE0xVadHELscScCA/mGTwYJR70CN4K/8bXE7I6G2kOB9avj74IfD4u3b2jqb68v3IfGjDCPcwjcDB8ouKYTsTe6uTri7hGtM6+U7kRQNCtejdUiYROsLONYwdq/FuR3DqO3viWJ7DwFuwD0yPHkp+dHKczEH0sWFkAB7Y1z0/izSOx4RTC0E8NMpNWs7WjfrhQDZGOJQXXM9tkF89EgOWX5d/6eEKaxw1Qb23re3mBgEbU4B/AedMskQnBnL7Apd8+BINp6AkeWe3Vv23Dmbu/2Nq9FNAtzSMLJdm8Tm7K/J7qM6W7sauOj+UMLtU3P9jeqdYQLqATM4wAiwaqx3UUOWaJtsk6eoEdpgXIP6EBa5d5lWUmBojkwzC4kao1lm7y9/Xb6UC5JzXEZs6gKn0B0T4YJUZrPhOHoXK1yMQTcPaS1HPcUqGt+9tGm8FF/JBPjBdIvUYkTELAVa5blvVQvJ0s7/5gz31rORdMXzPNps9uT/gMWYZcZ8JSdC6EdMS/AHD7c1H46HBXyiMOFIMDVbgumVtWzqQZOqsQfrp6O4aeVDHOnJyZl/yC+C252p0C8HOCE0MWjtmeAi9RZ2XkJxHV2rCPdQoeBSgMc1RDDl2cfGmVMwHrDfaXD7dYwgQsudAM3bzR5dnSP4jz6fE96gnV5fz9UWIIZQJKU/GmiC2qo8CWnSagUQuP9OMGsS/z0MmOG2kA/0rrhLx2+qZDR5bZ+NdxVZLaYVjv9A81MaZic68moHMWP/kSJEMiIh4EJ2/tReptGa+6J1XQI0Rgt2eSXFuoVft5uAcjJBdKjFA4mYqXRKjnZEf5TIbOqxrfuvGdP4CzDTLo2P2TG3yC34TWWc35qsmizPAga9yAwAj3r8rYi22BBZW0iTiJrUo9LseILOJmIvQ+d4dKY5KcqGv9zVFnRGYYuh6kXmYzR8IJmzE0xO3LyL2kJvP70VMUUwy9agi84/eyRQwL/2XAbqreiq0sCSqs9jgqhv6MGTG6g+rpwucb5l7ft9dCQIIgD2hM+KH6JCZ05zM29hWS45qLNEe5AFBa9Z7v5ZHBq95k3YkIQBuDFzo3Ao59zIo7QYIXjSm5SN42XXqoCUB7d+ZKBWAqHWSfLlnu76Jj3ajWbif6oAVzHkAhyfYUFGhnkTkIwXJjnNnGI5Rpp9yIiWVLB5vtx+qiY3J4uh7T4AIGpArtMw8OavcuThQ6pPjxh1P7s1Hiv2zRVehtKE21tsjtnDPqz1GAL2sVaviY2GbT/EOy4mq/pWBxr2jx+xUYXfUZHm6hzpRE6WiGBMInkxakmzb/GxQd8x327qvHfbbpl5CM82Em6E7jDJ5GJinDou8u4J0dBxNJCpym6Tnl9I1A3j/Q849+kPUOK1m75YOKz60LhngQq3kyfg4O5QexrzEf3Y8VdKcEApOE4RpXnwcdKaFQh8w9KyOoqXGc21X+jWFemoR+d+w5TeeAFv65jyt4MImtx4v+dOp1gujG6baSPLE4JT+dvQDCVETuveY/yvyE4bSxCvBkDqWCxkYqAY+EV+6R7ARae4FDl0UiUC1nm/qtx6j40oZnM4uMBJntdJRQQxZQHnrmLRlhYeARrTYrnY8rSVyoRG/iYvEJPdR4K6lC0Dk6vpu1ri3RCViqUCvTSLfxxTpcNbauFvE47Bcj2fv7JpmpPky38PIR3cgOvTXe7FxBnne7Q4lmGFF89IeYJHXBy6K4h+IRUdD7QcRMH60wgjrzl903noHCRI7YtG+UOQh7jUpPlwW4QJRwr+D8/yhNjfZL41LGeSmddhQpfIt95VZQZrP6b1RXXMIzrmOCEczeXCsWQDOAIoJ58evUqgNgg967X7SS+8Cd3XaAecg1RNXtukk6YQ9uY0uccHN7MRqgOdRHFCqnAjYBpPVFUJ4P+CETL1fWv/WJeEhUXYgYTuEuUJhemwkMj3TOYJRED6mCSRdvklEtw0XWdD3lT+S33Mch6DtAV7LJOejJZvfkMRL51dcLeApYnsRPndjPF3F0l9rU8DTD76BM0PL5WeCyiUkNzY8ee6aUEV9fEsDrE9bQgle/KtKpfEEpUqdDtAPFvWB2QOTYyitZPmQdfmZtwWdrrsutVd7hcf5irPR4HVDk/cQDVYiq57McL4+7yOzvipbrESGh1sV0TnTWoKIe0+7rxd+uUZepQnSjst154SpjNAD4RV8F51JwGelgsk/IPAl54Y6mEP47Ys1aDhz4cn1S2DNZYZKrkYXONCYylstbV5LE899KXnF9ph27aRy5DomxxS1xHWNvWiH9z9aIexX+RE/HglEiB4vrrgrlVoMz/SBzyGKPOHTWkPKVKBNg5XgIy4Z1CBURGG9thRbIn/XoRYouu8N6bxOdh51Cc3MqwbeYfbLCk50HrbG4Uj3BxNrPf5bb7PedZL9Di0HCw+zmaYUMO5BKZfw9udwaYweagWtOImDL+Dkczj2XIlSUC5qRrHqeWfqk1TPSkTDuSDFyo90HXivhlc8jz2KBo0S1AsC0r2+JalOi0X/hQLYQbVww0nMgTtXNPVp2uI+7BsXR0nNivmV4FpnLRqqZH0N6eRZiENBSIG6NaPVhNKNbIGvUcD/GxK7hadsdcCZDs+uSP2Yd5RgWtc/JDKhnT+7V5hxQjwM7frgULLEQ+aC2+LBBUgR0fvYbFVU6sIumVIcBFQI2kKFIjJJfqeztlVwG1i73PRme1DXQOAR+Ocw3+TPiKwAJqOe24zD/C8JTnuMiCaB2Dmgaxq2HHwBaWW+8eiPUuOx8PHK55AaduQS0krSwWS9F+hp/iJS7cAJyxAj5/S3oRp9bcfpNVfISBm6/p1owaKvqXBGtCFI0T2jVMK+sKHYnxF+27xJDWfKXmj45+iIXzPMHsUhR0aLwmq7hqu6Im952KeccJXkG7UIFHiG8N0b4isPB0RTmF9VdUU6OOKOiFpe74qlm/wbkucgRYANzFmJzUv8OkKe0VLM6gdZSk9dtDvimmSwji9gnvyhoYgQqO+7Anf1rqI51jgyoFhxF05MlJSOyjzlG77wlGEIoWMVLRo6BdhcYRKnC8VqC2x//jm0g8bEAsecCoqpl299AtIW+nd9GSDOe82NIP0DdP6ekqamSMERtjxnN8SKpfv/wugQG+Cx6IfNdV0KiFy4QaihEw8T4HUlEACEhRLXFwhd9AIWkF/ne6yE1ni3RtWFdZ4ToXDomMIzLdJi8NhnDzEFuECK3pU84LYzGBwCqo4FbQMy9FIt2yUXB/b8lGsdR+j3ERtFgMjB8CnT1MeCFQYT0VDAMEOhDU/pmfUCs2z87JXIUh1pCcmR+0AnWuSuoir3R5/nP/ftpgTxXZfDqqim8IQjjc1s0Rb8Ix4kbw04LskMjjH0jcetaU+UK4K3GHzX+vmhz+I0hrTEczBFRiYtTDRKl+3h4S/Ddx3+ff6Q1S7r+/4zGWXY0Mo7W7OltvN1DnCbxYU0Q6nnxOKJZQub/ptic9KcDE/UWyDpwu0ogyoc3Kq1MxvpCcUBteOUEl97NaW2lV2iToAdwvrElkwierg39fmc2C75hWRf+KomoeMPwoRqWiZdSSSWg0W1K1bO+jyP5J351Dk6HU2NWjB2NwOfn/PMbzR7K1MdjrCBxFSSXqmtHBQV/ytoJdtue+bIRsRsNxBgS876QqhT0HyWnjeckP1ZWyR5b2q5Zw7cxQHkISJd+6ZzVnd7OrYwnD19tooi/TMIbPEmDGuH0d5TbRYxC69P7bwyuNx2onaRpB/OCB4wT5S5kFdYEKSR3PztxkTubGzk1OZ9JpD5bVtfDPAF/fEx9Hfh3Iv4f6F90hPbyizb98Wj2qu0kd+Z1bkL3pynKy9MrvfdcB4eeUQH3Zi4mnuARSdt/i8uiGdA8wyLIYfOmYmWD0BV15BH9msRYxQTRglbV7Q0ELUKFXxhN92ZMHOBFwV7F6JiKQNBi4kp688hvnb7MNC450ATZnZXti8skaGuBP0CHcmhKWYv/h0W1Xp7soh7xn/1tV/3YicwwqikG+5ntQ/o3u5SS4KJzzNr9+jR1hBcffDoPwHMSA/6hTJJX3yglBHz0O5yHe8HABnVR/t59Z5hm0sySAbzTzWfy1elEvLVIjHKIU9/oHfTvp+cLGz0bgLt1sx5wQ3/6PMAhO9/psMuYCBu9Jq/HNdG5cQN4djUnpDq23N8o4O4JSkX60HN0x0OY+DdQg11hV78zbNsBwi5eMuuOT/1kypOEddJHeMgghjLzAZUzE26c1WQCtrh+KHO5Mu74rEgsEAijnWmspDwaAbBhOzUSfUc7QEFc734W5UnlDBkHbl+q/+mLo4u+gJYrKGoOx83RyDI9kFgxbH1kgNgfIJU+aTiwAgGiGKp7cziCfW7Kvre9H4MXvjwcigaZuFdZSH/qs6RGVkPDx9hFaoPRorTqcuRMQQjLe6mhnIxBx5wE4t5OV++i0RqVabfxlSbySVB7kLlZticZ//g1yqvlMLvQ28lDWLiJHSFluvDZ3FGNC55gPEF44X7qtajdvXfsbdCL5XV3DbKRmqaWLSfHv7IR3TvPsByDl8vdYCA5nYjPgpcE9qQsEKmCAIqyHImjvcrNbZIUur4C0PJK8Oud7hGK2A0xNGEhIAiixaeAbKmAmk31/wmLNlXzkZSzVZzv6kxtoe+xqDyysY7wBrMztA08La0EZ4sM1ah3hDT5Vudvn/riYMBIZm5sp91Zjphb9OC8F0FypoOR9UBhvSjiJcVxeUoQxYpwoX/k4RQJHQe6igJNOtZ9Fu1Td9dky1z2Y4opCngLrP6swONjWHeTDOZbRsIY7YW+0oMP2uMEpm4i1nPYdv0bW4YDhTP9VeEnc90cwVs5+P0VCafh7zTW/OnE956KqsfFLFj0tou4h4GVyWV4eUlOh3pshxt2r7BYKjBx8isIzuwX0+CgCf1FMVbDUGm8HedkQX5PurNW7Yniae/TjgCf4WTn/Bbg9OfJY3KALhNlYXXKXvJwNd/FKnCFrkC0OhVdoAQL5polKFF0IlxWW9ScjDQ/vulb1FidwZUe+NNZZML9ztL9Sm44RSK5Evjp66djP3uBWgl+zO4XZ6AXuulATkBfgXpDDDTqjqBqJ9KjbiIvCONIY2hPhUmGOClBmEXcu6/Y4spa7I0NFflTs55Y8WvRKYGaEhO9pWTNQ1c0OaZEqCPH3cZdTghwm/3mzra2IpoVMv8AA5KNKncKF9ajGJlXVsWO2MdWT0jzrEDbKdUT4djIwGQFtBrV8k3w02zYNxLYG9W+CRZON7rD2P2Xt/vZbz/Dks3oQijwqRkfT/ttGXi5O0CO4a3gxt2yFMSQcW9l7PZ9oAKNV7jrIlkBGSW1aKvTf8J5dtHrhWGVDYo+Zg6hlONAa1k46n5Zn1q8KTfpSZDi1yCpCwJIy3Wdx0A9J8syv85EMmOJ6q48FfrkG6wp85ql5A8eM/w/ijVJ9w3oeqebC1COi3kmfbPz/xRnZg3roxJkEM66TtEMm7QVOABhek3OlWhLbOg0aoifUsoi9ROWr49SBB5NUpqn+9Fv8eCGSZgdq0cyJn8a4HQqQ/3QfP5+DI7+uCebntYas0f4E7Umux8P8EJTOHhutQ2pZamp7vxoxuCXYHGY86e7nCRTag5HYpnjIilJ4YmTHSDsMD+bpPVgqpU//toRxBIQ+iLo1ueld2CX4G/rD4uhWY7LBrswCn3rYF6W+HeieSDXVK7cw8TGA/NkoFWmeNbNV7QWuT8TwgF7xlG8aoglsS241XywkKo5wQs/iE03kQNB07nPHFpMDmrSICEUZt0c14ScO6XdCrlKX0MwSx5HPLEkIgeUQB+rOv8S3VdjkXwV3GWNrNR+t0VmsI5jVEd9tTW+GrLlPW42rLmNngtPIFFuKeWENFfz/IwWhHstDVNyGB3alFkFIKg3RPVOfXL4VeR6/K6V8MRVzY7Bwck8tuxHgXqjcNkWY1+9F/azKDZf8eiAv5FeLYOUoW5fuaENhC7hXiEsU6iSCtJiiujaAxkVMi/H5cQ3H6VYNLrOgOPG1ZFfhCZFn1mudUGnSqL8nmtQeD8NYyV51ZE7cYmSiazkG4Gd0zpz/4+v9qcCfjSZ3TgNDCj/9TIZuFmfgRKc850kmBakGSEIK+OZ43N6S6exQOQOaLyt/EcZU5nrVc9ZF3ocQASvzdAfp2FpWsineYrQbHkJYKIPLBNdQBeFfmSBqY67A3Tt3J/U8MDhUSyEk7asBtNLSB8Hy1fUH1I0U7PhQYPMTiD72NQwB/zGHjCcqiBO7RO1Jd6fprqkUx3DpSS5QB0cx5TqpyV6yVRXlGqhoOKZwf4a9/rFNilDB3+KpptDmF1CNawBzjqsUgDfA7h2kr2b9tZCk3Dgs2LG33oDq9z5Px0rCc7fEVc4CmvWuhMrj9UKTyIlRtteA5d7vAgo3oZXxKmxEiv826Q75nN8MBR6NxOLuA47lNoUdw/bnPJo3HaJh3nsQbPkj/agcz513GqI8HVzNYIIDPTNJfPqaExtwby+oXUByNdLeCc8il63xGSQuYDD2R8l6IZfu06Z19WM52icrLMe2bBoyIJNH5pt+B8aoSXJIUdI8GSDJSAEodZCa+b8jFY+mNl6B4xnvmLL9AvUkoYeiNg1aIikLL1u+lr4EobreDm/mi0w0EFtfQqBDVlgUdfwjv+qSariOFY9x8yxngnTaNShy5CZLL0/JbwaoFGQeBOXwzieo5k3GZeMchEtYE5NJQ5XvjCdFfB4Le2zmQ7KaUQfTxajQK96W4/g2J9QyQchh2PTWg5bK8hsLT3oLHNqr/0Ur9O+re7stqHyo46JgbDVHxJNq1dQnXor0HtZ1gchuQUfRXgI4nPdbDR5OEVEM1UfFTpnMEYbWlUv0AAt3cQfErrT5ELWyG9JdMOJjzRHPkva9/S1nXrr8NHg1AxSH5mSRbVtL9NtqD9f3+18qJeFNO5V+UKyJ1nLRFH7N4DcGENV1erCDh86esjQ5JP8nLFRde4GwCRcEPE0wqvnFD775qiio5uI5zK2o0N37UG33BdeC32lTM/fOxlIiE7CfWYyDvZ9gugeNrG+du0uYWxmVPsUItInIjyU0PqLBHIH/fZjgKOE4yZYH5Y0TzxRwgg+JJE1C5hEvj+t2zL5YotlZNXQPy4EWeprnHnB0E9axILnlfYe1cyYZCkCXuEql90xv/gwYLks3bkIwfh+kQGd5dNjntH6/rIY2uV9ZvqL6xn5G+AhWtDH2/1oX/XlJNb7S05xZR0nBbG1V2DI4yl5bGBrpqFE9UeqrvW+/MFwajQ62qXRhumDny1vQEAsKzEsqmk3jFasDUT0YxuxLluSxK/6aNmdttwSOveL3gBHBUOei2ViQw/ieAI20JD23eHBwkIQZcL6WbSgh6ut9ER5Ly/RAA7tP3oqSyt0Qija9KyKBtjRadctl9xWvD/LkWlIukEgOG3OnXrWW55rS/zVGUdgKQLNY3dygctPYNuaYfZpOtKqrA+xO2D99D1VIDr/e0ncA7Ew0fR9IIgMSz9tD5QwDMuRqxV5qT89bgioTbhKplt0sH5Y+OAa/DnYnj5vJnB4qwXr7ACBB1zEclgxYQvXpqcppr/3gfxFuh7fZkqicAjFlo7v73jgRnbmQ/Qw3duDC5fb8/2cEBxezKy+052MGmhsLQXIcXTEhlvL5sS+HTiDLlYxFXfdAz7AeJgUyYzQuqWtRTnngoNbMJBuJTFQcmkcCJd0dVpCHLeGaDbhDrSg1fDNthQgDHcQ5erA3mOZq1fZ+npJQ3fYEMMJI78wp0hFWQFrlMXvqDk7Nfm+aOgUlKFiAUF2k9d2ibtzjlakjWhcIPgdn1QszIIXWfxupn3d16KI+m1M+UMnTHRMwUhFccThbzbFJ2j2zpsyYLgq+hBxKLqZF517bOe9eCXW1cPaAVNcKdeNohsmxa/P2EaT6nuQfDEV/FYLDYLfL69nYPMYlW5Yg+m6eMP4/njS84QuloX1JKuEfEKgAkmU50KR0Egb+wTVxUr/q+n+m9wCGw4j08tGrREX9F/tWJeJ9Fm3JGH3bADjHxAH0i+yk0iAttdIFiLOI8HcJGDjHeweE3FAU1UM/gnr4ufoW75uneJTF5Exsxk/NAvWBV1VA6aW+5AafydXzmgeFQEvOk6JKvpunDyDwZx769u6N8J3kJ4lJZ3pUF/U8fcp6po/TrpTwYqZS5hIG4WeTajX3Kw9WDmO3299Fe8XLZ1d/2iQDU9viNOkEeo4W0nV8wf3zmC8Fi/RoF2yVhsn/S4SJqSHeMV12P3RqSXRCPN8tKLUujaOOg84w25xMqWcGECdFUIO1RsqeUSEFgngSaAIgERtwic3H2KJyQHavIbLRsM52abHaU1QweB7qLcovwEMZkRBabpjdHtJ2m0EuNRs2ZQEolJm79UxRualpan3keRam3cCiTGcZMCMade7ke1ftyrVCxbeA7CACBCHZTomHn0jF/ZQnZqPwqV+iKHJe4m2P+35SqnCVC7z4fwuWo398qi768SP66/jIC3d9sSC2pP8+Ef2l5yQKd3IV2yJitIs3sSplKtOBfqyaNe8gQqsidtbpt35EHK1xBnxItK0L23esbiEvhDZCyruCIvZDJJiEr/WuD9CYfDa+Lw6kJ02nr9Aqeu4U2a/Yv1WDqwAoc/2ea6+/JXkdkPGdNF426SF8v2Y/5BRcfoE9ETRiVMWOGmys7Knn/cf4D+Ns012ckPtbkOF1ppYvTzHnDg72L+W6B8lLL5Z+JI7tPwiKyNRXxzmZoNKShmKpINoiiDAi1kSGCpip2+YXs/EpBR6fa9Oy4hF9h7AmbigapfGWF/xPyY/nPGqYEmUSZdtwLEYR8yPvqI4tN1+fdM7MLJvnz6h1umqCGfCC0f9s3PNAHAUemElp1Vhjke20CQpYo0i91JSqzGgQNs6xWv1qpKUjid4Vmwf5QtCFdFpeLTimSPMyEC+vuNwXJw9aIZQ64ycjewGfc1KsfQYIWuee5GGWa1gt5HPdy7nbMx1ZFo/Y2A7ZWyzV/mQRP9TYrdA/PwLvSAiUeYzMcS3scNAYNNFd3ahWPoaPZ4/e6EdiiHGnFbyU/SG41q6mw1qFYJ83gzOflQBZRYQVeYM5WrtoGr19czJsvwKZ8DjaBF4/+PrNcEKe0wb6QXdreD4DHfJvMY2OFF9VuZBfQGTIWeKgscmruSWysj96/zA0KERG+A3g5Hn1R8F/iy3K5i9PZDqfy/3uJ/G09yMwVpsSK4X3kejHJYC2DKmzz40pjv2d68rSsz+plzxV4gCYpmlolPouctRMyRdcJdH3ovnXp8OdmaaA9uptdeKGl/CFRIUYUElbS8+AUsu03Q4OFabCU6UnNC/R/a6JQxderE8gIqE4lx8fD7ChhGLhWbHnd7VoIT/4nf1XHpIo10nQOucJLDW/D4CMwx8VEwEaJf8wO02xdJe74D6U3RU/gi6gIq1ROLUTDUyjQ289lb7MrqejYqu9/EfqWHAy1KVHqW6IJJcONxYIQr/9SI5uLMYsCJSZwGt3m5Xxt+i7qZah4+mbyIYDyLHi+WKJvRkRehLeUCFoVnX64jtcYeAtss5EJqfNJg2tjJ6/l3QNkpyRXn2B61tJEbharB+K65EDCJ3yxA3NC6PKM1rqIs7k6ZJv44wBBxhjYnmOPxhu3gpBagiMt8mxNqDISN+YJROByNKpLsGXKg7UVJckhrRTWnEb86Rz3lO6EA8qqGSxQWjmb6fK3kdD8GCnQ41albFavPddu8dhRv9REuFWziUGMrQndfTB2H9k5Sqg41gNF2q7IQUhqU+4uUlB3nKBAgDroAR8tHnkhW94bZZsfNHI87gC1GRyyo4549VY091BSltPak0TWUg4qUCkZgS1cBY79HiIrSBgTACVayrDge66iOBxa4B7cs40pA0AI3kkjawK95yXkjGuxhqKfQC9bL1E9BU7+r47uSZWvOkyVWVfvZDpW+e8AgzvTIq8mtizyvVndkrlDwJtBnNPeVs1U50M0LXsCxKvtpeQ3M7ECKYBLbC8UJyawCqM2J58OHa/zu1/FxKbrJqnuP/8G7ZEKtZnCoGibnMNBwAVADyCIYUixXDPz6z028YI2ENCWRza6r8hyDaQBu7FQK4bQzxKiajyNe0auwGDEM25TgNqet0QeQ9N4fF/pCo0eNuIDFIboMyrx3xGT2w2sUU7KaFF4a/5jHqVV44QHhwophVpWnLgtMfpoedrHa95L/rfAxULraid9bT6Z3k2Q40io6gGO3NS/P4PjN0MPe4qym40fJo9GSC485H3Ndrz1ZiK3vN+RaNYmNHzK+f8GXhatQPrOBuBVrAIkNqqevNNKcnfrFu+3pBquiPBiUagOpj6iWNPYpwyo0Viq2fg+4hLBSvQfRW8UnIBT5IaMfaMwkGXmySrZQTKwFzcy7ekXtGl5vNcJNuBFR2FnksBGloUva51jmJ2FaDbpJ3CEifztIv7q7mS3N9zfUbbW6SHcN/WNTq5I24rr+AD9PuPwfDn/WgI0pxIqhpnIa4uC/+UXhTsAqhJO1wbqspMVfChw7z4MUGzjgAQT9fBR0v1OXUjeT69KiHzWxuuZz7EFTMS53UvpjHz89k9FuXzMGRmrukwt8XVz947/h84WXHfDYMHyTXJJ2nsxqeSA8oT3TSSNIfEnew3TAWnX7sDsNZeAP8mWcmVg++q3Yc4GelJZrOUalH9xpl4xvuZkrg5KRbzyiVrHworhw4DUIc9WD3IXV6GFxbS+0Jjyq4d9et/GrO+812EsNTJDvQca18BPiRmrCy8wqQ9na/4QobvF3ddAPTdHUkz3hyIi9TGLhs7xM7kV1RpMAjiiQnNev8pJOnWkU4f71MCK0HY+2lzyNBqKG+UiWMf0DLsTE/z0NKUwjZ8ixeiVmsjIhN2vpsj41cdayX6N4V49rbbEgfgr891PLvDZ0Y/I/rGdl6qWrnf+kK2Hc0H+kVB0Wu8fuFUbF7v9MmEMY6nex5fx7Pac0Xh5XIzyZeSKU0Njrvjg72ly8btvD/rkbDP74wO8bRbmKQKg4bbqF39g6c06jxl8r+XiLR950zigTr5mbVXANtas0ybN/7k4eoefgoKwQZXXYjrdDfdbF0ptf1cmcs/RwT08EQjY8oX2ykXlpoIZjljGUFtiCXCpbcacfSqlprhWiKAH6GJg7FLON1Q+yqcXaAPRW6SkA0VgDOFOGk1Nrm5TAcY4aEjZIoOLL624y33T/5JyyAykwwq7cd4zUBw4QXSf/yOTp0Dfrbu22J4iRSyu11GTzd/dtOKdttIMxMKdumIsGwgbiSbE3EFSOvmiy0aYQjFLeiPyL7BMaepcgB2b3LZRw88r+GEVRxElOXgyvTXcP4wzPsCJ9RBHstjQsiaqHGa1CXLRvpqJOyit+XQZnxGz9XWxC/qsdhfoxmTMxyacK4pPThbgxrXtoRZTpMWywc+YOER5OHDD47M3JUkJHb6WHDxg6bxAfreBJe/TUen+6cYLhQOXbwMv8fLJJ1K/UqMbk78hRK1zXQYa2xxqXyxlfGU5mBjbODPOv48qK5C24D6UvYCIpCqtk3MxO44Gu8IkzI1pRuXHzDVQvMpyP7/mILUaL8fSmlqV1kfQ58LRhKcgjpEaXl8eSj/ixEgo3HY3RjD2uJrTQCupWD3ByhsfChDDWi1tLhz/nKM+40WJsasjew4/BXVuOPvslVDS/vNHA753qKsP87tGyFUMDBpY/mO1s+HmBUsHVZHTujEsOpfvdcg4WNkLOaBF8EqnIW3R49MpdIHKDHTX8uAlHVJumHp5EJYlVwPPGDlUgGTVzYdVPYseEGkUvnm9M4bOvPVJp0nOPWzJTUE00Mxma6nb2Dx9XkZh66KkgE+D2y456sW+ZjI6sZaQg6PTUnWEfInZvBKEObp/DOxRNJ+XGYktUfEKp+5Y8id5+OpdkvdZQ/CE17LoUMKWYQ15N41JrueetsydeDhuqZaPbHmYlxX1qbg1jr+13GlIcDXAO6yeMkDwijvWXi6/K7ayu4Lby8uJWJK0y5ukTn2Z011GgCusMq0AXfT3527g4mAxBwN9YIgSEk/yD+mE8KtRw0PGetTRBCWk+T27gZWqGg76LBa/s7ZkoPmyxOX9GWfBBp+t/R5XtspXnLfPO/45tKewHOB1iRYnV/WckvjBrIrnAFnwWOXs8HZqUQOGScp6mh6o6HsTZs4dkic5KXkdAOm9G06t8KxMHBerIRGYIeXbiPdJha1lt5yokEei2jCHnOmOfXYw+Q143rr9o3PXST7nRP66G51oo8TKqmMx07qSYgTWF7nsXpRMJapOmCFEksldbbMU9X5UfmOmmWSchTddLEBRetuVuyAWI6r85djHuJKxBYmCLe3QpB+f57b/YoqAbGJegc0Ovn8Guc+qQ+QgzWh992cnqMlfFEDXrPiDPEB6G/yYmZZ6cSE4gbojd6NI2RHJ4FrJpsIp4eAXxdR6zjXdmzX2cTAa84Oq6UGMZbgk3qZMj682srHXu32TcuOkahA3sp5A9B/MlA3BF8NP+qYkiiBtwp3Jv4nid/VdWYiyZo3Eu4W8bjTRU7AwcE3oT0/1MyDMA51zoN0SxvSzVpeuYfhqkH2lQLmuckZ8tdEUfAqN1G8uBI2qnuQ1z3DJ2yPfUfgV3rUO5kDhrP4Vs3ZdM9UWTQNlKT3JwmZ9ksM+WYhECb8yoFuaskBowyQnvsLV/wrHLCX5ijtxdDheQXA7yy9GbHYu0b7tNXv+3U+SCA4xeSzBAGRUOp05GUEtOTq3gOo6JeqwF430dmr9jQ072Qo8htNcyMSXKuCxaCI1359UNMiX4kt8Awn1l7rTuAuNMYkzXyJvVZO1iQBP+k+pnnaUZfsmsK/9oGcwOsqdVWAh6vhib5ctIDJx+a7ToaQAf7DmOHi2nREqlF2yRFUbIoZgvJhfQ5058BZxCKae8DPBISRHlCyorsZrsFaRqLhoygfZvkvEJ/uPpdsyJ3P1ClBt7eNlBVMlabL25e48zeHLUh/yry/psfXmVsaCP1AcVN8byPkeyHvkgmf52OD7acxgcWcp3ym0tJWOiHCSOgENuTVkwzjqJgRS8Vz3eDVCdFOq9OUdXo4oSAKQ9q99G/UvRapB+hEqwYmbcGNdaXk9EHZwpMakJdEEcyb9vWtoiV1aFRNb922b4My10r+WmU3w+DR3ZCyZIiHK7i4LNNk7CaQzHpEjvYd3FOMpGDDLDSNpQmMiSAN/SXK0RPEUwgF1o33HquizF7kWOmCtm387PZG4JKKtHGHsvEBKF6wFLzv4WgNtG+q3jj1b1DnkQQvLVi1uqYDUjAekErH4rVLxuAvtGUSRC60bMoCeZhbRKKngPeA81ikJ5F9yxM9pe57BhXVzrT3FnmzunWJ8jULXYJ1H33WPFbNwxQQHngoQ0F/Llzw+ui7/flbMOezMP2rzbMfIMDUJ/l3/emFObbOF82eKDByTed8+O9F8khpP+s9qDueCrVolHV8HOG5rhf+zXHiJRUOp1Wg5zxuzAnJSKnjDvDW/SbRzmRxUm9E/R9b6TvXsfuBvqAJ6nx/H0ozmXjPJmDqszg1lAm7f+wENYRdiMnfhtQx/vu2ksN93kBU8iBSqQv2ecoo5xVzdNmq6xTqgcgyDZ+MJtwNIsUX3QYAxWWd1yjdeBIHKyzGQRKNchKH5vV5uVlzXETy8Hi6VYc3pG7LHmjrk9pZqX4vtVyazm25GbY4ztGxEglD3o3mVpjjmbmxBx//HAFSaA7ho0Db1M5cdFX6ca4bTYVfj4Y5Bln/od9zLvyVtD0BgGivnKTTjwrXMKHp8PomkYaqOrfxa//mz1PgrxB9JP8z215fhNhtwAXm7GnYXBPH59MGCKAzkvy2DPMT37IPYGeu4GYAcZTt6fuzXTCgPcfoc4fxIfq8Y7CQn41LaPC55OcKFfWrsqntJsvYSJo8Smueu8JSzOFJFAT1BMn46IwV6mf6ZC1CP3An/9OpZ2iZ6ofedm+q6FA7eXkW2jz+Gj5vuDGXwLgC9fyMenjnv4fzwQ7ugVi+2Ti8HZfGT2PFEFyZvSpuZP2HmRbKSzAT2bIu9sTtfVjHYj3WIip2bG+f9/B+FBN7w38V4G3EdAF+JOEWxRur3PMxkzUOtxiE11qP+/IMQeYnU+B485LT/4Ba9LZfnVdDD7MymDCmorknHmJQnIP0TDVLyuquM3h0+LPgVGIcmD3HP21ozNODjLcT9VhF1tX2YJ40+M13AFY6dyN7hBeY0cqa/7eoC5dPHMZs/gCTREHxkrKmT5Lth4lGjL39hqqPVLgZ3+kCtJnFhwyq44mLCfOT5wzmoCHEvrh81v9dgdgsoqnzk0mS+JkDyQiweMUTI/8LlgxMSJE/QPD72TRAjxD+Kajf3WHlOrpt7H9a84lkv1eC1HOKtDHEvJckiZt8FiHfz/sWK+JUzkex/8LGHL1rMitH29ssH3jKgGjXogbpInDHLOdZqwLcPeiTq20wRb1pN3wjy9DhuLQOBN8DL09nW9W+yhyJFX9NHKcQkW5GcwYLsqbIvfxS4E6Q4MdqbSOSYQuM7EUc+oJa+0Eha5dKiEHuVKuv1S5DQb+s9zagGRqol3Lq6bEK1FXuvfz1Ve6UFwQZ5roTpcAMOoDKnLPxagsmUrhEospE+xytwx45bkX7gksTUradrZgd5XjM96gdeG4A3LPXBJ+CX6LzOJWj7sLq/mypjAislpDZXOJmLLYzIUUInyZgKL0sXTl6+DXq3O8mCmN2isp//0q+YB6Ubap4/g7ipwRa17J4XUfXh+UCJV7CG0dDO6eu9Uc6vK4pgpITuaXB58Lx6u5FTPymTqi8Ah01Pk4pXixV84f2/37/euyYyWQVvR7q9UjBu59k8gCcwFQIblfWOX/wT7b6nyFi8/55WYo0XIU77faQsE/Slaved0mILqXWI/YdMO34BddLAKSC0AoXEhMVNNm8dIBBSZ77HmNCLForswcNtxC42ilmMtuQkUxpAakT94TujkP+2liUO6H0ObsvaMqU+rJokaMavKzycJDmM8s4kQx61i5KDIS6RMkzUcCMbNTPwS0o7f89d9A7/2bXV3cj4hx3hOfKBH24ZNJ6ITfQtqOx7tL69g2STpISlPrbkkjth/viXtxx+l/ikFc+v5IZBanRWJz1phgJwIzbQQp0KsdxnPUAymPkPQbGneMCvJFG98YpwQrQccLEB5ueTnF+8VwqtImFuh8A1dcQozSNP0D5EwlC4xOr5M6OzIU9s7Qj6h/QekgSZiUEmPJt3eVYM6xv2mJwU4otFnEmJ2YInZjT764/u0rEq+av0r9a+t6jLIUyfBeRiu5M6nxz95xM9ahEsot1DCX7frxruSfu+nED4fRl8UKy3Gf6nAa5SgiBJ8+QQbB3tpY6IewZH7LYRag5g1J/9P+kFUnYPkXpGSdmfo+REDchLwIf0AKzZ9buj6xZYxIN+HooL0MvwHNlivbsO16UArQ4PbBRM82uF0EOXSuZsZHVd+YXLjbDYl9bCGmcbAOd/AISkS6J3iR7p5pTDGtEC+vU3WdxxJS/fKeZNBy3msr6UOpNw4NWwWCBlpNpwUdxIU5YEWXj4yx9KdKn96OwbH/+Ei63uOZZGkNp2gJ636CAWMeUuu8E3NeDf4q2NYLvj5R9SiTpjCRliDvChJM3DEPCvtBN0KsRUhBhTGgmvnuzNJWuqvRaD8DSLeA5z5n0uTfSymj7Oo8dJWFhHo2E10LCt/lrSM5UlJyKPT45z8fsV60NKUyPzZkiEyRWZrs0BwIMIFSaqL7NcdULH6dDxSJFX0dhJVRu+xQrJRsQBrZuuQGbGgmy1wiYDHbookm9hqudUlulxhEmnx6oWS5SKjneo+3pJ5dFX50IZAbJlG8sXvWJ/5dYzeBK6PNnYCkvjv+7gJwkxRgmKQClEqX4iu6x0YTYiB8fwmUyJ0f2veO4ZOi97wpqh7UudzfQESkzllql4HRJ35SEimt0G+N0Hr+oeLB5bbAc3aU9E+QbIsovp1G4Hk4Ljkk2XpGaf3czjVUhBUjSiyCm9rRZ2xTcwHD8ysnMKadeDe9b8chRCTM5S6dezDMq+4EhEY/7YAvhz3tCPjZHGVahCZcFN+N8rADyzLoB5j92+T/KZvgeq0XfQjgV/wSdG+bIohZeO+FURnW8nSJadQPrQ/apw4hpHjng7RFMpbxK7tJjvTc/70JwqCiJ2AM20PnG5b2xkm83w2g4FnWLJ7HE8NVj9BBTZd2oAWlQSIqHYlTQTAwfZIT75Gwf7INIJjnjGefzNpxP8/StlrjjotqF8Ib1BDHZeUMnJki+8m/321MJ5VuRr1sjdHx6KrHYZ0v2J5Q1fsAX6mOrBRPwDaOp9kjy3WUnbq5A4kR5lLXscj1ATqQkNDEaYNZmTRlcqyejP7mWi4cPxElpmpfhPetQnbmCUrIC7uAZgtoXnpxXjbC6rTCLZKavVwlQAfWpaqWnKxJCpI5WAXp+t2B/ezd1XjOrqHT+1yhOEpRoTUDI0NzTsF5OXNoiVm30e/CFmOZgAd9roMaItzM1gC520YtaURbVKVBH1RMv/86sR+GcZhwtwB0RSN2jQMRVdPOFMQKgtpvprblnCIcUzch8eCWCFYIOqxvUXf4cHgTfM2KprobtTwxG/CayC85X7AECgkXD8GvhnFZmA+09SWP8t8+jGPZ0jEiAn7WfXmuOta93NedH9K1uyPfM5VZhx64MJbN43SO0ok5f+EQzB+QTZ1yd5VXRoUdAP5CkdEmngT4yZoKiKSoVoHVIGpY/wx0reEiHn0dB012hEizldoKpknE+N5hV6zerxWjepRal00m/C9iX/yrENJKXN6ILtMuHAX3UALeWmdBdIKERwMl8w2VUOqkRWMCP++voBMUoY8nqADfe0qjahZEH+ogmhY1Eqqc8Pfvlad8FbtWe8FmRF09TAk24pb33bHwxKDi1W+RlUyrAsk3p7HGfKbyalNukmQ07sfcDLqMc9KSlwhztdzsHj4FOloueySKPRqY2op7hIhvhyjNx1u0qU8CLWmg5h5+C1Z4ClIlzjHjSHpxv6RrbDp94PAiEW9wnfEMMWJ/i8AzsRvvChB7q5xeLWSY2dinBv8vcVD7ubuDWKwla+tXhxaofZVpg62l642Up/toLMXZ13JBeMdCP8k6ITyvsJJ1woKgXoYOKD5Z+7eiCWhrzl4Up1Z16r170G1RmlccvLUGAZZUcZ725il5BTLZ9EADSE9dfDyyFPIWnP/rOS0lTfkXjqRbeR5Dx0VIjOC+y2HAm+v5jA/Usvz8Dg8cHwFiOLDmGtJnUf4oPm2GLP/UzROQ5SaEtU9N1Wj+CkHXIPW1k7zywOeHx8d6+XLYB8IMpIUwkRL1mMewChlgwl9Kck0ujL+UcHXqFMTpH0a8/1IdNwTwbuLz1f+iw2LccqAfOUfcuTeF1VGLKVsMrrNvnIUyY5/WFvZlSsJjxeSYsmrRnP0xaqSYDZBx7ta0VjGqRQ2MsacqffH691QA7raaNjPQuKTqlbvOx/SwkL8PTmvIe/xlVudBX0WL/vVuE9UbTc2FuOsVkjQrwsX4/phXYFF2HdZOZGyjOQnR7Qm12pOt2HX650pIcDk9OXrYpeAr9Q/qosEaieXjttRuWxa05qyRXLVxOVnBejKa+rWm0WoiaMHZ4qN+XnX4C54apzURJOdIMUf7orSnm0GQmNOBXXfxZzmq9bzAdjGswvFdRW1MO6FEgALJLxHD5u6fPnfZ/TgyCqTc4//5UgoPnYPMU9sr1kh5qebDYN+fHkN15lORLry2Ln/1k/hqlwVOtFsoqezCBAiBZXq20F5h4SlnyeZ94jJvDsM+5fMg0oSCil+ORI4VHjtGXv3tzvc3dnj32yt6fn81FxaW0St5qWJWVN5w0DJ9pEztKZHV5WnN2TdzyoxRlpo9ZZ5RQbnlZxHfLAfG73QE3blkbXK4ve6mhSI2MQNmdMRxjc+xqNmrscXOMHAw5Vh7ZRAsgc0iRccAXeS/eYqBXXzUkAY9zQqvAbbfXXf54h9WHYAZ17Y/oROP/7MNokYPga68YGXeZ+tsHr7O4JsDwhWmmpGXwiLlZiqXD5DznyomhRy9USIORgZ5QBgnC6FSYpyxQp5dYcQeTyfi4Z92D8Lo6LF/g80dBOOrrxx+Kld+0O+7MGslyll3j3/rWuYRKhxpAgZVA5KYZIQbIrU7Z1O6g75PaTRW+zBACYSEJjGo9li+NbCycYqfSck0vshykG1PqJwTxih15Rp7jlL8FNjWEaXgP75wGektnyeCJR3QBRT6s/ouTq/0lt1n3KVoYqFxnHZ/wrBh5gFzCAvOH6xXXE2X2Q73LTtDeKsS0zdrChuH4rsDeTcggBJzHNPlvvFYAyWfbZvPUIG4LAt3bNjOevi5LZUZdIFC8ziFJJhOMZI2KVrjti+k+8wYo3Ck08wa9v5isyP3Lv3fwp/q+fEzSS9hVp/W5w9MKbusXo4KAdckJWsx+dlewz3e/p51qqetDgWdJ/Fou6TabaX3D0Y3/9kIK8l6lKL3LtE9dwGTw0PQ5cKt7aKYmpNo3d5EYnifgBWFhi45QbNKMKqXSkv2FwtYLrFiQh1qkkz4beCPYWjL/qEHwAZi3Lk1ToYIg1wRPx8ECJv8zUe0BPrusJFs+BGfA/MBSuk1LglyfhFylQExMPK9Yqa9INNXV3bh3P1o6RZ58O6LyoMw+Gibz9dLvx8/FXXCzJ6aEQbSaAgDXK1tqVlRZ4Dgb2n1hYbG1kzp+rL7+Ahw0Ftw5YOHTyKDX327gIV7dY6TlZ9/2XyL0lRJyq83cn3NjzdwaeLdP5MpRHCkyA9yqOU8l4DYsQkJCzPWbI6HRFMpUpTU/VgmIOtytdCZwUq+X84ou8nWpXDeiOAZLOi01Z7OABIK2iD+6BA66CYThuP97tZWOAXk+VkdW3+lsrkiroHadmh9n7+rgIvj4MpttPnHlPE64wD/cOawsWmjaEHHNnHWkYA/McIjQH0c4tmJoItsCnHRU4aRxc+g0f2wbZOFmAgtp4MDKLCRwEjII3XeawlhYV/HsvtxkVjmDGNSP5YvhVF6st//MKTsoAhERDa3x3RVdlwgDb2hSTIpBfWYX9V8vQ2nDbKhv5SQ4otx9vsmaMR6BTUDALMavhyvXsaiQa3cixCqtYeONG7kcjA8dvZkIqYHqzt87GoPovfqvPdgcPP8o+IjZBsyH4c1PdqPv9yeFYyGlNKcp+eD87/yydYyJ5eGuOt5Ax+3O5fkqF2j5fq3T7m2IcgMIyVL0qH6ngjNSUPXcZmgzqWuNoHlEFn5ULRXnbMi9EAWbO0TRaHlKStCGBSGkr80GNBPjQ/bnez9dKCq+AT3kFDNqh5TlksnoHPdfoUroCP9JjXZ6RJoL6TCgPlHc2Z1ei/+/T5NiMbctDkyuXWnzpSKnawAuA4BjzTrxUaSfVugYluQNEoZ9tVJaq99nTfxKu+AQwDzmQVgMtfPL1kNV/cPEoyEQUhhPZtQMbYi+PhSSML5RqIqA3fqiy8dk2cqiZi9cI11N6Tflrqptqh6UMgejvWKV06cjhDHCRThONlFW1z4auSfPex+0gtYDR50wrWbdJHteRcwxI4BqAfLhHwzJ2nUqiS8wTqFE5NyogOJHKUdKaxtEZMv08MPAD7viC3GUCa1gdTS7qwnv7zCx+nlqNbW4xSYUKlj/B8FJ0o7+tVQwAhctnPdnl473UN22na+cd/WnAyaeXEaHIXDKvNZnMGE1Jet7i3UYVoiYUe/GAT5v71bHkZH2jM8gD6DQhi4UYs97e4yNSzyWLiK2iyU9tPguV0V8XZjO1YsIaBt2gbLnk3ctPr4K4cIRQSXnRTlkZnnp5VtJ3oJ8GxQMUUP9aQUvvogp9Voktjx5NmgyYXkOeJtGde9prS+CgVUDePR2LZFk4WRwEInjHKW50i+wC2NSw3oNx2zk1ZJumaxSFpbD5pyteiTQ8hcGZI5/iAL4wIfI47HDsr/jynz5BqSr6Lg+2wTN4FiiS4im34FoUUsNH8frxUVXlYfdSF3zBTHrvtS6pLVwrlASnScVCUHT8H206KHRrpZyklljq5/2bRS8+cC0jURir3GIVr/kM1r0VOaDw1dOVnX7MRMWsmHdh7jSJhOebdL7HKmR6rSMbvjgJMCofXq1sfZ8FsvMMPeXIy1Z7Q2+IHFsoRuUCKZRHLLCfeYlHAT2V3wB3BAC4I8HdI5VJD+5W3xU40dgkOo3xYcm1efkxxTZnqJTImiTF9hBqrJi4OGVGHD8Kan8Mc3dHr464KwkrAO+Wg6cMUJxVByDP+MiOrwW7VzzsCQAfTvJjizOZ9Sdr/ULE8aTNf59avW5P4ORHsw5kT1lHaEThZhcQ/JavgSDksw/E9Jxwm/NLnJ03ut25mz3SJ40Rl7tHPX8NHy+L2kv2B3jv5gvB17b0nUDXfoE3EMlKRNOKvuaw1GaGxRE7MvOJGSNWdM4jam5d7/0Kqj1zzathARj5IDrS8OvMSyHc1dWla8GTxiIn06Ih0Amr6CfBNcSUNGx2kwgUSvDc3OgfNyM1mxStZ5AUfFgRPifJTd+V41qA5eukL0cWsYee7caa9UnJC0Nc62QqEui8HjbxN6IpdapFaj77YOE8zl+sugFdV69WeN9aOzRSlsea1D1DoGUjLwSYDu9qESUUxAg3u1ipRWgB7Mqm4let+ZYXD/+TDeMlLcj3YaN+XqZ2G5e1b34CL6l2WUXewNBa+0V5hQRlx+lfGwzXy0BzxsPF3ciPCgzaNH6YGPhWoemDlHYE/OFJwkwkZnqopOEwukrtkVH6nA49OQTElfhx5l2+WdoYzMWYzJZkfqgPDEUmlgas+kuXHzbQGi/TIFW477azGhPS6KEmVBuDHFu1vM3lDkXZu1cQ1x+oe54cRb+HE3I38PEBIw8g5KLuEMXN5BkP7WcnZQCxIHckhpLnCedxeEIaqcp4ZGWfMpogESXM89QJdbO86D8US7ywcOAwpcYhitBnccAlXXt5aBkDFtraGSgVg79NetoLglMY7Z6L4hC2c+jcbWxFZ7ICcWqroAUuDFiIyJcbA9ihS7B5GWVwoPIQfJTZ0nO4xDqqFC18UHdx4V9uAz6gmLVf0HbviVuJUFjy6HktHgb+ThNaPMJSANLV0uH67jW+B9NbHWdzztG1kyYzJ0ZltFFLJaYJ2fJQk9wzgmENi7jCBFek8Pp8Ea9zcZFd3Jbe91FX5HM0YvQp59v/hBSATKSRnOHSolN4K+5YQrehWBCxw6mE+pixCHBgwjCC4pr+7UIWQPBxfAHW7xB0jP+t9ZmQNqkO6aHVhbQdQvCO2fie" title="Mekko Graphics Chart">
            <a:extLst>
              <a:ext uri="{FF2B5EF4-FFF2-40B4-BE49-F238E27FC236}">
                <a16:creationId xmlns:a16="http://schemas.microsoft.com/office/drawing/2014/main" id="{86731D8B-7A7E-4758-A562-B1B13EC2CE5D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7200" y="1670304"/>
            <a:ext cx="8229600" cy="4882896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024659-97CE-4DBC-8A90-274D9084D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38" y="305304"/>
            <a:ext cx="8229600" cy="990600"/>
          </a:xfrm>
        </p:spPr>
        <p:txBody>
          <a:bodyPr>
            <a:noAutofit/>
          </a:bodyPr>
          <a:lstStyle/>
          <a:p>
            <a:r>
              <a:rPr lang="en-US" dirty="0"/>
              <a:t>10. Segment a Market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F0B1848-BF22-4DC8-93E4-49DC5E04E3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8738" y="1123992"/>
            <a:ext cx="8229600" cy="685800"/>
          </a:xfrm>
        </p:spPr>
        <p:txBody>
          <a:bodyPr>
            <a:normAutofit/>
          </a:bodyPr>
          <a:lstStyle/>
          <a:p>
            <a:r>
              <a:rPr lang="en-US" dirty="0"/>
              <a:t>Use as a stacked bar alternative to walk your audience through each segment and its relationship to the total. Use data rows to reinforce your message. </a:t>
            </a:r>
          </a:p>
        </p:txBody>
      </p:sp>
    </p:spTree>
    <p:extLst>
      <p:ext uri="{BB962C8B-B14F-4D97-AF65-F5344CB8AC3E}">
        <p14:creationId xmlns:p14="http://schemas.microsoft.com/office/powerpoint/2010/main" val="9137989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0982DE-397C-4428-8FA0-5E10B63E2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ps for Data Structur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0D20814-10AD-4A0A-8B39-5BD1FD0B2A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8800"/>
            <a:ext cx="8229600" cy="4876800"/>
          </a:xfrm>
        </p:spPr>
        <p:txBody>
          <a:bodyPr/>
          <a:lstStyle/>
          <a:p>
            <a:r>
              <a:rPr lang="en-US" dirty="0"/>
              <a:t>Use Switch Bars &amp; Series to quickly convert your data</a:t>
            </a:r>
          </a:p>
          <a:p>
            <a:pPr lvl="1"/>
            <a:r>
              <a:rPr lang="en-US" dirty="0"/>
              <a:t>No need to copy and transpose</a:t>
            </a:r>
          </a:p>
          <a:p>
            <a:pPr lvl="1"/>
            <a:endParaRPr lang="en-US" dirty="0"/>
          </a:p>
          <a:p>
            <a:r>
              <a:rPr lang="en-US" dirty="0"/>
              <a:t>Choose which data to show on the chart using Format Bars &amp; Series</a:t>
            </a:r>
          </a:p>
          <a:p>
            <a:pPr lvl="1"/>
            <a:r>
              <a:rPr lang="en-US" dirty="0"/>
              <a:t>Easily remove header rows or sub-totals</a:t>
            </a:r>
          </a:p>
          <a:p>
            <a:pPr lvl="1"/>
            <a:endParaRPr lang="en-US" dirty="0"/>
          </a:p>
          <a:p>
            <a:r>
              <a:rPr lang="en-US" dirty="0"/>
              <a:t>Add detail for one or more bars by using separate series</a:t>
            </a:r>
          </a:p>
          <a:p>
            <a:pPr lvl="1"/>
            <a:r>
              <a:rPr lang="en-US" dirty="0"/>
              <a:t>Creating stacked bars in a cascade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1491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1219200"/>
            <a:ext cx="8229600" cy="685800"/>
          </a:xfrm>
        </p:spPr>
        <p:txBody>
          <a:bodyPr>
            <a:noAutofit/>
          </a:bodyPr>
          <a:lstStyle/>
          <a:p>
            <a:r>
              <a:rPr lang="en-US" dirty="0"/>
              <a:t>Use these resources to learn more about how to use Mekko Graphics. For questions or product feedback, email me at david@mekkographics.com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19897" y="2460784"/>
            <a:ext cx="2099501" cy="7487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ascade Chart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053897" y="2460784"/>
            <a:ext cx="2175701" cy="7487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/>
              <a:t>Blogs &amp;</a:t>
            </a:r>
          </a:p>
          <a:p>
            <a:pPr algn="ctr"/>
            <a:r>
              <a:rPr lang="en-US" dirty="0"/>
              <a:t>Support</a:t>
            </a:r>
            <a:endParaRPr lang="en-US" sz="1800" dirty="0"/>
          </a:p>
        </p:txBody>
      </p:sp>
      <p:sp>
        <p:nvSpPr>
          <p:cNvPr id="17" name="Rectangle 16"/>
          <p:cNvSpPr/>
          <p:nvPr/>
        </p:nvSpPr>
        <p:spPr>
          <a:xfrm>
            <a:off x="3310697" y="2460784"/>
            <a:ext cx="2175701" cy="748732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ideos</a:t>
            </a:r>
            <a:endParaRPr lang="en-US" sz="1800" dirty="0"/>
          </a:p>
        </p:txBody>
      </p:sp>
      <p:sp>
        <p:nvSpPr>
          <p:cNvPr id="18" name="Text Box 4"/>
          <p:cNvSpPr txBox="1">
            <a:spLocks noChangeArrowheads="1"/>
          </p:cNvSpPr>
          <p:nvPr/>
        </p:nvSpPr>
        <p:spPr bwMode="auto">
          <a:xfrm>
            <a:off x="3310697" y="3285458"/>
            <a:ext cx="2133598" cy="2505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B5AE53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48058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Watch a recorded version of the full 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  <a:hlinkClick r:id="rId2"/>
              </a:rPr>
              <a:t>training webinar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 for step-by-step  instructions on how to make each chart type</a:t>
            </a:r>
          </a:p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Watch short 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  <a:hlinkClick r:id="rId3"/>
              </a:rPr>
              <a:t>videos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 on key chart types, analytical enhancements and productivity boosters</a:t>
            </a:r>
          </a:p>
        </p:txBody>
      </p:sp>
      <p:sp>
        <p:nvSpPr>
          <p:cNvPr id="19" name="Text Box 4"/>
          <p:cNvSpPr txBox="1">
            <a:spLocks noChangeArrowheads="1"/>
          </p:cNvSpPr>
          <p:nvPr/>
        </p:nvSpPr>
        <p:spPr bwMode="auto">
          <a:xfrm>
            <a:off x="6019800" y="3285458"/>
            <a:ext cx="2133598" cy="3496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B5AE53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48058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Use our 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  <a:hlinkClick r:id="rId4"/>
              </a:rPr>
              <a:t>Chart of the Week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 blog for inspiration</a:t>
            </a:r>
          </a:p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Visit our 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  <a:hlinkClick r:id="rId5"/>
              </a:rPr>
              <a:t>Build Your CQ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 blog for tips and tricks to improve your charting proficiency</a:t>
            </a:r>
          </a:p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Use Ask an Expert from the Mekko Graphics ribbon or on our 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  <a:hlinkClick r:id="rId6"/>
              </a:rPr>
              <a:t>website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 if you’re struggling to find the right chart for your data</a:t>
            </a:r>
          </a:p>
          <a:p>
            <a:pPr marL="0" indent="0" eaLnBrk="1" hangingPunct="1">
              <a:buClr>
                <a:srgbClr val="760000"/>
              </a:buClr>
              <a:buSzPct val="65000"/>
              <a:buNone/>
            </a:pPr>
            <a:endParaRPr lang="en-US" altLang="en-US" sz="1400" dirty="0">
              <a:solidFill>
                <a:schemeClr val="tx1"/>
              </a:solidFill>
              <a:latin typeface="Gill Sans MT" panose="020B0502020104020203" pitchFamily="34" charset="0"/>
            </a:endParaRPr>
          </a:p>
          <a:p>
            <a:pPr marL="400050" lvl="1" indent="0" eaLnBrk="1" hangingPunct="1">
              <a:buClr>
                <a:srgbClr val="760000"/>
              </a:buClr>
              <a:buSzPct val="65000"/>
              <a:buNone/>
            </a:pPr>
            <a:endParaRPr lang="en-US" altLang="en-US" sz="1400" dirty="0">
              <a:solidFill>
                <a:schemeClr val="tx1"/>
              </a:solidFill>
              <a:latin typeface="Gill Sans MT" panose="020B0502020104020203" pitchFamily="34" charset="0"/>
            </a:endParaRPr>
          </a:p>
        </p:txBody>
      </p:sp>
      <p:sp>
        <p:nvSpPr>
          <p:cNvPr id="11" name="Text Box 4"/>
          <p:cNvSpPr txBox="1">
            <a:spLocks noChangeArrowheads="1"/>
          </p:cNvSpPr>
          <p:nvPr/>
        </p:nvSpPr>
        <p:spPr bwMode="auto">
          <a:xfrm>
            <a:off x="685800" y="3285458"/>
            <a:ext cx="2133598" cy="1471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B5AE53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48058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Visit 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  <a:hlinkClick r:id="rId7"/>
              </a:rPr>
              <a:t>All About Cascade Charts</a:t>
            </a: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 on our website </a:t>
            </a:r>
          </a:p>
          <a:p>
            <a:pPr marL="171450" indent="-171450" eaLnBrk="1" hangingPunct="1">
              <a:buClr>
                <a:srgbClr val="760000"/>
              </a:buClr>
              <a:buSzPct val="65000"/>
            </a:pPr>
            <a:r>
              <a:rPr lang="en-US" altLang="en-US" sz="1400" dirty="0">
                <a:solidFill>
                  <a:schemeClr val="tx1"/>
                </a:solidFill>
                <a:latin typeface="Gill Sans MT" panose="020B0502020104020203" pitchFamily="34" charset="0"/>
              </a:rPr>
              <a:t>Use the integrated chart gallery to see more chart examples</a:t>
            </a:r>
          </a:p>
          <a:p>
            <a:pPr marL="0" indent="0" eaLnBrk="1" hangingPunct="1">
              <a:buClr>
                <a:srgbClr val="760000"/>
              </a:buClr>
              <a:buSzPct val="65000"/>
              <a:buNone/>
            </a:pPr>
            <a:endParaRPr lang="en-US" altLang="en-US" sz="1400" dirty="0">
              <a:solidFill>
                <a:schemeClr val="tx1"/>
              </a:solidFill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0116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240F21-CACA-47B0-A24B-2263EDC9B7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5859087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7985AE-9C65-42B5-84BE-1CF36208A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Show Income Statement Results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460038F7-2D7C-45F6-A817-75307C8764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1219200"/>
            <a:ext cx="8229600" cy="685800"/>
          </a:xfrm>
        </p:spPr>
        <p:txBody>
          <a:bodyPr>
            <a:normAutofit/>
          </a:bodyPr>
          <a:lstStyle/>
          <a:p>
            <a:r>
              <a:rPr lang="en-US" dirty="0"/>
              <a:t>Costs “waterfall” to show steps between revenue and net income. Use stacked bars for revenue and cost of revenue and include data rows for comparison.</a:t>
            </a:r>
          </a:p>
        </p:txBody>
      </p:sp>
      <p:sp>
        <p:nvSpPr>
          <p:cNvPr id="9" name="Rectangle 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1h9D1Z5GDtPW+wuCTrU5cbsTyeRnoM7v2+KYfNB8pPDHY3/N/nQDLg73FVUjs5JX80ZEMdZ5aXYVE2SrM7ljDixtoKhF4R5tzsuuZUVsHAV1WPA/U1mwrFSifEl7nJFR4H7JrNs+4Xpm89+HsA8/rSRlw9V/ZOJTQz2GAcigMej+Pm6WUTOIiJ/w3dwNzI+R4ZQkUd+FOMFWpgWTVtjyILBrdN7gZf+G1VecTpkTEe6cbVtAQ5MW/ep6fyRZrEO2Js2MDA1NKXhygiDkZ9GLUa7D6RNjTSepzTktabEAovt+2znAD3CFBDI0PpGbs3Zp/PYnCcCbEsFYkaClaugG/qXuinCWsFMCBYY9Ob0gSyft50ceabUnOHZVUm8xlA+ClDX8MZEiPd7zawg6jK54KO90tR7tL1F+sXQESwYRsPXRmCi87WKJv5EuT2yJR7e8Csp2GcTDa28VUXY7kPwo/c0wLjciZGokVVbmMjQSgasvG6AmzZYJ+Vp1MJv8dJBFF4w2vTi89GCg6JuqYn37dKaiYgI0vaeexueDnUaQd983L0jFegMB23ABef9CAqGXNzWAMi+el4gesz2AF8bGPRTsI+xc55sK2ADjel1aA2vaL/3dUoWAYZ1WuRtmKWGf4mjPZqTaZR2jw9MLSWxfky/JAVkRJswMVPS6FGAeDS2/MaYZlZN/uzO3ucuqtkw8pxmFlUZnaHwgGMgTuNY1SZHfA6FThV1iuO16PdPL7aBSOMq/imPdkrZL3s8MfXDJViz6rywV9aTSOhYDcBNgwXjOn3RNjGHQ/RPyCcmqtZZ2uhWgwHmGOzgHq6nwpORtvsY3hzZyOZStkndruZpilaLrklv0Xymql83klOTxysFmh+JcgIjrFW2qaz69a4E2bQ9eXiUxfUbEXtU+94ZkrfEDm+XKlUci5mQaPuIsB9cjNcQcIfFNULpdSGtGrNMQrh7ICiX0CZLU+cUEk7rG99DHCM64tvw0iwc5Kf04bsNbeQylKNXgoOhZx0Vo+CodwDjoDyh67Iza7oLcFQvUgJcu276iRui+8m2VeIH0o7Ld8f88Gk3Si3y9GurCnXLcoEZSz6KLmTxD/GMe+IFN6LYAuN+hWcx9Bzn98eR0UjtmVSiKmz4IR450d+ckdHycue3C89UGmatKlan64+RAhVtMHD59+Oo4t4emiZ6kelscpf9oQuOaFTgVDLQvRw55j36u2O8DguFP/R52ONuB1aBS0Ts/lj6aBY7tEO+APJjEzqdXLc4mt57QNnQe+L1A1/8fNaegE51WpWq8pcyLHzDvVlDzQktdgMO1kqDL41rRtAu1KG9MV/oGmZbfNjrJirz9lXK/pj5e3/5kd3lupGWcpScpToRBv9y06nqUIKwFLmpERK3PzevpAvqxwwSN0YRs1BLHSB83qFu8Dt8SaQMzawVrXHarySYWuNiomdVhq9NiYjGHZ1vFcnmhd94IDDQ33rOam/TssctZeh4cQzzIthhRDPLB/67wrbUAHYpJJHPStcj3/wA+p+EWKiKfy4s3e9Klq7T7kmMO8brI0u+hRmaIuizk3Uy+HPpifz65Kd+RBrDh/9siaz1kQiPUVqOsVYmgDva1KxSJklkdwp7dPX2C4TiSeH56ZVGX4+LGghwnftE/20YAhs84aL718S1Ev18f/lAmmWqOdbho9r9miA9jU3tcQKa1/3pmELZWzCgfSTwC8CqzOm/Hq8Q3MlKCXeAgHAb6EoO85eCOXPlM1vybeZY0kXlGXrVC7jM4Oekb3qRUoGEV1R7BNhV+Pd5afXPWWyqKUEYCyVJOZBo219bkZcUM7RAV1BKtmQ0CcnsgO1KGU+HqK1+ttGVI8Np/yv3W4jLnWbKc/zBPtx5VqEPJgpsJ6HCaQnSre6DOXmICR6qT01vAHnnRcZwcfwBq/ptcOyPR5f8PTKmbgL3MXk3LUa9rd9P6+w8SLvHcECehYghL72KUhvPZAyykmCIqC3I6KoIgDO/tep23+ZNZXOzgX1zEFAF35olOeWeU4XT5bGIami4OZ5BZe5OuwAIlzLAjb+M6gw4WglK7iTUkGfVdnDYe0guLItTzWPmKQktEUulJ3Gn/fwRdpD3XQA6bpz5VxyCfPKb0T82ZDU//+eT9mlBZy9OsPf8PbtjB0iAQCm1V5nL3WHjnwcNI7z0jOCrxukjBSxWZLzILLu3SNeAkq1zPqqAL6Vw1RR5O1Mibbgg+5nrA7jOzxSxJjVwwRkpYTfivZ9WmPbOnchwfU9jJvyZcJc9V198sD5gfE81T7+y962S4iDNa4rK0SUGWJmY2fOlWgr9miOc8deBKTnlMhF91NMqqoPFo5Nf22lbT2ZA7tEtLsH+/Cgn04nA04/Vg6bmUGdB3WVBRhHMxCMwzo2APiE976qmqFIUSOl7tuW5D6imZN+X4mB8azVvG9lnbYslgxQQKW/ab7xDMAaPNWs2GKlCP9tiCPpBOSIECGxrHDNzYdVfMiGprxqqvlvkc8l2BxO76DcC+Ru6hoYSL6WE39VYG+W/YGPN5mBNNMWSTidS0YzZIP8/N2dDJ+69uGimxfzv5lkvJdpc01DGGzXp3j+UR9EVhEsTO66m6FpB8E+aOK8Wd2B2g3UJDcN/i8FIsxXozT1Pq4JmNansurrPdPakphpTsQEE/1esf+NivWl1SQ3qW/+qJDuc+TZQfA8L5y6pOOhhz0nhDwuCBsaGpqMx4P1IU3LO7v27Q7o+c0SipP6UiobV2fE1r6zh0Mue6pV7IEaW1qLB2imWw7GmYaJhmQcJtt/kIorjLpL9VWYzRKdZ5WUELRUHijQkDHVlZLeGpAytRBqqfSeVdeqxTPhyJuruGUFK3cZ4bvcHgpP0lnFifh6hZmx2MSu+zmkfNtK1V33beReyFQ8ck28aRLoeNc0n/B2C6XNbAXWdWfAfw8iV1aoNXCTwJrgGHp2ZRek4bvjO3RcwYWYjKs+G1mOKWtLt5gYFEP6alAwnLitoFicyxZu7tWhyHHC2Zi8nQmNAWkHymlajDTnw5KsZBX5vWKnZQ4ee31Xd+3QT7OHz08yLKmSZR771vVgjaoWNR7qv9LRYLjGQQ0DeFUtP40X8hEYhiJljy5009IEwTNQqY8knDb13nlhhmiHzZ1YEcBeK0ejinuX7CXjLQ/G43jhSEx30xIAuyy5+6daH4+NShYTQUEe30AHYu1Z7zlb4uywcufo+UlFdAOw6Hh81kcC5pYLJJHJ2zH6DuBqIyGH4kv2wz5Fh8MtvVJ381Zg5qwhTAAuKFFZtEqLUJP5x0wPAAv87E85Uut6TIrUvaKTFymWfZ2QnX6O+eOBpRkF/3X9cHEdujIroLdjZpBFsirCdTglbuobTOYtbQm2Snqav1I+4LKqV2JdwonwgPg6qptD7FLlGalsFlDfeyBXlAy0oeAuk7l5WzdbittgzegMMSTNe0LgiBv3xG1HtCXO5kSHwUMd3s7UDtTn2WxN18vWzB6l/U1MSD/yWrflRTNjxD6cYFdzsQ9Y8U9vXnmLI1Yun4QnkvMtvkv1WxSt5WQWP4msr1G0FQoeuo1kdKNikcA6b4MHu9aPNdi90UipkkIesF3BhPgs99eSQTtVwpvai/YKwHNxJ7BmOZlfdtL9U2OAiTCRLPENe/XdMXV8SxgMbYJif6B5d5mUfgj3BMwBNzAr56NkQeWipXjEJ4/4X5oJwNZrpPlVsPtJ4Ddx6TQJdwa9s8NtMfjFSDfESNhYprBaziUGX4+K5loI9VHtXhb0K70mAZw3nd6Dyoe1h2GsmM3p03/4LNrUsCEVnHn64tZK6D21G714+V1ba6hZFTIcWxarJ+I5R9FtzZmhoJMFU9Rf3UfW28D3biNwt8IP20GsojiNZw6XBQGx1ATm/xhk6AF/7j+E1hZsWlsHsf9or3P8RIhBzsO2Bs9+rgObmJAUaagX95ZJ3ieDfOQ35MfDMIuY7TxNLxT0ik87NAVHlVXHeqI2VRkbv15klB/F967nrGq83nkRas38RR8fHNn+lB2XcuHOtzioaYY19UYJRW8SGXZ6ZVHpggjVHYAhO6W6MCIxy/usXHou4fO4QH95C3oB8SgZNUdJBu/Yxo1BxxJhiVbu9bFM3/8BL3KTa5Jk5cuk16ZPd2+j/WNY62PQ+panPEfVKVFIF1KmosP0zatOlezoPVLbxpLS/3sOGODdH6okmDcTDbBhAlNc/C5zVHelVeYIHUe2ng60AWdfgzBZB1WQY4SvHu92G6sqmzbkcX6TdXKAF1TaNosgN0hZQ+/HLdUsNDI6ixri8uGlB6g7u3vkWtbeWb9HkUSRLI1cQLu/GEWNts8tLOIUAJqvyFy53dKYMjKb+ZI/SyeqMUzozewPfjpvYsm/5B2Y2ctMgBjcHiwKHbdcOnZCp9RMZfdQUxRKbpMF9LKC5xzo/gnCLj3o706bqqdzcI9nkxLZr+P+2x9dy/ZLwGrCB5+Ni2vjbJCVw4iUPD9D9OY6wMcM4gfzXTum6MunEpmMHmQMdT58qyQYm2vKxHFYbOjaHgDWn6X1AbXs0dE6xSzQ182G4ypUWfP/XCwNeLjgOeXVkfvof9bZpf1cYXooUlfYpLsbZ0ayLKlZjzSxkf1JauQ6Vpj/+hz3R78/Iq5OYNtsWZn04EiqkesvWk5BJx4UAQaTzXZ8WGZXx6mQFIay6d3WnO9IVwcmEDSuG9tW0yO4OcZkR4n1k9QUfMqOZQx87nFAabiywPjHwzwNMVnlY6rkBn77kBY8ZkAPhb0vKDVZ/a8XbIWFDq2TKyWmo/mt9QS8zyeodnXGz9UPAG9et+2C5HbHoASXgEnFWnUHahL2KV++pxNwuYaRdjVzScrDSXsz/p6oav251g3m/T1+qCkbCaa57khbTO0aECzgTvB4gDoPIj4Bk6BLvUSYDo7gQG6i7mFRU20L/sLFkaROQRuoPLlzNmLIUdO8hqEgOrnnhApQK+IAAH8zisn+Iwei/mtQcfvrFCV5YeP6IMWhYPar5mpzMvg0rdYb6ksk3jnxI3+iGaaYPbqf93DFhgMPGHbr5Ud5odK766SSKAiHl9i9lnn8VHLBgGAxp3FAMfDsPD7GMGhSeuXJcL2n5JGsXWSKBhdf7Y+aqbs/ezURrM7ThIpissz6ielWNPwl9+3hOxsgV8vDZHzkQOciXAbFdJfZ8pxrsA8PBZh7MhJWqOewu2ZoF/wEhN3AKSwhAtwyD60JtSdTry2Z45TUEeNeTHqxLLglbPUtRy0wfeeIlTfE3Y4tQzGdFS34nrQrP951wPkzh/4jIvkjjvbkYa3Y+IsakUhXnT21XVuTDIvgRr3UV1EvBxEnKGGdZW4KlSH4Xaa2y+M5dfGX5fArevKi9WMp3Ro26mji/FB4wm+YQJfeaS0ys/9sDdbkV+RLIBnYf92nLEANra6OlBTmUtgKJIckJGJlUJdhucuuimTEQm6dGmuSY9VAdABYLC+PpTqTGuyfBvy++t0j37sQtpEiAx4f5gyJiGQc23mfalsuZk2M8tdPe5Y+aCyZ5hcYjWN6sEQtfAea0TkkAG6IR5xEu3tTmYTv+1H5kBOVQmZXwSsBFHoZGWHQdq5Uv8kdgW0tDRtIjChSokW42d7zFD32iCkID2E5PsiUeers+trOfgQgom4M6y71GkLqKZyKOQcnnVl+A1wzLuSWlSemi979TiWpN6KhT8h72I5p1n3osQlmTQjJz8Omo/2JxCAnE7TxKW4T0pWCQpVwT6xiXAeGZiD3IvaHnpjJALN/Mt79HpObSkO8YMlLzHFEyIc7jeyKmFuGTe4tGGgsDxSc/Ej1LbZ1a/jklJi2FsLr5mLxVMZRxaVXGZFg6snzbXqigIB0BLMqtjyve/Z/Tuoyg+ydJReq8zjgOikg9tTHG7Z++NuoVfloHsuGBtEo1x7USNL50/9LpMtoNv/FD7bAraiggi8sCQtWPpI80niZP7vIdpo/OocfX1XqhwiTTqYz8xIBGYfY3PT2DTm3amVxx5YWnC1ClxgM22DC208+Z2Ba9UMw1yzFD901DVTumufvm5GQtTthtftAAiwH6ni7luIy7ODkEl4aGVV6HZrXkIwrxBQoZRWk4h96ExbU7AQgQmR0Op/9m4zm9enC2PmbCo4EyL8NR0r8zfRx4zjTjTvAkB/ZwepKqczSWdvgYKIqKf5m25/AsCKrhngmO7Q9AC9c8o5D+RDyzuxd5SL/QeMX8dlDKc9g1u1fGzoBUcAQdE7+NmNzeZg6IhNlMd+dBYB8X79qnjc/HFijaLm8UEz7Evz/PRE8UMScW7Nzg7skNwp0eywHn09N2apc6AfBSauBf3lHnCNZMxYcIPf18vQB3P+4RX6e3zJzkKeipKZ8bAMwwb4kL9I7djfPOTo8wUImYqGL0SbCqAsBbtVZYc5by7xVaPd5LJN51kXIiQfXYE+UZ94L7g2cJVgpM1JyskwWSxE8/7cSfi2fTizwRkSMyvJbZF/It+httzI/WASbB+QFBNp4zlLBtz82R5LVK5yl1SC3cN61cLUoVesmRYj83D1pbecmW13txYv2jAf9tlzOsV/p59HvS235sLA/+WIv579nk7CDLXmxv+JTxTk7W3omWkVHwKI/CjVlFUw3/I0M7BjVQpxB7hOzoTTXu938peAfQ1gf/F1dPkqbXFRApxBd3YsPm0l53HUTMPla1v74ER2y0XjDt43kE3XVKhVfIn5w8ZceapycsWtyltMP9e2uYavWIb46Y4mY9o0idqeHYpZhAe/Bx4nlz12sY4eafx1qpvetzmWOwLL+a9ugPFvvL7SqeU0gddtw/ozagFR35LCbZZ7s0aoPEmsZZOWf5fAVNa9V30TLZkxTaTVmYl9MbWYHrEImBWhCjwbUlCHfKuyzBBNBV2y5uCq5EeOelKY86A4GQCKXDdWj/liQmATX86TLbwxn80c5wDOWiypAQy11/1ZcKmzne2HmDTBZvUVX+err/wjRnXAZGIRRBPxOmF9gJHgeGq368z6W1MiNzWOUdAWNAX7uFukjGhc1aZXZBIGwBgUo/N/Ao3llEYF7nBXeiPxPPIHFe8btUoIxUD3pGpWirRq21HRUQQtPYY5jzzqEFhfHTbmPoIZvzruLXvGgbSgBDOsnroN9ugiY2tk1a1icvLH/MwUYGz/mEQRqTb/AsVCdgRnwfOqGndDNmrbjX+kpXHUxFt54HWqwROrMr2g9PdRwB1GvEkwL+zfApHNoF4n/ffB+7OoOdmolZsv3krGOGURtkXTUTUT6102fIoaPF3q4pMqtmFBBFgqBvZRGui0S7MNFnQq/lgJR6s/ciy5EzSYZ41n5RCyiMEyvhOHp3z4rUcoIA4eQsiLX3NHFlqbqB9wLkj1pWVn2UGblBxGDARqzNFC/6eZb7IuQIwIuZaIPahGPw2Rj5gWrusvj+cfvTvTIBXZ+Cqet2lfqiVh3Z6tjg/OhApjtCc8Ct+MBJ0sTu5VsPfmp6cquc5kVlhiDsIlwUwsVxRsSjKrf6+//EHAC/F6Hu7cHzniQPc1IKzbfIUBuDFogmH6NYhihiNsTk8rvVKLcylXLjwsm48uJialak4wch3hNdtoYd+bnNkWLG6icqnZLa3eDs0fuO74MACCSrK76oTDZmmxhGXGJMjmEkW4ZaMC1xCv4paTWsRZmrwA9iXeD8b4V9pJlr3V+SeAdvWeiTtxEqg6VhmRCUsXh0nCOEeGsbwQIBJTE57/X7MnSNmY5KxaLszjmlSMwoFgF7rakyZyxg3Q+yqV5zXxbAs/+Hg6bCt2rm8tWism+ta//bM7b1PIrYfmCT7+pbetADAPA1wOcRug6jKEl8i8CsHcE0xVskcyXHPYJ+7lnnqfP7T2FQ2Dw4B1jKltv2HPdSN9xMlFsq9RO5IXdEUFYVGJqCkEU6vM2oTQpkuDhag9ygPrJYKNE4vQbymoeQsPFADL3yRu9ot5/GHPiQ74a3GIjfFdeQBvUb4mFoeaXgUx5JtHkf/5CAllxY5jeWCREUs0/pwCXPL9DR3HiXX1mFIkCqM9cVIKAfhajfMBJpXHDSG71cOhbQpt6JT1MXTyLwCE1GwUuSDIAHh1PnZ/nD3ImpVYsFDiM4tsnI6FH18Qh6tNn+P56Q3EzHMzs7JbKuugHfn26ljrmpw8QahHNqc1fPX8iAgrAMBNTkUilALPno6KNAd/Qt/TBsp4Zm39swrzQu08X48ax4MeGo++CzSG3kPIjgE96ILQLoKY3iXiNtCkHntYrHEDWbO4eRf24WZzIbyRd2hGB2VK4ijBMcjdFXg6MfRy0VxHdSoEYcMZx3rBlGN2I/X/ENsDT2XoYrpMIeEERgXJQwWowPOeIbrHqgDoIuXGNh3SQ4Jb57lj6a3HQj6+mbBU2tRMbbJbarDiFxfmYLrnznNMWSzB5hxlLMDf796DRkKr1lqN0GjNW12W3wiK/sVMLoCXDISV23FrsrPiVXFFJSh+9XkB6Gh13WhxCJbaQDjoRSrNrLi3aR7Ls2J1IIXhI1J08hMmhHkQpQeUlfBJxv6aG7xIK3UazS/EDYILi7hCu51REhrbUovILVVxKxryiBHeEHwmhhqXMIpJsvob6UKL09lQaqpPpFMLbDKr9K3//x50uzR/aZoFJEHJCAvl7jMXhjYodLQqhFK2q5S+2ARZdl+DKFxY14h+avhXQB0JzSHU8+X3PxABbLzCjqnv7gcF0rILfa5iva1iNTq5WQlCnQ1rxuiHgVvrEUb5RwrK5DNEeWLm5wd2uxbE0MEoVlwQzUdCxHipub6u5HDqIX/od5ZGm5KEoz7apvkWgpr14Pa9iXeYgiqy4FzyIlte7vLddsHJGy7qodlB8ZBmvu8DrDJ/iriIzMK9llzxZwUWELFwPIwGe2ZQW9ZLA+BIbBFG9O4ggv4Ik4x4YRg69/sUms59KKMw/wMbLHT7es6RaymOkgad5vbvI7ZhTfyU5UrKuFRVo4pHhICT7FXECsoDt1c06b74jTb+NSZC2klq+bDE7o74KOUwTScuaNvFuMKu/OFDf1Oek+rpTPpDPtkSCqIFHyPVS+6+UaODv1o3kRu3nqBFm2olvXjK+bFYy3JfZ8Zf9wpD2HyIpMvge9wRfZYYVIezkCOO5YXfD0ww+0aleoBRZ0gP49xDRacFtfpLnCNYjOcrFKwWqU9iSEu6nayp7wSuUaANckCdWJVkvC1A3suTuCdGev/FhvlH0IK0bd6tLbf73o3DaDh/voquOkeATiQlgWkLXM4TjMEjcNgtJYq8i6CYhqyoUG8Htts6Gtv4cFACml0Ai8oXIsvwDZn+j1zB6ZDp3BGpDe5U8wR2Chg+lpi6qSIjU4K5Iuj6ilB2ykpjEPoy9x1twE8ZptcQouYxmTXvARqmWwRP8cpAjf/cusQdRUJcXiDut7dXIFE+A983Vyzx94vDTFmZU14t6hEwzaw/1ot/mYcSE5rjaZOEUQQpaNXRdbLHkCBDrCvGaDCvafyQPl1mQoyW8CTJiMlecFqImHAoA2FHJ28WzyTgfMmKSUhOY5npxGc5nGQ2ACGwiGmr27o6+08VDd+Jf8qhnMcdlXc9hfO8abPjZkuKKNe8773yJbHm9isRtzc7pXCxswBH4+8VGZ4gFR6myIcqzZPxqo/6wAqs0PyPNi9Ya8hBqwAzotM8Vkr5mtToy4Vj3nS5D3fcC0pYnsXgo3gg5AMGdJePCuZTGthvU3J6S5QL5VrKnypc0gOIVtKXT6vLqDcYGXlQJkD3Rfhr+iP3//jaMnQNkvgT5pACJUONgvU1kinmsJ8MC+v/2xM4pZoeIJZtxiZ4yr+F/DS86Lb3CIUyhRbszpMf4I2075UuCxXXmlCyh4PpWRUR9Af9o2Nrt+v+mGmT5Ufh4Dqk4U/4cRx20Elehv+uTBncdqy3ViDHIgjwptYOKu+8i5aQnf9ONWHxDQDcVqjtzyYNI1kgj+p85ddF18MSXYSevsZSS8PEyKC/zt0I5aQ1aPbaXx8nxHChAwrEPHnWntcsQ5DgZ0gFpBg5k6IovCE+fUpMEjFab1r39hJ3S4rRu2qgpdE1FWdFcX0GmVE9LqgWOGEZeZlheurBNHF7r26P7lPADpFaOpqcAJV2tPXl4pJE6qCLDBP4m0QbTdhsY/367BLeVFTsETn6YL5ZJjFAz2+dqiP0X4TcZq0IC6QHWxmIGrG90xNRWrM7bk/q/Q3QpA480M56E1Z7ghNgltB+rkmolie5shEAqVp0L+qr1JpovOgQ3BXUvl5whfZzIsRETZ4hMNwBq8sDyQ9790MY2bgQzs3rfrgsrgGFUUGgQ+jo+pmhEmkDMZgzva4U/Hz7EQ///XWOOxNm6HYX6PC4e99iPZX2bK/nXTuoWKkwgGV65SpLMcXSpB9lfLi52nDaTByk9haEOuI/1/wy+a9iwgX3wFjN0sqFbPsaJ9+gFsXPOlNPEU1luyihZp9gMwetqyqTFmhOLrPCmo5M6eI9g5b4A2aC5pAkx0gGvag4QqST4RG3cUO+Y6e7TRRzDEjl5mljoA+cNZuTFawf7dwKNEutI5IvnovgGOGOCb2WH5x5PXili0OKe4+mUqUBMc1DcP40kqQ8mPZOvZXQXRXPFrWzc4vKFIcnXLdy/V1k2hbrQ58RCgQKZvliwDPpafdjgkO7FYb9bmy0irPP51avVbxqjIn2yVH7uCh4jbDPMnOdRNjScMOz4XurnbKAXEWV1H/Kx44NpXDwg9Q2v7FMduWP4qy8nMODNqCmByaO4B1H7Ebf2sV5DAwH+DWehSnE02Q3ihGWi0lix8fGPQKJOAkwOZF1Zzw31Pkx1qxukW3Zc9sB6C3UYMoLZhLBYMM12BI0TurOgMagQzp9ANkQVeDZuF2BrcNWgH6H8aEtHBIy0w8k3xTnWIiXqnCwD3ZKKrilfhCHvKD3nGW4dB58UsgQwiEPTZ4VpRVc9yTrtTua1fOWq6IyXMUNOjrnBi0uoAFxATbltguR5UD84JBfBak22WT+ZE9ktzfKv/px/ZT4bqCYsyVRl7Rr/FapqD0WNz1minpRUkV+18Em2abqovb28rJmSlKbhqUMk5oruihmR93vFut+F9LMXePMyM0Y4hDulFnnCck4139S7xsF+eG2TFj/brgk0kP91CTDsEvrAuFk4taPWmikC+XeDQxq/CFr8l5xbKs4cDb8/UrC/2/HJ6pDON+y9T7IAumjDqZIBbohmGw/miP3VyuBsSQifgYrl9SEz9xqqy542YzP3Mgu2q616IMF456Z8rZbQU/ohtbl49F+i4eloM9D7mpywZd/e0HRspqL44Rr0PrdqivjswYBdA0lydLEBgMOn2fOx0otVIAfD8dRY61PAJhm2y0wyhAnfTxQELxj0y57+M1IyDmoBbG1TJsxhlRAEM/6f/n8MsI2Ysh6PLYCxoZXY1z5gm0XQ0WtGxkWU5kPLv05AdgfCnEYXiRGjESvoC3mmRZAF8zwL8Zw0GNZJG40LnQIULk+CNIayXbdvaQ6rNdjB5GGGL5qZceogUJ3Tr+ICJhQPifUcZfliccXnhgN5VOt9a5PqfC3mozHEajdCTve6AC/fBKkhGcpoxwmcDGxIGRHc/aD3/YV4JaT7TtJg9YPiivFP9krrDSiEbKNxHlA2vFGVSNiLcebdjYScIVcBOQJZWFqRuT3SWXBVQ4/w7OrM2jPbxkr5vYg/l1wkwh8zU6YcJFr/1feETzWe4K26GZ1YcsHUPOQBoQIJtmmv1yjLfumUAKDe2Gl+e3Qiwx230Zp4xPWPYoelzcDjg2ClruhkVbnRlTXwz0FEbvfo295ri4Yc6Rr4OZ0DuCw2t/6GE1yxUoM/8qXpkIDMYMpS4I7rojwxCKRnwIOGIwGy4LSUvK1nkW5uHr9h0JMQK09VqcCfKvLh+FSylofscwVnwaL0fAFQQiAv/p30KpeW0n+R3hp8LoTMjWUVMtlDsjJ+CwXXgfeALBUlM0orAyB+VLky6OfeWnY9ZLM5rNguRvYaUH2Vul1x4SRwYUQ3rz88lJw/OeNWlKi5UydgbdYTZ2VFfoA1+YQRJusyNT8ukK6qWvtAW6SfiLKRhIJrfKOaOEy1I4SNf9Mk/dRV6Yg/Iy7uE86YEfj9ST4BuesarWSJHSVsVaCcUYPG3Gls2tSKtTmcWuTuSh/ni8pyiWJMmxj1cd4DJcckgge0Fy8L8yusZi50K8y9N/961cQNEh6kEalZNDr04cKq9M3Xry1aj2ARo77fZx35qc1VSg3LpddWYMIoe64agsvSbhfIs8cPLbvT4l3Mee0OTNbVdrXsnYBvOG2ErLXDRL+voLLFMrEVIkxkAzz7jt4j8hLOtcbnBvJoDs08TEj8R4IyE9HsE314SgZF/8dMYlVPV9kH3bupin7/2FUkEqNAARU5Fhi3oVLcuIxpJ2AxidGnIQF/XWtrWK5Zrojm22gTOhJlof572oboqPV8TI/ywwQUat46PngJjVFW0sv9rU/gbpDVSPtoXYKNK4/hbmgbAtRC+RHVdsm20Z1URt6YiGZw8EeHZn9rnnzfRnG3dlne1j1xff+t1V4N/x7x+FtkJwHZyhRASsdDRS8fmrB8GEsThAtnseuijog/85y0xDI7vFMgBrBzxLjAEwdhdWbxR1+6TIgKdk1iYAsy1MKQvJP6xv6NlRG6qpAvL4fz3dBNwP6JKCxXoa4oBQ+nYrzmgpmLXjtWW4+KUTHQ24zQPwACaeyZRIR1kyUKTZJedHxLWu1J02V25IVUGzDYDlT6p3W1Sv7oMADw1T1TOwWrVupKR5meLujr4Q9BDtH2Hklv1GiC47jCdqeTAdVfbRDiihTfBnGWghOQIbZ47/qsoFxJYzkOCoZABjCCCFRpRaDnm2KnHnAzl1gBiPfAaOR6mPScejcterIf94NtJ+wdZVYAepM3HPJ+/Ou3FqrC/AatiEscV96KCDkRHo51RKEG5mKRT6BnBl8Q4jlO1CBDDloXCy6siy0xxJzXNDX0P/ov2Llir4YNEBmKB7X7tdKLMxjtifdwdoNEC9KfduX8+zYlhLb2SM/HV2W4YSbAL8tLz74NlIYK7uR9TH6coovfBnaiboP3pWsd/GzqGg9cDlltNWxOilpvED59ylMl/F91U/TPxPYL4k4MxMqL4/VQnux3cPAtmJe6iSIAkOGe01TVlAi47lvJqCQQzOsCAkyjlGuZGLBVM6MXDuqv/aokSYU90ZGbAQCuX7Yb2Zmz/cgkhK2oq04FR9ey6aMelDgZAMgQmIpdtvotonShR8oy1RXG7RqiMllI8gb/X9L5wcGTVsShUOWKxm8uAHOAIGw/rYx8zmKHJKQzmt2QP+Ugo+GNOwNT5HfEdjwDLHzPyPFBCM6lodBoki8TjGxxZb2/lp/qXwt3E0uCSz273iX9BR80FyJVSJj4bx/Bz6ouVxtGn7A4Prn4qMsKxFugPedL+midK3HwoO6LyJLAjdthbTh0zHQgiF+dwJJRaRCSiJ7K+rWQjpsHdkqb1ty88wu0ZY/KErYIvjNw6JGQ076nnJxtbV+/C9dN4zOfeWloZNjyGpoAcfy11QkR/GB2deHOX7OCEcmLeJhim6l/mMMJIsjdURy8dNH9DWZTAKu4MATVeHeggfmma9a9GMDYLmVOhYcKS7uq2iqNSxXxColR10RvagyIGe+9ce+v9DI2/OegeGCpwyFC1D5Me7edZyaEd6fHRkYvlG4CKW8hJ6WgCdY6asczOlSLD/zFuOaQ8ZHw4v1jsgSUSLXuvFlYFeSV2UHAAT7he9B7niR2Om6UlAqS8wzFRLaznKVjbeKCRShXmA8wPUeGErpEcUCYMgMh2uYm196F4WxoEU02/VSNUoJSzYkfam+Wg1SWKrVIf81SNq9tncjoknaKd/N91fRkM15x+R+G7yOTNLzRpldsdzD+w0MXNSdLIEOI/geSSAYDYeuNZWHOiO0vWj0nkqZlq/3hUvITlTpuCmwJw2cN0064O7z02+ougAy+rlKB+Qn6A1ir21tKu3omo64JuJP/W+F2zo4tzgchNz2N9k17ZrNk6Ul6KOYX+nuCjbKYRZs0bHXtuEb2wr5XSsmp3xuAVJiTHExcJVbdR76NtT9CmgRLU5IgvrvEIjQGI162DZoYeHPCbLCPOPgaFYyr2cMl2YboOB0U3BzQKNZfNlIS5pIl5ZVihQUOVxCCYEjpPE7jZYyuv6vnvO9ku9ELijxqw/NZ1o125k//lWuwqzoaWXbePBDiBvt6oEXKa6YG77elzA2d6TTlHiTtS4bHADyVVx3Lp8GrDMEBh3mhsFoPDdp9LmN3XMqSNGoRl7F1vxdPDxZaRbByfWnMbfQvHzp8E0IBV1tWiNU1rBqIOg4naGLGG3M8g904QsaTuF8QrE9G+47sx9l4O2xv61cm8w4URTwt+6fOGFcqAtkEeL0oUBlMDQYKfDgYY9Qr2oCp+pY07juZrPVu1OLH6dGIqW8TgE2dx9twj0CCdni1xG9c8BUDpyNTkQowWzNUcX6jN/SCaAhhZJg2Q3EQZQY6gcSw/i4KZhMNYoMCX7qrKI1tig/oEKrm9CZ9u80r95661NQjFr4dm8KEGyB1sZd0YFj0sPlzMr+33XpTa8DM9Isu/RziHPmVc/i+Pb47QuwsGP3GDkX9sHt+kBc9IIVQLS6IOlWlgCia4xiBPEGbzZhHQzdLA5Sbj+4pafxHPq4hUdyRWv7JYktVOoq6KvVlAv1kEI7hcRCub4ofRAUutC/9Ur5VsiIk5luayf+tESuPrhvdMul7uXMAiAbKMu/wOBJ7MQXyicrp8lywPPcb/Wq0plHRMBr4d44JBG/Sy4dEKbHh/MUglf4QHEZhBxjokv9AE7MZyyEfE9PeQoSeah+iANckAncUGMR4g7YS4WZQJbuaMeXiAoQBFgWnXUzIDU5ZlNagKdLCUyLoi5u6c742MKN0wAQeC+/+amDYCukx9ekWZ9Ft+NX/xlb/GYvBaSU9hPTLd0CyXhGgQe4NGIVfUdhEFyYCwTfzvkj8zhF3NrCGlS7aNwB2z20mZdrWKLGnkAFVUuvXrb3I/l5+LLpy3Np94pXt/KOG6UmLLRyVPflS+eyaKMpaFRribv+Tc2Z/54Lq2kTgW0psTSu/hvdDohCFdPM1+GvrNp5wPnqZuAUtYX6AEOE7/+9oXgrEeIa9l32CQ1wMedeaJTpNZiYTILsc4NIatXVvmP6TQMDLmDkRVlf4+ISTI5yM8fpZT+y3xe1gfRbIJD91FbxFLbBBCV1AirQKICmmwLXnPWpqNqCFUfH43GFMzkbMSwq9iBFTbGTBbRlhyfEmViG+FhpP7oLOK28rdEktpe1eBdYwvp98sn66KMnRaZSjvLbeVet0JbGCBmh1oZiOaQyJltQyDxOhWyVTz9QrZMvoqmqGqY4P06OLoNfrINz5/t4KKEAndhkxVucOH8i+uEiyGwmA+I7ZGj3oXgS9Tf4ipJzeXwJdWnT59FvNF7r4u5KVWfhAz24H1xWk7Nenf0fpDv1BDt9pv75n8saJ0/W3lBdVrgqCQdb1MmbF9blEfRhSfG43+UiaUaDVW71pCC48QQwalelUR5OvoU1FZs5afpKVw7cZi5x6HRbFQcxJFnp0kMSjlpVbuyCYv/it8XJpXe6whL6Ja1ZmjbTuf6nBiYwLF1a1vnLF3fE13p1uCR/g5cAcvFKYV0wqFWRY8Opd8b9V5aIxw0M3HioDc4rV+zE/UtilXtp7yuLVO8cExYhfNegZ/Bd/92za45PomWARLwRMJmeB17X5rXsfVCyTncULQWwy/hWD0bCAnEckEF/C5+/D3pUmheTbZPcPg/RZyVVWIn3tZvgNb74wZg1L/fWmj2loQqN5qI6Wh8L1RiRMrWhQh3ThR7A3tK5P735Zd6fbISUD4kfauhs74cKlcsXSkinhhnXd1+PsorK8vkx8NZxde/tAoa+o8e2xTGjmMrdc/uICOiOjoAi8wMuW8RRwi+8eezezc6KgaZtsytwytbIxMfeEtumQ5KwsEqUZlJlYoSRHHcckT2P2DXn/aBrDBKbSvleBH1fBwUEajOD4OFpnV4mmDkstF+07J3WElJU363EaInY4vDRztN9R6UqouM2mUCwT85HqqWrhnirbENNMovPPZVCoNxZXlVGOXjrvkdij47DVWleEYSWo9Uw+vOq7LqHjlu4Up5zSpJUp3UePlIpgqQ+5Sacm45PwR3mA/AwRUUQQlrKux13mxFKZHEWWVC6l9GIUTvjYwqU8Bng0PRwsbvBtJ/kreFFyOiduB/JEmP7rNucdKymvP/xH5cFY0XkvtcdiAp60CCVFbEISi4OKvvfpPn9c41ZhMhaHo+1nbO4B4/1fGHv9ov/iQeKTpdpUn3rUPKNfdAtIfcCJHM6XMsUCKx3WtDRV4C1VRL60M8bqFw8njtRJVRa+E33cq8x6Qct2+BXgu4rt8wJI1Rwvj7kEOtq5HzkgKJzrzOynLvWXu+qeG2B8Y4v/Ss+fK+T+KE5EXSnislbZRDbSp05Q55BkufUMt9wH0TVWjHwAXum7p2KzVKQTmscTG6/A9038vWhnL0uupzhjxkDlY1XZGI9Ky2rqUs6yOLYtTGT26xY/8W5AuApjnJmEJB2/hsnvSZl1Vd+qJvKKg2ODh5pmPfHSHs9KxNeqQW1t91lb+JLU2NHtlCD5mII0pshioKNRlMtdbfZl4z9oBwhcB9mJADPZsmqgkgVqqjmqqBIxiB0Pry/qoK5GlcssszCLKOVwIEnVQLCV2uHUO5oGp0QJvGUXghtNcYJ4uWrDb6Nt/s7TIzSkbNIcgNd1MxWr92eZpd23xtvn7G1HRNdZ0VqoCuFXnYdDI5XVkkdQ/BGpSARLmoDFrKXg8VIaK57LErnRxrGdpKqAJRgN9DZY4GrKE88v+1WXNq7K8Mu3YAmZ/qKsjkLrTwsZUq/+HOJhPmqPi2618Z2h42JrbF/vPKJr7QDJcH5woXei1Q9i0aQ28524e11wukziTZzM8N78/4ZiwYyQ4ZD4ZlxR62p4PJ8yoReImHuUsI9J5phjoUlpjDpsUfjKsVgMpPQcWqP1HteQcBfWhEjbldUmjLjEPAg5x/FpC69kiQ+9KW6OZL7/WY6iDUqHOOTzYAZiDA0CxskqynmXKqqoYPlOBWy/X7lXZtLgKgV0FTjN9Hs2qmOl6estNn7RJstZt+4DmrRY5nK6IkBjr7rbpH9NfWmpLC4gbvwx2YHytEtJzrzdVBSjqwWu8rNGpT1WqG11r9/STWFfuYuLwaOAdXuP00bFOTVdk5pcW5JX3G5K+vcYUZAaxK2mIvz0DYFpY+gu1Q9C2R9itaOgkA7fyeTgvjlxFg2We131WE9XQYF04ZAwKCrhSnqWSJEWFq9mYGhGMJm4ek/YRdhJ4CA1JFaWDwfGwCmOTPR4osaVcIgtC9w8xt+0xylDcDcOBsl842Lr5Xnh/Mtx7vWi8v6MK8SNwMDFyaaUM/uW9f/GDSjTGXygCWP3xTx7UtYSnPFAhNax+uB10C2mBm/ZX2EezBlMpt01SN36hN+gsHgMtHwjWcEDW15jw0qNkt1OCYRcBUitXyOC6kgFEEG7NF/gthdgyyg0GSbFoDSYcI0YdXDkruksassGmziD1wfF4r+WAyk/jF4M+IYcoMnXsO3R5/De9GWMq2yftQka1KPMQzTovf4MylJO34WsmWhnlSVpswUPMGMFirSo4YxdPeq0rSkqSnQkeARfLYa3iy1gFQirRB5iUSTyd4/GZhWg8bSCpZD7L0hrGQXkpgiNOXeXP8mqkjYt1sP9yRkjWrs+/mHuILM3PRZsn14WcQWCzvGXG3wNggDP6ZLxoYM/YcVJQIBfaX+iTx1XPQULpB4J/plaNjRe82JFQWne2IrW/G8NzeH+9GnTT/eT5BdeYXxRkQCfP763+rjSM65NpOCcYAKxmw/nphnEnAfvWz22C8DwUxuGR2e9qo52HNnvZcBSn/FNpNwibiBYsxRYM0me2uuI/nY5rgVDVTzdlUe5ertmSZzPTI0eIYInvJWleTg2yhnABjFpHcLsjsAkkF+zzq46WIUFo2lhMC3AiEtWdUMwxLZ8+n/SSt6s+m7iRfEAsnov2VHAXZa9/nEss+kWQab4jHhD0+zEICUjfSECJurbhj4/m+IiODrZYE2pR4V4YW28JMsC/SqJH+MzGJJCh7gA8W25g8H4XRFichwtJRhssUqyjcj9nksDeoOQ1LwlCGmlEksFN6PqYk3UDXmsUenIEMabU7sPlZ1j0ZwhWp4lhOj5j2sWyV42VNvaVu02tmgrr0x+5JGGhKLJNyb8NPvk7MVGsC+j6Fbs/abRRhn9qN/bW8VixjwKyj9eptu+QGP3gIt37bE9GZCR9AGRbc6pmul6KWAObfpK3KFLcsdtIajOvXljG11or8QKWL973Z+meCAOrE23Wd5Epe3tDkfRnHM+kcdugWhuu8nLkfKEmACh5t2xaWtskU0xAlL4nwxCqTrJZL7qszEZsxCOYGoXIrs+Df1ADiUDQjUQU7yHmXM9rAmw/hDWj1qfDdOhZ/8Z3GW8SGgVewSHCGXIGb1J2qnpiSZIGcwfkxFF9nJhogccz5KUIiJu2ojoWfsJH87LPUZklaGEDtWBuhZgZbguMwZwRmF2pUQYL/8XitJAWmIMqNTkIkbp11x3E2fgN0GKLGwiP85/4b0vSriUrYQ7j/DEv20F6N3fvQRgxqm9vQmFsSqjSKB20kpjG3TgD8WyjGOzLttiRqH3nBf6IwYrpmFmvsrCywJE2L/+s7J5bL+tHaTJBoSCcV6i0gExrdLzaRyrX+yopjKxpPiT4W69zLhVgLzweMUBSKkxEseC44tdM0JLH8aONCbZt0AszZMC8LJ50AFybj8m2XJqIeSibwGOhfZYILeWxl52dRRWIJpygIK25QgW5FJe88fq6FdZTOe4Ax9PrXs8f9cnXaMTm5LvU2l5gzXIuxSoVcq7PvRPERfrmpaLB2NG97jqUbLMGxsqP8KtizQxT8GLimDTh9T5SlyZvjrvqaVzXO31zn3C12oSTESyb57KP/Yc8Ac330hIZOz6Ngsz0FNT2O+B9gMWHtVW9qTNej4DhIE0bj+6LWnsI4/QKO5kr/haqKGcWJ4IIqq9Ql8oaLMeQFy+2DSWqgqRfLVHSF7m//wFzk+vMuEtTbMzZZWZsR+yCEysVB+Uf3cqwZqzUw2GEwdQpLwGCVR9p8/F4LbvR/iqsFFWS6Ga2LJ+1VbbVVZdDlA9EgRvp3npi1L1WuU0j7I93qA7rwy9J1pPo0c/WzMxSpoxSf7Kw3UexxX16ZhRoGJ48YxQ/+DJ9J0hLkx7CBAOwdupC3voIKttNC8o9ApDR7xQwJLmilNH0eGJ15RZmbjZSxUxRDtGx78+CE8A/HoTlGJVHTcK06icFMXE4fHZ0+kRKV679I79ghONLk+2XmBp2xb63PBsPmk+n1ZDoUPYKpgdxxpWQZLlZ+q21HncndnFRK+Hmz6/6OCN+Z+T9pR63kmn7eHl74KsOu7nAvOLoBDB9Sq1Kfilz/2fojWwgKPyuQsKslEwyUFLXm6cq9LOMiDJi5pF55nhcTXPpnUZezIw30Gfl266YhGMnmA7Rka+OxX6lXY0eMwu66ExsUi8Xj5rx+bWf5a/cl4aIzndwc5L1pUC0gx3JTvnY+rOBUk5VPpwh4szym8WfsFdK+qkwVUEDhWJn/pKJ28eer1B8Q3wTi7pEMgjUqcZFV4MfyITnf7j9TctjsSAiS3SecqnPSTmWCHOI9pL5XdcMQ+xr4cwh5PexhMesuw9fac2xiHaX2NgjNzgRQHIf9pZnUPoPjesZoYiNTdxv+vMvlmfuXqP+SPIM/wTTlpBG81qUl9+WvG7g1VOjg+WXpusoZd/pAQqAoqimklt/4b5cznvDgteI0qOHkUrQPIvq0YBNezCZkQuEP4FP6cDafAKJrYennmhlWMAYD+3QSGzsu9TA5OPM2vHU8oYtekUAnbREJhMn3cRXc3b0KNAyoE/29vRpnP6juJv3LbV+z0+Ictw6Ltyt23LYIlV6/XM6IaCVN6Axk6k8uAGSP6kfUCGgEZxTEZCks8OpYNtIfQlvARabfO33If5RWFGDcNslxfdm4n09+ZYHl0cn65ydH1H1H+fvUNUF7UnjofgIBs1saLtcfXX6PiTeWwN6SUvMrzFDJ7q3Ur+okzDUtpOI2cUNLNO63HEvOdRBswibo3IznEwUXerQn8yLEQFn6da1emOojxPXAnbBJ9Yx/7qldaK3fKalXFqahIl6Jpb7GdYSJuXAumlQVMlxm8rz2/gWJiHs3wRKa5fb2VSjSqIUNkc3mfdqQ+FUDRJtsM70XB7PrYFEht2jCpxZvbTSstHnNx0qUjZmvN2gbvm96itPQXD1AKnC7rgUe25GNEoNH/gMRy1RwgCiEP+ke72+ttWeKkEL59mm+yTBlprLgE0/8eXqs5srRqnf0EsPSDYT1gErINIcijTTaD0+GXHiVB47ZTrUa18m70TlUkh3NJpdkkWApzgvodC3f0T7OFCyZ80tzQYeMkW96LAEuvLQArWjFpPLwZhGLwhf6tbOFd4Bsf6SrizEH3jtNXdp++3mtjpP2drPWXftplHASgOjUM70lqV4xGrFxpUsJ0j59N41tEwMFQh6675Kk76dq0daVSVP7jnKUkBqCDPPgLxBYWjC27B/AgdsDFJrEE7OUDYkGr31OlLkIG4OHpKyhw8/n+6zMJ4uX6yh47VllxEN1YYhDzMajF6Io2FAl7RKfF0diArq5FILNd1P6lcqAZjXLYDk2sgC+Lsg+uLOWVl2TKDugO00qOdkd/uMzoEZRFjDS7mOOXlCia4LKhA+Q6is/U2K8Gtxnfl1iG8ff+HPqL7/qvDq7AueGpGUZQ2irE5t1MQ+46dHhorvuWWIaS5oEkHQ31ptGD72WcqnTWhr/pxdbp0CgeKUmFILZfRbU4mqwl6Kt4W94DXapxOkrhXsGTPk8kL3NUuv3k10NVPfJEEcHMPNHCoiuWik9Ju+OJ0YeSg7vP0NluEfXeSgkB0ZatxIInP2tZyCwRl+/iFhsuhiupC4zSJgtHjrRkM81y4YMTJHya7gc7qq8nq6QAwo06rlgrLuGS7gIFo+voTwg2bGETwtZGOMh+iEoDU5R8eFz16nOr0gCoka2nybyPvrfLct6CVcFjDSKirI5hQJVC5ZaimNmzLDsm19ABYaeLG+N4N2WDUINRGGi3VmDCiNmSMoUsKuCSFq66rTlyZgcHzeGsalSoge0dzyItSGyjirPOzTZDx7Vc29UZvm3BZPeXw0HNMi+RznrbXUVzIjNUV+VNXJvPG7IlPVMPTol+mboP1xocJJwHjZheH9hHnhC+DAi+GfQWmfCGes/tNIZrtexOLuWieSCSu6gs+duuFbEe1jBrqpJ1oQ0NvCbsp/H6B4WBUiZ6OtkV4eJMtk7peNa9LV612V21W4L2kRZkS9fsVqn0+HnCE9D0z5oEh/1gWIsdxRTySbrfUtNG/JLqBm7y7hMDGtcWGUDs5zu+HMzqkOdbLzQdw9FEkGApo6I/j44um0kfZ1TVuTrCaKBSmV2u/xhQj3S2ZzS4s64Yvj6d1IoWECMS5FZpEivR3h+/5MdoreTU9LgXahIvWZYcBD6zMnNq0olrQKF8OyqaCgT/vGc2H1fgNgfj1yNKP2pbbnNJKeS1AWlrAk5fvuoJUDCqxFWtfl3NgI4qGrIT3NXyOLPXvjoxYS0YuLMe4vTuXcyV8e9J6ID2v5oTAxn5IzTCo4kDt/ZROmWc82ZQnBvwmrgyccEd2zRV7Ox631Ts4zOjKp5iOuuB+HlftWsrR0SqHL5kr/gSwdTV46OPdGcb4KE4r7/Ilg/B/p27HIp9gpn6RHquvYvXyBJSv3pU+Pss36KVumjhtrBiBzEsY7A6LpJh/YmqBT+13t7+VL1eOKLwUzaUJGRM9yADjUDZsxZtXVlMv90l1qM4Bhq0pspcAt0KqIXYOo/Hs33qp5l9djqPLh4Pt84Gmj+VxtrJE3hX7wrycBmMTZ6/DFfx2TdhQErjf3Mp+VAvLaTbbNZJiEUf38zus+yJeuIO7HY1DQCcVsvh6t07uuBnAOO8ElleEgl2+OZZ8aSWPmicg4z2lgroowQGJUryrTRwWTz+06VkuB8wNDpGZnOthcy4E0m2LTTncYDJYVkUWfGg4GsILkKRGpNhAmGFKQUGRkIlIuSsza/EU8JbisTXOyOOKhYEtN+iRxqugL4Do6ERfsTPOQt+Jq0RYs2m5mBwj+VNgw8OnUkv0lGxwobao/Df/Z5kZVbMSnW9DNXjd+oHwLK4HZ/Qq4f3utPfExrPTvLatcstO9bOanUb3jtGOh/8qeGJhtpmiQerK+yBVosWNm6gxp3GT/TIK98p5qjRQ1vQi2pZaPfabQIN9BWVBOMOluWbNAQoVw59pRayOMDOZ4oEnALWxwsAvZ9h3A+5UbmndNTUwy7ZliiktukG9I0nSi0t4ejPHlBhBowsZT1KH6/fjYAdH01DYmxm18LZNeieVyabltmRMZcXEkhM6S5FcUp8qYTnf7nxsnV3LtjnHdca2yX1wqnF5o7cvDGVqixFLvoAyyVeWs1O1QJHk9E5Zd9LGVoMq8mtjWkPLnj+pmnze1rJoLJ3On4CiR5GwCU3N5mM1tVLVzfX6rtX8d9r1Enmjrbcd7z2Bd5gZBL+zQt9EU88DJaDO1dW/6Mhu2xcJQyXzyWqilyxPxXMbx2RU4J+HZzY6om6ntx75du0S7co0Uje160dCaI8jKmf/zyZ0qeInNtJnPGxJ4hk4bzEjZFPsm/LjYL8kO9sRJucm4To3nlKr4H4yVLj76RZlsfg59mpor75aQjbfKG5JhqG6qQf1NdJpxOpNI3YgsCbol7uGYfA+b0l0IWnzgo78e40QjRn42+piC9Jhpchtegq5de6APhS89hrXFM8qHVPyQqwh3SLNNSnQJfLB58vFfdKEfp2GPtsHK52GDMqVDe6II1J/OFBWuDnfOFZw4nesH74q6iMjwSiOtehCwPSXT0h9Q0BuqYQ3MUROYdCAvMbckeA9A7UkevijDbIW+RDZx8crPNakm5gD72ofm1ceXsL6KYQfCEPA+iSQwaGWEblWGniEp1Wie9foOs5mqv+emM6Y6fPmhLvdIgEE87mYPYOXdrUf185X/wyYJkApG+vat/wbwbzxeMbO4IC2I3I3B930xYIImY1ZdTlK7hsf9uozDTQwUorfKA+NUi/DY7SckQOY+S6Zncx69N++Tszxp+9t44cCjhnjjmAHeqgjWJP8FRUsV2R2Vu/yy+hJKd0jLP9++0xxaGC3nHfLwRbFckFDGbtlKnVfgmOPCZ32fgX1dMlD6bZzxrdWZg9ukhoNSq57lZXXZg5UlIOfxu7c3UToJPnxZt17S1hcUlBIrKMJdcTALnISt0PtpQfHBgHtGBnFdkXYXXGu1um6FbRzeW93A8vg/zOBM3iZMdeQzWV7PPfgFuqTO5zCy8criQ2PEUuDQn4mFjillbuaUNcMyxnMEUYreSc7Idytq7+JmFQjYY61DWcnFQe+UDHKfP+MlAYxdiO+k97XU1Q5AwBBphq/n1zsQid3Evr3cixvNgNZdv1HiemCTHpODAOuhX/ibMnHkD1tJNLSrW/kRfDMUtBH0OL1bEeAQ4us/zJeDDHpbMlzD+9G/LqNaAApj28K0wA9doFm+a1r3THVM2FahmFIpPTJgV+2ofcRk2B4XNGb8u9rytHuP+bLWqVdbovwJlrlmdIa3kS8yeqMNkP5QjTydiw8B/gpXhedErhHY66/g1ARICh3H4YAuNp2KT6C8UJ7zy5796jQ/oASykLLWpjQj47077WC2tA2cnuJuY/36rd/ZHbSeIiK8TPY2XsEHM/5AXFy/1nxO2DaUJrENLxHo2kDZa9/CivN61O/br/qAMRwHe3L+oFX1spDqVA2/QHLktT7Y4eCKfU9h5af0eib7O8pxRvC2Dn7XKQz+Xat4+IE6VSJbQRzT9CI031yb32dFijl96Psolthe9RZeSnKLgj8Wm5QR+K6CXG2SHXeZMJoHS4BHp+x2qdiE+W5em8/054lsZzFhFBur2XqOY6ihl58E0F5NZ4qnVCShyWuwEW/s4HzEi+66lG4+H/4s+Dmq4m/P2rCaBq7Zt1pgRqerbmQv3KeR05jIBMROihkTlz5BjXf73yPb9lokQREe/uWH1M0hW/QtzA9M5poDz6mSLnf1UV4wW4zsaC1p2uc+swdA6Z50ujQG10NdwWBhPPqZ5nYiO9V6zh43otDfk4IlmPF8MmxeIq5PwBmSUVbNqVkwm3QYLlnH8zCs5Vp5EhF9Widu2unkLD5PVy0mHUeEBBvP+U5U7Eq9arZEC8kUHzctimxu3Bx+sLdAnM20JVIx4Enhr2h5zxY9Hn3BIRbRIH8LpNYkKnpUa6/49A+XUcrkVMRr72ytQUfAH3Oevp+CBjGwFjsq+E4b05uAUly+O9XA9a0TzsjJhPecD7fHvgLQu7EpnZcHDIz0Uk+b4P362X+V9aYxAXJ201efqhpNEdpeIxtkis2I7s8FkpgpXC/ZuEeRsDVl/qB3mCe7hHDx7w75x4iqGY1O4F2/vH7m7w7P2E2q/VM9e/7Huf45ZsNCaAQwIF1fHzMeyDgqtD9oD90nLOWSJOcICu+IsdBi5VStQ3SOR9ejNDBsCmoWBwSmBvFlu72pCx9tpsBupWrOyp76Y1P7GJTCKD0PBUTR9tq/5ENkRCWb8oZ3qIpbLizHFx6n27iGsgEv33Kt/Ugl8vmCsEZAd9KeW66YDU/f9frQjn0fR6vUoChdKvddWRyDyGbVgkvClxlOAHrXH7Uzh+ke/ZjRI7vdLyh5li0vpl6l7yviiSQg/av/6Td7i5+TCNgpMBYrz43CE+fulyiGG0234rmcNAe9nfguc1Bz3NSSe/SqScIfUsuOln2LvfvL7uKPxaX+HjsjzqIcI0e1NCxvO5Us4Ofp9BKx6APjCWobqCVjByjTQpZCIbRx4YHXgn9eRzgeLkprkDt889pPTwsfIOHuhhanP18U/bvfwWo93uScj5AFXQPinVMaLEe8jpXl9fvbDppu9nrljs39Ifg+YAPxpsGMlJQYaU/+WIsMETfqrIu9PHJaSUG1hkK9ZwLRgmS26SQ56L4EbpsB8m1ZxhMnqWK5c6xav8rrq7V+pHPLcBIpVvG1Z5hOCool5OcOJY7hKZhZlRFgqvovXNBO8VNCVh+ZwP/fRLmxICp2sLf2IRWcu+EhMQaxpyNIhSAKnz9+k5Ph/5JU+rqHDQC3Tm96cE7SRVlW37tu1IGCCj4hFFrz8iW1Gpl8CfleJh5wsxCbWLNFyAAG8mt1Mj2Tichy6phVKJmW14ZJx1ayMixOEvACFfVnl8lcgRmGkW5rr+ITeahnR7IejHw8R4nbT80ArMtDRsF1jdcmt31EJekDW+6852wSGOT4CTIhqNi0pugcBJq7Mz7eZTmaKrGS6XOd6opF4av4b9hrZXORcfcAGsAXdRFi796bz00YGnv+Bnaihoj4owlgXJ4eYfeHCufF4pkZmGXGo0atG6CnJMLRCX5gKdxnjiCk2iei8EMVGJue/uQbJy2G4F/ggjiaZAGFrwH/kUyTImgeB7hKlbFcHw+EN74Dy4Y9a6aNPZXZ9h5Sv0kHChbTYdu4L29uArZc50VNZPgZ+SVj03qz3ti+a7qjeQcV4Vplgk1f7haTL9Ess+b/HkAbMNtn1XfdGzUGw+Qf5uIhNoMDPm4B55CIx6oqogCFeW2azBclE2R+d+Q3ZBQxEHB5azWMmOspsZiLuOIywJ2UYnyMt+sswckKhkdS+j5lbBMmlZRC+tTj5iyYlzXfxKcD1zKyMCXVMEE90I2bh3vw1Cs6H/f1KT/qL5LhVojpdqZbvhfdZeK4GkxIIv7y0qZHNyR+F6cL/Q9QIf0B5XOP8AaYbiYPrMx+hd6G2ltK/Br2PXhierPgwK2u66N6MzPaT6L+bSAdS7L3Ly1R2YnUeCelYRDgz/jR1pFQB6ehutIE5jfHxiQQL0YdmLe1hjmI2/B3PUW/AUtUI1kzMeMyykmEewadt9zIdzzBSgqvntS1prjqdJEIXkRlvaCzE9NtQAfsB2+aUkYOgB0oH668U1nzKDS9gZ2hQQJVe16HvbaOBoqa7lx/MkkNxC5uezB0kb0ZPnQt6qVLcZ1k2zbh3efRXnN0/ALOCyuKRiMRX6ssceizviQwD1yc4I9nO6nqH0e/gsNtYW4xAy3LWCbxxVl4AdcXPMiTwgHTcQb4CmF8chqUMD0cAFciKENPvnMFAksj5SgZV6+t76jevtpXmex+UZ/lQzbzyEIbt8Sst3NaiAXaIfNhdXlTrkw5/+Em/BTZK5FQtCy5/RErCqjIm/g/6KeqK4yghYa8LFVfxV5VHr4rAmOHYzIrlGwYth1qKWIDIeEO7kBhZ9PcOoqR8d0Uvz+ZDn0RYFvN4DRWdHm2RMhOzzrHjlrUbZH2ARGfH0OytDrLDUBzR5f/SgaesoLqcofaGL9+2Mah2guiQSIxrDNsxZGSryNx3YZDjjearqLPxW7uKQCyZb0R3y7EnQ6PEQndyc0OokPi39nuPhPSYC0oafJfwip2RATvHLmY9TyLN34kp4Eyb9Bh9UDq2rZJO2JLEIOE40QWVTYJ2CAl2cztIlrmGNKOzJ7E2Vwp9N89T27wlZMrw6WGbjI1Sdg7cWfBLThmbhzLZhwvAG9vbkUnYYdbVgbgZUkRSUUUphvwgB7iQQEaCm7yEmPRKWO/qlf1lXQMTPhcWJIGmxzkQSrSMfubDrAV9chLNkn75iEI3w8PDogMnB6PRSxeqUwtyaw1oXAcR95gF7HW/YJRE0hD8+ZoufQ7eHn4XAfSG81P+tSuYvtvweVNEL97hQ0sXM7A3uhmrvxNhwCb68zxvYMEhzCL418SQ/A4j6P5jTpt0c4Mjcja2hLCo+XrNxtOj7ISiZzhxXzAOfFlRsYW9jb3wavvUaUWvqb3SPM2qQK3Om1qOiFySHXY0vSeOVTiCUNAkwq4NRzlY3fz5hm8m7LC47cWQd/naZjzecX7Fp3VtTfheXbIX1zW0y67MOfmga8El9m260sasuSyZUyfNvHzETxBaxT+qYsDoFS/sCOSaKAbkQ/aReIWH6yfhxdfcpxGtSVcSpUglDKHg4KOjUbZ/jr7fd79l2b7XzMUXyMYPMcBuyf5PyGrei/CYpx5+2FgTUO/l0tHJELmDhZZ14R3iucJY2Ozjqt5GLw8jf6alhdZ/9RXyOhMzPoIbZqottPulNAFGl/jSXe66RE2UzxPjSmTfInHZV+YlpJEjiHzrdvpbAE2YyLY9FCkgUYwWeYE7N/DNf6ShSMujpxUqDiW9TTwJS2wJ3lyLJ8Qc50daRzEgRZNbPiB0CH9Qt8BoNAU9m0GNZMnoo1OZ5Aj+Ky/ICFD+tGruksfuF1jAOrpVhimJ/GXcVTQnpNgMLGBvG50IQrlYzkiYJztu0JW7Wa75NCsV2u3GMuQ4T4+l/u7YIN0ckQeu/R4cggG2q7Zq7Q27O8qI4EBjG9NYh3uUF0rtIWTkWRUIup5Lg/IBtRtqYaCX/APwff7GghN2epvE/LJbpXW4RWxUqU7korkfzq538bE+86Xy1YqV+idseJRIwZAyY76zQizpTJEZgYMMy700m4bHhBOT4Lja18iOF6KTEuWrB92SzyHKLCZNzAFrksius9VTnsLGanARhUbcxFxeGrL3+Xi98sXUC6fOOjqNEAP7AQSO9k3I4+kvHQ3QLnmRHEW0k7EYSi4/ATy1G9kxdGIBWvoAgJgGoD6H5JRmMx66HpOqHd90KlC3Gd1vjrI3DFYV5CZNJWnuIOXJTXfz8UEggd1Phbjo5jRqlhtmyJLfKsUIIfuKVf3MgKsgH7sECjDmpcrteKmc0Sd0ZXwRLpzDceU7G2K6d9U8E5Rb+kau/SNE5lwAGt0XXCPpKJG04T6wGEq12WyMuNlGY6bfgzumNv7paZZfRZJHqyZVGXny0+Da3irNxtr66rlG/H7Fc5t//B9FAtP7Ygz+xBDFkngade0Zb2Q5NYHKfFx+OlsIZ6XYwIlIJghQuq5ybyt+/1FTmSd1XxyoDKOTb08n4un6MFCWQPiCirnlUUZcCCaLHbMIjMmf8l1WtMSqC+x38175/5d5aMeFoEZR2W3Pyi7i5my/mOFHgwr3rUs9SIx0mNSUck4cUR9EWZ7jjy1PPm4oPAgX8JkWLltkeIuIVzRvxOk8fVE0QFLQAXIc1xgnUVDagCIQ8BaRlIpOSse5MZv45ba7TOrj+DNzfIXiHzPN98AEMWvTCRimI7WRmgWXVpG6rQq6V8lTpx5D2sXxoakvoKhlJrk67yPDzH6AcTO+wAxC/GEhMeUHxM5dr36q38cS8Rcb7EkYD5GlV54rjC3JR4zQnW5BrBIS9kA6++/fsZ6m553bstEH4gKuOKiSJw9/7joXFiO4uZOo+xMZ5Ors7Jom3kxj4OlKd7Sp/VIevP9q6+XkwQ9FijyXscCshx+ADvzKIxZfy8HQZ7E+Cw6dOMZb9ysPGYMxONUUefbPPA6KNlPZ5q2N0QZPcuDUXSzjOReSMocROi9ABWD25BNQz/YJSL/u+p3aCJ3v/1XHeA5wHfaslGpWkhnrzjW/evqPbNPtjr+ViIWglSZdHU1BBBTNTZzbckYgx0m786uxtmw5l6Ji790YBZe2+3ngHyIV1u3Q4fRXPMHfvea+f2CCS9qWH5pnhS8nWxLOX4iJkneAOKFbXBIQYWVaX5eKCH3wnW58FPrDjQf+2qcOm830cu/uIEOWH5MKZrPgAs/ysWFwUgg+AXXvMZ9xTE2n2jESp5LUeIP6zdsRDMFfpCoDYsgpwoFD9sjXHYRUGKDKXOSq4YabBWp3NMOqe4mhdn8slNJNiW8j2fMYjoziHhI2fXhKgbwrCtaAhhWHsMJDz33L3QZ0Rw76cEaGSzIlyvcP5KKP72HgWj75NWSV+fAm5E12a5TzAG1YeeipAB8SAJkldZ4ejM9NfKzo3sqs6nMcV//ivaMC/PyMGizqsdPnByxOEiBt5vlLQV2JitNrpsVQjvf8STznr6jqLBxeEDoFG7TaPSRzW35oab2/xgNgILTgDIFqeKD1Lt+HXoa0ZQj1h70dIYbagEJv5ajBbu1OD9MD4wd2yGv1t59BaLwwpEgPPv/L+FgfZ8OXJUXpyeILVf5wwMENUtadphQds960ZixsqPTgRYvFbtnROHK00enka6ZJ3os4C7OCK0+aaOeAHQcOPuh1zDneA9AC+MyhPt/4UFZbo28MDZp20ZADBst6I2vEXSk6nm62Rx373bnXhGjmqt9cMzh5oh6NXew9ZPw6jeP231jiizVKbPUmKY+vDL5dAX7tuDrxwf8UB7jyzar6hIaN1dj0UtE2vemLR235idXhBDLHWPzjMiNiPT+niS15eug2mupAxpE/0yzu2Why0QuuIFGBbzMbyRv2PR4DqRCCYl3bMFWlWFG+QoBGkcACnOD3r94LfYjbWRbdHRCEoAD3M0oWvnov3ItgQQy6iXcWOUzfsUnhHxvCTL7Z4lF0iluKlYipTQb/TKAS4mkA34YMPpkeXDfbTUAowtSZjw6xna/nYUeyH9E7MBlMvL8G9SQpf9DSuaH2a1v86Nmp+K+B0oOgSfF2trcEpBUJ3tmD+O/wsVmVEn3hNDluEataorDOtHW3Lq7LvPhQ1Q99QzM67iKe95fgiVcyB0hgUhGc7gxfvi9fLqvJk+KvYgwUONxegBaTE67t8yqhhTEaoTZUhPjPfa0VZLrQZ1L5OQfWRfJ/hepqs3/4p72TJaW1x0krtvRtMDr8tH50UjSykUwkaCwAfUN4IQropZUk/xgiapAidFUc/493PNHtvgyxpAqk/o7sWgfoNGHsitEzpSOc/LvL8mnHlS+3F5RaAK9oeLvu925en0k+AlcNENhEoTndy1k286cfiSJR1XY6BnY1w3mqpNCnMMvmy7CbrzkP/KJvKx12cmudTTAEov+wyWpGc6GTe9i7Pdfk2bPuGVXtXQPY8exFkTuVP1x+zBW9u5hgyFOKsKBS6kqk+WPZNXEFbXbFQOZIektNfXnkt+AIdPCPhcO9uTjY+3e2w1XfvyRgyj3bHtJLZX4c1nY5/mZhSNsl+GpjPGMTCd4zSbpJr4H8v2drWl2tx8m0oXVI6fMJ+5mju1LU+vtOqOqVrwFJdJnOQUiqTkEPMOV24uFAzjPhDyMhtnvYPr8FOEMYHMzt5AYLyT8l3jjn1mXM2abJEO/2Bdfa6iOMWK9HI49GpGZ4kt/TITxWf/uaVy9IyE7QAalv8bScC9rr1C+L03nkKxHF+4RZ0KOtj+C0I9WRdkr9VKF6JV1MvokC4ikdM6TH0a3JXSZiGPrhh1YQxeO7E7re040gZ2tUlfJaoDt+rpH4f2f791BUc4U1vGLimpq1b1+2eQvgD5brioai6DYgMo4HjE/Cm2y5+VXkqZ/obtkpD/ESDR0woMvlrS9YB4g815VVTHgLNWMTTrpI+iOl29NCeQJ+/Gbh84vTRc9JwBkZvvnbr8kCt6YmCwrUvyP9BdIwOfSBDbJETlNiStK4ogwQR9dZf36Nnj2eW2PlZ8mIfuwlqNGQFaqYjZSCzngMRBXbZyxYAudO6gjX1w3oRp55B1bDgQL7I44CIhJ/QPHlYi0Jez2qzYOhq3ljaF3DFh4U6aZMvNtHpLdQ7zAJVHATNUpWvukuui4gzcuI3k2qvdAMAuMJzuuLnyjFhMLh/FfdAM5VrXhnSkre0KxnhPE32uTaE2g1Sbgq/sAkk9krowELvGE2950TY117Nchb9r5RHFhzx+qHWNix5mDfrBruAyt7LqZNVtsUyBCTde/eTj9ey0CFTwMFV/iPdH9sk+/jJtySQd1x/hBoSAj9sWCz7JVtzmSJ6lNaxgKFSkzoaFyyy0Fesb+qCY4U9exhH5ol9gXVqJY7UnlrrfvlFmr7Qh5UmlJX4+6ZQAUCzzD/V1oKKGaPCbVjRgHbTsZMynsgiVp43ERrbFBkomxUfCmjMLfS7rgsKs2M4Dwt60Z6TbPuQwDMY9yUmsOTFcC/Gll4moXlDj4cD2RsQw4J4ENFj4GMJW0k9qQBM4q3v9tQjnlwwTrbY6V1TahLWzrjEB9ie1LZiFunm52P0HTbh1nH+LFYfvKfC9JIXw/RLx0GgFbBh7TZ09ds9+yu+CDko49R6xU1XC/NJrgYChaIMyx+uNyf8aPWVXEjStbxqybTRE1OvXsDnAh7MbQSQMfvAzJoXyK3y8YvlR72b78oA8rjf9Pu3LTaRVqAkVPYDHE0gddNVOOYmLTLLuk5LuntWW/Km8qRmJCHn/BGGsNgFAR5JbkMT3+6GVaL3jb+glSofbj8DrKNy2blxi4JHqoDV+/mJE8vx+G6+sZGBmpUAWoW9z+dIAsD1wfOG6mw+UiJKsgMRJ/erO5AAgFgKMPKq3TYTaUIiMuigm9mW/yNoITQ3YgPxfclQ8Aiqy7g19xuuU8U0IHA1GkUIpmM5yG81oCvUZKP1NZsUFhTg436iFBJxKgOKO+DRwzDNS0GBaiBB6puS2Yl6ZQhjxsE3862kUdMXO/ubm+/E85sOTZKCbWaDCW34ZD2OkugseWUNXp8IgqP1oO0KWa9jvoh8oTvRJdKtbKLMjqSXNNiwOhMbHIzeTczEVZy7afz+nKIOriiI6jj9xH3hp2glg2zvzhHHqFrnLhcQtQUb8VR94nAFJdci12maVzhKGKC2uxoNwavL+0KPdGJILEI0pdGhGKwrEPfva3DGd3VholJ9bX8P8BlZH4/s7sfw770BgBNSLF6yURLr4W+5d6q1fauEySz7Qt4IQkrWAIWBEFTdawlmj0OHsgG0SbYjaYSfzYEK80X4KVSdcWg81ZUjcdyfluLoV0+13xwR89KbInrgCp/DIIUplZYRLm1LhUUdyqvM7AF00gGg3nQdQZejhnk1QBjC5vCqDKRBrJKW9ndhy3pWWfhxS3XzxXSzD4JbHOWC9vbyl3Da4s2I1F+4YprWtw74a/ZMy+XOaouBPfix+So61BgZeU5NYkacjTHJwO3vCALTXXfDR9sHXNGrdJ/zgbunWwwX2mnd0Jlppg5UlJ+62qT89vaxpqq9bN+ef3BuWXWBdxXRbvKSxKX0goYjNefE7QKHmll/o9ove6TwUTCvOLSBgFVBI22XZjlbKQrz55IjF8JRwfJnCUjMQUfN+wpEw+7JOGvImKUR1tc9UWRVF4ZPhlGh/kkAwnpOnK1wFfR4ONFoMLotr/pTqxilKUorLYZDs2jhYAelfRsP/tYLZjqXqmh+56/ygF8N3GUL5sh6PjUAjfMMXgwUmeDC4yNhdkCwoVvyvp81XFqWXTSZYtu3P1pLELCVO33905rYEwzB3chF4uAPMTgD+qsJFGqBf9oocW/6wgGRW8CNp23ToGvbX0n8AW+zyiMLb9gqleDU5KnHtghmCvqCGJOFaiOddBNzNEZvT6g8AWMjThkwJqam1P+sbgVmADy3KxYF9JVuV97mOeOybW7VULO2OnX+0uO49eDMkmFr2StmIx2yJdG6Adc1XBYWMJJtkZf7TgSqVF2Tu6bSxDPKyqRvkaKIm2ZbH0SlYwNsPmmTdTMAFOx2YFIlv45ji73aivQbTtz3Lu/FsQNqLzznuJVDVF0zM0/D+yIWz2K3yHWEfJ6jeGtGpw3eMKbe8B1q+LrdAUYqpuSqBaK9lJSLgHv2/sLLE4gs0FD4cfi5nftHvw1S4FQdegAsVwV7sdnBEwP7FbCp8BY27aqB+X71SJnDypNYTGu+XTpzOSeQzrkD4pj6pZyf6YJYoay37cmtmFLsW9KJZRTDCnNhpVxtD2fhuoDy2V8M+kQSwa5A1z1qf31eSLYy2mR6VfghW2fodUVB6EizVZAaWRYb5LOKTFGCEst/9eEF+cmhEm8Tr7BegbI7oA1vegV015OZl524Qde0OX2A6+uHyECanSXeSiyG47BUWU6NUxvikkHHaCi+hYhGdmsTZ4G+OgGAZaaaZVZ9ErsrjNBs0vG6dWMX7fywH/dmUltp21vf6GJ15oLtolM4QUXrqAAnRIShUGdcVsP/S1EEHyReIbk+sq93puZE1dF8TUlzdUhkxcB8aqlDDCE/i1b9kTEtpiLXddlpkoyIsxMzQR0s4vJQ2QrdKmbWw58TMao5Zomx1NmfQltm8z2FCqUaeyBd678VpxkB2NGRQImkDlN/uV9m0bzwifEeel4or1dtgriL0V8GcvqqJQi1AMc/HYKnYQ74YwNyRHURvY5IAgEwS1lvmclLH0ezq97ZWIOTp2nllkYpkIEBigeXUyv9wYyYBC8m88VTrBII+eC4WR2clJcwwSaf/hnotHDu9KFj/l73KCfMTCqDtzZYxs6NwekbrtdPgewcBCexY0UNXgE9ATqm1C900ZU9QRGFRSLpX+/Mbk+LDxtsU+kq/e1uS44R8B9GfJkfCC2M7v2RZ4tiBGkJHTpgFbg3VtjmIG7NObKK0BdLOQPzEPf+piP/BOz2rY6mNXdA+1P+XcCv31RrEM8qaJjDadHAYwvJokPcZQSIMqAtEjCG5SqMERBAiiih4+wdJ3epY0ZghS+mNJA6ws9/qxyKpDVOqxFbG1yyOrmmTptiw583bwDsSRglQYnfU6nyInSof/c8KsygmI3cSI+Bb4ldfGyUqyMh/6+SPtLKwTVksfiOmLa4QI3KO44C+rvG0ivQL31upsl6MMuRCq5Qjb9biDEvtKJSpdAhvYQTYGzkV7MLEUCA3GGWlMBZ7F1bhDeElShF1vY5NGUzXxi66ggLmxp2sv3vhXBcs7Lazrx/z0i0FInzBFeZbE1NSDdnCqP8P9PkMI0pNh9gx7bPn0uGQ4QskHDcHFSEU/a9YLkaenrT66+5UZ3xJHVmhfkvB0qgC3Azrm46w8Rvp0j54rzoZHw9JOI/1QC0D3ElIGZXX3iUDp2+CUlw6kxEHutSwdZLoVWf78CnHtMRQKvX1LgPR/oGTeplmUOPGxs/R7ggWi0PblfqmG42zsITjzDwKmv80+oXvX4pZJXx6f9EHeMXFIxtn6KHZB1PF7ZfJjPAd1LZa2sWpbSlDxCBoYpdydEqndNRFWT5Kv9UFkvd5GyTbyX4QpqHMMh0F6PahLpXoOyj/TzLaVTTUuu3/S6aM4PsJ7SML8EUdrF6YOb6gJTmsq5M8AdQrwa7r9jBQUV2KEs41OkJBZ8dUcIDedLHA6PLtNxuiSWQ2BDkCcmSY/LauA1a6C+Yks0p+yzDfkbrQn9xYOZFA1xrpmc9kyqmPPWyTQovEVd5KwRAufLU21AQ3u+FD+ytwRewN7ySqvGxcuJQp1jG1UYQ/SqYdnBE8ah8e7HP8KOeyovXqEIOyFBKijtyA72ESYyYaieoNt12x+9AnjQTlaHdxll+Tpu7joOAtA9ExMsCP0VbJTpWji8T1pdyxZ4sJYXv4fYx8pYTkJzx/j9WD2iQLb8Bxxr5bL6JZ/KQGTNCf8b5sx64wk0cSrQDQngad+b+CWflaebMFw52srwn4r7ZE7BEMpduTz3zZM503HKbrbFpKgETDlI5nrFZikfHAWeDawbMTPKGHH1u8CYCUWrlOGBbHTZPY3pCxWHpksOIG406LSvTfqDA6H8F8r4ugYu8sJr8FrshC7TeDEJ4LQ8bvuvtZrTZJH4LYwWSvy6vv0mrLHgZJ+o59hLrd2Q2/vbcENkt7PmWEtOjWXY5K7vcpBOm1eRlzlcRgbjD7EmFRZKMZSqoweneAW19MZDDkvU1Toy9catySyBzHGe90IpsG9KIVpst0S59AxybKo4R+jRH+X6DeKEtybKJRH0JoxGNalzrCLM8z50r+RUOIuize81RdBgDyS1tXw36fQRumnp2R3clKuperZomCo2fyVRl+yTDtdE23kvXa298m71hRvSfTh4oavV3M96WPFJh/u9sjHBuvo4zpvHEv0aarm22ZQauWcP7FHAxg/PC9Vt761edlA1sOnWOvXGErn9H/lnn/XOJLLSsyZXFlLYymKw/9NMbWdolWoDZkq7FELXXD8/8ablQnu2msMmz1Nv8yiPaExyW7t8pAe4L+bze9lfEQfvyA/Fx5T5uIRrPlgrwGUPxXmlUsIOeZbn48rX5ieNjhBt2iExnI65SBpRC9I7SLiqpffY/IJisS5bsF2HRHD5Pig3ZBZ/mvhTMVB7pXXC/qKohgoIRLx/SKkeRKDGV6LolH0clis3G7SbnEZl/85syehSU3LTzsXECLwgZbgeRHIgEFWtWQOzB/4ANzsUMAO6GEdgPUsxAHSxHcDREtN7h/U/RVXK49umoYN9dIXpVH+PL6afSr5hJ5fougEMgKDF01rbrIGwnphfZl6yPWrN5V2mlyODKcm1Ia0A/d9k4VE17Yphjxitzig6o0v/s2TFN5ImwHXiZVaRHTbWaYTny+ncTsFu4i/lwLsIMhdQSmvIeyimVht7brBjAUUYBKB+SNMvbGFbRSUlqmP5QShUxiPidGBmWWemPIUW/RGyacHFZ5LSbQNxXu5AhL8wzS9LEI+V8aNM57y6Ds8WFHleFuJgcNRx41yCMVvxG2AJDMdDJkue0msCtE0t25Br/1JFSN5U3UyLP4SK2rK7S1fmZBcfLjGgZ5laRXheEYoGwo8ucsylFAKLWau6hTlSENHpqH31u7inNEqk29bwLdDQNWS6rM/w79GZIk/wFhGfaG5VrH4w/znQvQDYALKl5aHJcPwEDJPZVunyCK6LDw3tsxPepzH6eAiF2YkbVTGU+ddILsci03iYeaCowKMs9MUj8qU6XGy3XNw9w0ASw3vQlBeK5dE4htelizB7UKC5KpQAozUkts1OC7C0Is+WSxWN24/qmpeWospdRE5t4w4NdWZbuWLbo4aGkiPvl53c3Rzlco9dZ44Xs5U4uJO6WyW+iIs82yfvafkE2KMqYG1e0tfT45PbhTetKV/DyyA0YXcGPUZ4IQQ0CZ2+CbpsaAdyOVpvyEkW3GLkk8SOtR/njMMMMybkHCMsYSdlw6CwBTMOtCev8iFV43NAhNoizzNkbkWAPCgfkRmH7Z5XvGH5vPDgHh8s68UxI7iDGY8pxDoFXMJmyJxx7WIg5/URi3ve5RQc+lSPjkke/mGA+n9ZIi6+kBS4TJd0nmqUS0eFDN+nMi5Wv3nUs+c3c3uBiT8L+N5xYjWo4fkk9zF7MSg7MpCVzWIAoQZopYrZVv98IXz12+ZFzqefCFPWTo8oWxD1Hmgwt8UxwY0joAO0RPCgMf0gJKioXv1lYxlAmDzGEquXZZJkJkTfUyBcyCdRbfP3HEk7zPMOCzc9Weglt3Rc5pnXZY9dC+x+v2w4ielv3fJT6cYfhLuiLBi7uGAl50ues/pfh3881kd/NALKB62r3XbuNHtl1/OgGpsTAHEKtpXjsQQn6Ulp4kOgvv1H6d/HaBLM/uchsCzjSSXg3VWtUkhGHuoqmL5dNQOJxzaCAdeg4vrhW0/V94EdGnvtNl44rPNMJyAHpLlayHSjRBz+M1TOoYjr6cZLmz7HtLAu6I3L6/3nb1fJ1i3fuB8tmKNeEVuj9U2RB6qDyilIWLo/q4XFFwKsdkaubj4edCQ+3GT6T8/uEF5U56js9S1OVaaXfmSAL/o4q7nEuN3Xm6IEka3ROLAGzfByPm4EPI4MsWOtXky+eHd2xOEER4D21uI/eXyoYQprrxGt0ucWwtzvTFdbbXrBJGylkhlufWxSFkzHCfO52XtLJD5Mxp5xHbK9lGkoWaCYLsMgzpDFkgEyAmVFp0hRBOhfeGODC0dsRZw/VFHG1/q7z7yhyFR2cn3GO2+sbhZWADJ0iaqyel0+Df8ACB2MKic3UgTviZ8RjqX3IELrGByslHH0YbIkVX8cjlXmBi6M64uqW5L9TKVWFAsUZ/obH22DbI6KLLQeE+701pfCvmRJ/h8mYopb9Y06xFIM/YzWAZlJiNh7NifRe3LcrJ0k6PWFeCskt2PZBXy6uZS47zhlRxhPi503jj1/gCpUDG926+UULVF3reHjepKvVZpjxV+UorxLb2U0Jt8MbCzGfsHVlz/Wo/5uB9ALJndN63zTaldvrijr/tIW7zH5nC8j7vUpdSTFvbwWPOPbuoTgJ6mv9uMl7NvelxcTwo7D1YV8wuyoP9L9nUZU2wjWRUCzlEWzcGZsEsa3uFVwV0zabRWyMiMgwaGc54vVHje3dAUISynd9D637YnbFNaByD/rKbKxR0TJ3EuiOJIuuDQn6N0jswv1cbnmXe/xWK7XkLIIMjzwL9Xm6jPR67iLx3SS+BAPQwksMPbso32ICyfr3Nxnp5yKmrhqZK4OcFVr1knbee8gwo40B7fnn4IJWW1KIyHZBJK/Ug8Z/XU6k1xwmu6I8baDtrcLoJwdIEwSt/GKy2Ja5YqfSYTPCyqx0usNTymLk8BucJ+KLekshyxHSaogn3dNvA1a8QKD8ag1VfMJMAvGHL+YVUhg0G1VRHrrlM3FyBGan/L/L5MH+vzrTRoOKesUUyxgDoAcTDQMEzqPG2VIxdqLCo1IsKxUHRAVaQDFq+WinZSZPPpLPABujijBQiVXTmdZbCnKPfCxvgYon3nNV/tQfTmHDbyki7NxK7N4JQnlDnhOzciWksNGvLm54ObtjdfX9RqA48oK5Jib7yZF9zYkskxmbxHpHLXAeU+fwXTtyNXzEYShA+QlH0QvehX+exjprbf1xWMgLdF62UkS6vaMaBfweRUwyVRd7ogpcuJsdldzw3Gb4I74zXWPHrlcJg2YN8HvvuM+DoApxEAPA/gRw27/QQsme3Q1xFJPMOlI4+9OWACpagBbfzeR9wFp/syD2bCr8349D+k8zp04qwyJJOLeu/ZcRdQBmSKY1/qSBAnKWl+mAsOlwYwPL23DiLm9/pyGMFR1k9k8i3XpWPk8dArxHmnB3QeEiWTDK70kfzkCaf0FdLZDrSEwPCWKYqafF8xDMnMq7TBo9/QRwWjK6UMxA6I79cXpoqM5VSukr4I3GVJaPR9QnEkb78V3fOWOc1UA9aXRfYb+DkMkv//j2bqnDiMjwBC2fpBjuUZYWAkD6X+ik26bAb8SoEOGZW+eDj49gQDgr3CFTMomvAYIsPhw6xtq+OMm84YuRnpRP30fk/RJ7vPiv0QzF7zw8YXtEJdmxCkyPNwRtJVwgrwM+pI7/rF+E5xq7sFsCTrnBxoGonmYj6WnE2udPaNny9dUotlhVb4bNRIXe00yu8yy7LbAbe4nfN+wc77eSfG2C6DsOtuQwwLxZlXaprxGt/pa8YHhbBNq1y4gie2nNR7Lzulo35ot/wL3aqOxtRmRiWSfDXM8YmYHqwzBTfMBTbYcO0en66jUOtLIawemO+05gM6EnQEh6tziUDDSbPvvgPCm71hx9lqVGiaH6QdmEmw+eWe+L9OOBkgSHyw4zcQZ9MKsmDIfwmRozoQLHySxshFYCXNX6qVOXVFsid4Js/SO2PYY3EiBebeCd/arHppxQ1+xwVDoemI8HmuUpyZu5VoGV0mlAzUFKeYVIVGjD6vsy+R/rfAtpMBzkfgt41FGgRs1MuGvu4DZ4rwnKiDuf0mx8sHLP7mprs5r0Cjsvmr4fyhroFhmCMjOHvQi++bgKbRXkvH7IVSFmC3rlGc0/KmCPhf5FZrCFZm72yovlzBLtaNI38oyyjR9K8cj4pxAOOcjisTAWOVyXmUB6WJ7j++UlGQypTDiDxbQ2UbUwTJi9F1LBrP8ATt6uVNuk7PltU4l+fzIxTMgYay2HGbNPmEKye6VABYBUtV7xv9x3D0TPvmp3LxJBOnEufORjMcb+kQXqdsRMq0Nz4akT1tMVOitEq/rsBxlYrdKZA2ug+OfZTc1o3nDZo+nnvKeOD3U++TvfcjwSd8QlGulMvMaRUJmGVygqERf2WR7a0OVvQ8s1PhBdxGjNm5MvqdSqELDJRNwaX0sU0YN8rH0zMO7D3rBpAU8IaWTWN/mzcrTzzMsol2TZ2pBulo8x5V5qO5li25245xUXI5C0ap/HM+Echu9k34q8EY20fszpj+DpJxJPN4nh3Cna5u4qx0fwqW4QIocAMnfD4k2hrp2glZO0CAm++saoomz2SCPCqiZ7DtBp0rmwuqrwNsJyzJ7lu0RuCFTVbTilmtTSQGsd/mDjOi7hN3S9W3fn5DncKOsQBlse/ttgVaZgcIzfPeg6WZTe7kJvVRNmbuPsgBLP9aGy72aDWleH4iOZ7r/tvdbttp3728YbDed2Vhar1N77Qj1WcpraVOQzXSMixoTGNKjQcUMpbD8xtkl10Vdvb32n4Nn9YzmGDz+c/K0oFxZMgGDiqpFnMzNsy0mDsx556Aw+hN9M46uWBbEbOIsPamxjxuzlGQXIk3/CC99/zuazrmXMhYvGxdJPlioio3khLXjIlAGikt/Bh8MmZOZ3wsPBqcSq8jEABB46pdVRo3oShXujUHI2XaVK/1Qfib55BLV1ustxooKDgoxsEfgKbcoWhuAaz2cCrM0aB1QMdzX+99i1DQZ22YjeJlIy5zyLbZDnPxTdYhxInt4mER5JDcxNxEUzl6gQreotChbOy/qghLryad2OLfX5P2gMRb8PP9AkYjyWppUBfx4VWaP48NEgLFTDFXjpZOWrVNH4JbpjpDGLJBA9k2HJqhIBc4nca8EM2EWrtDAR2itM14feZo+/BIeP7k2+RgjaB8QVVSegEG17tSlth6HAJf7hrMS/HUE8LejZLs/6wa36K1n/Mf8tqdvzvfYhXeY/2J2mR7bSCty+WgPyPx4MDqA9oVXpcGqofLrZ9VpeaD3lSpa9JwogU5Gywd0CxH+LbSMSkr0yWp+qG4pwaXJCT4/qxFiFK8YutPnaFNABz/02gG2OEsm5KzOxHHRT3xAGrqye2xEwwjXdd9RT46vddpbV7gEumsHFQq5DEfT5y8H94f0Rcwpuui9xDCAt28lu6471UYsPuZJ3ag9KPHYSbsl8jfTSTOuE8d4zvua32f4tNb44B2uCEuzcGkCuLXsL9sm9eIa4Uf1d4HLY0J35t7JOHtxLSO0eDs8x8hwsMW6x6a8NLNq5FODZGkkwg/eMYO6zfp/Ayb7WfSEt11k//8KWA+3LnoJylz+xjDDhXDQJTR0huktRFvjeMe3QBNCsBT+9j/l3aiftMaqixKa1iUyCx/4fwXD5pch8GJJiGLHryAJFgC64dvfRKttA5AvCeiBPQF+U+tviGdWJiQtj9p4K7rHdI17Vv6gwN0CCc6nZqJNCMrGMNhWwcoOHJ3H2bxob7eLQMX4wnZZx5wCp5KGv6HMkQIYKl7rehU/c+MSQj7+K0XAgh1ymmAOcKrpdffaX5NFwUZ2JZGjMjJ7+BQSulVpSqpzvSUnTR+ly8go36oNs71M2e5RCwPLwY8XmH+rz4fyMKIxOQUpx6MBA8s2eVxQREFd0D0pIsVnzoiKaQP/22vtt6lwEUcRmuahG0MrOx0Q/qeQnNwKq6s80vC94SjX/Usesl8SeKjujYLKxcJHmkYqe+oZF6HpqrFQvdvsT9+Njqi89Utr3m6T8VmRYOgmUZAnZLI8KVrBGZETXM2nfJymTn/FOQFJxtf5sf1Ar/vtKzkIreJJ7r5rYCBM7wKJT8FaDOa2HXvscvo76uK98MP8KkpdsQhj/gmfHAvrD8JmyysLCWKUh6ZybYBI1Ixh8tNpOFH4XZX8Z/XYVuTwE+id9Xc46uOA3i41pZl9AhNHBJa3stQkruBrelrGoV9Fu0LUUsBZ7BFwVYL5tqFHKsPOpbIMiBbPXTSiLiShkIzVpXHC6F16YuAkhx054Pv3z3MoDMrsZKDn9walZ0qa4SlVJTZM6J923uRRtKpLFCRmOkXC57cc7hRfS+xuhe2KPCI5pwflLsaC2a6MQa1FPMuwvP0VpVqIe0KcB9Wk85+jmLZ1A1zSjUXojfyro3M51dtyWBGPrX34NGuXK5qPnk98P6fwbMipJyXmZwir/6crUIjcxZ5/uM0etXDCx2755vTqCj7vkta3XGbdiiUE+bfD/YDO/ciLaAievS/VnM1wULPUZ4ePO12+8BfhaT/RO9rq8nz0ccpD1qvup/uOmKV/dM6cs8BIlVk6YOGtflmJEiBoq4AIQgVKzfPCzb9j6zspBo+Fc/V95zrT1tKzrAqnxOqb0ieF0y20TeoEpfT9bcJb47jaC8taqOtIT+P8ToL2kMJcBsr0NxJAQdcrg9yi4YDBpGhepFPzLAgqu41qqupEVxbfCsg8QjlHGE0SEUq4KEWQDRsNaIEX4fFvKLPPMfmm2+NEUvVVVdgUMhEcEOJ1eezmwCoPo47hhX8504/P7OZ7qUycODgGSev2OcUWcBSnY3anSDrMQAkZo7/5VulRyaKB0dLT1Cw2xTsxv85X7T5K00B+CNUem1KAmtPIjrnmWpzP4+dpUJZTIem5EAVcf9JVS7tvTRJd55WCurgfn0GBIqcBxNnlPrwfF3xsZFsdlcfr9cbdekBZEcaSQELdNvJOZ9kUGK103sZPHrU8EamhpfzLkmi8NfCpYmdCGjojYvv/Dwed6qof7mcTLadLUDrt3/rAsFpDZ+NTK9tRE0PjtN4M51oGFMpVQfiyRTUwVNVe7JizDbMvEr723c6oYnJRoSTg15qf4uOnB5mZZjR4u1++GUXKtjVtMskBd0zKwNduMnhU0EHV/eXls2T4lfLCMSrERJF3T2lMj8rxtkz4QOstWRdF9cvo8/DJzZsKUBA8g9GTPJ2ALZpq8GuisPtaDiSySEjJRgQmD1jFnCW5c42M6GEQXtnTA/IxjC4ptjisKGkXBhPN1WmMXK6fGHbwiTi5tTPHcin8bYoIPXw36r8SoaVIJn82sU6rKPmFllcOh/NPjFRFYYLqvnbEPyH5itbOXQO8UfX+gGdO+PLfzLPQzofF3f/CUKXVX9kCpxTJ9gazmSvO7YSqPBt3h/Xg/sZWxB/umJBJUzre+NGN06EKkdY9X18hxJCmftSeIrcEXI+uv3JJW2DRuzwpHIfS+MLU+OIFMxym3QwEog8nm109d69xNZG0KWfY7D/Ik31xdY8CcH18e5KXSkF3BJ6ABdKg74xalYU6YbQizSCgadC/HPHUoC+LVY5R2iXbB9gAHuIeU2gJ4FFONUbD4mZ07L9yTrBRkowIt/gVc1CsSjKiSnnY+mmEsFEuC7/ix6ebZ3HDkSN7cY5limYDpeetuaeKOBd7JHMsheTpk/TZrm7B+b91HkmxKXY+LuYjMZv49VbghxJw7jIN2OMmwPddnuSPCZhLlg6IfC7mfUVun6vXnNGe5LkdjEziPkUV0T1EH+JSh2Lz0CvIFJ4UFgtVgu/mPU1pvlA4CvygKsTZr9k4WJIWIdQIeFDlI5rbz2dSFamT51Y9Ez0bXl063QmYQWaJ6OdiHHHlWzTbW3L7ulS6W2syVVVanwG8MI23z2eEysMg9JBDv7Wezf91a5Yxqaw8AmYyV0A66KZMkrZ8NG9sbamn98/v2K2WYdXDRVYO9p7T/hfEWUTnM6tRNgAJNZkawkDpT4b8kxnxiHz4DEHWGp5n4LWgWYmG+qFC4Bq8uOBEkKkN6PaPD2CGSH1G+J3KXf3EtopF/bsxa16gcD9Kxrh7BiZ1VGQ+LscSbq0b1nT5Y8OhIyViTxadpGCzFNRscFm32wrI2eNMPhceY9H26qebQ/ZoLilfalejmWE4rHR1eBsUJUTjS+Kgj4POK+sxeqpSOPiHWK2VSDcp6Z03eovz45ry3MRRcD7gnaogCIOBGhLAnKtANddnilfOc1OEDQENfL0pyTqjo63iSAUP3LmNWeCzvpAGxR3j+cJgdoga4V5qnX/6IWEnRNet5qeQAzZLn7mE9+VR+ADVsJ3qMfCsa0mT92qAGT79Z+38FAtCt99WDN/dTU5R3tXazYpLpZ1/SILi6KsMpyq2nd9V43izCcc9p6R9O13PlGpNCUhTFl5isD6A8fh5w6R4zofJQPfaTb4YnZGe0rmilwMp53Y7rW9EPOmxA0+P+DCvHkZryqTQe+KFQneERI3HclymdOgRg/VD/QsJMGXly5xjRO1NHKMyRK6CNGQ7DXvFnf/kVDogs96AuJqHGiGeB6TyvdTWQdjBFBEDNkh6NQ2vX8rC8Y1kCuoKO5vqc/BfnlXRx7PyMDujp/F4psAZebcrfW2QXYyMYdf5U4glZoIxlVtUvhc2D6kafxUz/weUOVQ5ms1Cj0H4OF+U/z15KFKE6JD2FitaI5xJzx4AqlmwC2GaC+iCO+5WX/jgJSPnd4TAJzABz/z51Gim46itQAgij/v6k85lT5hmejNuZcuduy4PV5q/audNU+hv1XxsD8BcqUu8iCwGi07tWkf6sBtCBZE82MkyqkBpZyhP1pdDRu2y5V3Sxpxuv7JZ4Aj6bioZhdu4AWQGLzaplIADUluYZAXmLgTW2TwruO/Qx9ojoOkZmVHeRx/J8smbaMfRN33gTS7arLQGmzbsMVpBgibFebHWRuFS8g6cgedQ662fPQVrZoxYJ8WiU0lplGIMmWPGLIz6GOkTocMCy6/G9toaDGQVTT1nN/RXHBQpIvWdkhixmhD1Jle/UZIxy+oq3briIWLngogxXHKD40+q+He1cBVq60zo2VT13Xug9sPkoyfcFte6xKY9W8TCtkAZQN5KdNNCj4M3lmCdcAuxvD89FeH4l3ZxroDc4wLCspPZ50UqHiyxtDiz4DY8myoseh+1GDJcZ0R4De6UVY5OjVeZUl7Q49DvXBenOvA57Iw9DRG6PGVToHmFBFr/jkvzTB2DUSiG3E8Z/a8MwGBBANhZygK6n1/8KFwy01xzqRbdSZYooMydxmExm7smYh8n1w9D89hoPz4v6CWur+EllLJK3UnzUeynWHQFTOGIAwnkrKAZbcgSpnqI/km0uKo6O2QS2unipwanjCkfsY2x8ULtWInHO7vueDloWqtrH+Vtk1BTKC8M3tp1eEi5j2ow6uzRcAUM5uhAjF6uuSiNsKSm9v6r2TTrZFD9Aj6lNvKlvgFVnws+S4BHxqheQIP6ut9sxUe2M8SxYFcfdg3DMUNn2YWm8Os8Kgr39P9E04So5itjq2suX/lsM17P7/T4KhWsIvPS6v2tkkLnD5oca2UC41Bc15Km1h53EFdHz5eCcBn6GxQjAhS9hVi7BNM7Y+G+8iXxF3LK0U3iIYr3kMEVt/ss816o6gqsGmK2e5TRX4fehEUE8ZDIgtFe7KHMw+V3am4HtAFKOIxneiEi1cH1AIdt1m23EJlMbGqX6ineoK/RJcZTRKxXs3HL6zei2GC0fiGin00bTKQmsx92T9gxnm6DwrKaN5wpV8poZCZ3f+rtxPL/h3ERaHm/KxBufe1hFIGk+T3/5is7Y6Kn1QNtmncq+S9fbpBgXLwUtVkDMdgU7vKyAGwmchQCESUiqEvVNpRaXc6MDWUZVrwp9kqURMWe6XI9DmKTPMSnDFZkOkRIZLHF6qKhUPIYDjNGv99nyIM0k/uBEw84WTaFsW+5WM4NE/L5VcDwaZaPmLFcpdXZK6AeQaAhoxpXy+auqJEdxTxsYd5fmmD9OkZ60greG3vml/jEfof3hlBpMjyqDp5LjN2lchyqJ0SNbuZ6o6iWo9hkZIzOrgyMyxnncJ5NKMzTGS2R+60VA4cFuN0A4WpgxHmgi3KmGpwAfZ7iTp4Fyh7j9Cxr8PW3jHiNougJ5LM8ccCwb3Fs5y8NWev2561g5y0Bz2JPpKZNOJomEAjXOFA4vnu+Ra3Dlgf3nEHcMxWxDXqvVAUo6i1eDqtb9paTXtsYJBSLzuRUQh1WtHn6EUq5yVRIG9DLT/PtAgfJO2uZF5YKmtOdU5SQJEaCHJiFdSz+gzYZwUVIDrNpGBsBDFyihoXjFTvEaLDd/yIXHXef4Dm2PSzyECu9lzbKGWWDZuCq2hPwjAd1DS7t4X7g7rAOrDqQF0ouW0XJiMFdQEF8XkbRe9umrkYzuMDG43Y2AkN69Y24IkfnjI5+0EbDDz57JWTVnbfVmoWcp9H4W99WH3XS3Yulx5dxOj/O95qC9en8M49WICvTJVGyLuCBZ+Kke+b7eCTSB3cisBK2vM8KNvawZF9kDEZuXBFYcio308xQc7UeL97ZJeaZieGbd07jbdzea14qCI61HzvTvLIjZXfWRMSpm+bszt/1NBjryDi2pRAlFNB9WyQkr+Creyr061lDGp0xoIfG/Su1IdtNQahZeM2B1L9FZ1t4I5jzrhw5X22JHcsddXdBt+7+Ujzt6P1Qg/66VyYaRUcdC+U2fJGQKzHEGRTh01YN8m6Q6qAL2pLGfpg1Y2yCnPyvAOiuDrITYd4g9SidepN4edfFNEDAluQJW+/uoTBqka3GXbq6MzgbFM1/NKskvB/Si1VpXU3hoFs1HRmJNMJteBfSC1lShDmaJYqVHFEyeozgJMl0mhaHNL8a+SFtHHyciubFt/LYL3sICl9hNvRbW42wKIBOMPtYVEd2dPsV410gTYNrU6LF5z6TKYqdkB7EEpDLPxukY905tjP3S1FXi0o7RWVW/fadKJCzbz2+1Jq056QoY+JcKw07Aw5kGGIrFWY/v8Xx5DHYcAtcWy8Ivv/cCi5AOwhhiPJ5ilNrd5gVkpPh86E6eC7Agl+MjV+wIlGfBSNeBdFN4/OzxjSiMCD39wt8P+9unmU7unSPIdB20LRWoih7u74E/pPkj+J6NnV1qeWmZvgrDu3F7c8IcQ6IOyobdluN6HD/+p3awFve1jC/TDeH+/V0n5b0GJpzUVWmUfGNNwyyCSyTV8dFY8b5XnCcEDkOD2Oi2u3dF8XpOqHmJL9KpsrvvrDAkjjDSE8ou5vUfZ/+wXAIqtev8JEmP/fPfmMphe8IoU0Lihm5TiX/rsn924+bEPGoHXcgQy/qeXXg441FVmwEMwMKyrtyD6FTFfvt2pwUB6YrboiA6xVdIUUistqN+w2DknbBflItebvtXamw59qdRpo/0nt1J5ZMbD2NTSo6huhiKDf5bDQF8B4F0kyyX49wu1ZYEcclgfrrk4VCspH6/3RIzYUvC4TSElvudJfeESoEQ2zEVyb0XCiRlnAGfWsQSZH9vnYkHN6aRTzfz5R+WYanxbGCS+tNcEYqe5y0sveM2hfOwsiRkONNbZke3SjeBC/T7KIp6dhD4kULLAxvZ0iEQIrBxwlpV46rdMwDsUQ+UK3vJuuP5kxo0JOiL2UOm3dXWI/XQCSkqkcvgL3O97MxcN0cTSYywFOm8HYSlb4uVoWfxcSnz3z+XDpdKgks69DZbRNm37mBTdLTGe0AoDnphnerdIijy4f8DRwttwmVoytYreYUQ+ylWElS+BSbmfu4ikJjJUbILbTUGrAXrw4EK7rNi4xftE1jH8EDvWIWZiaW+9Xqc1hXrzSdITWEN+JcUDt/s0CId7Pa2Cy5tqM12B65EXgj3D6yNlQJcd6s5oI/FTdXHkvtXmQsSP3RKZ/6HFXieWSfwO8obab1CLgBuDTjcpM1m1wKs4te8SfDO5xgCQCcM3xMolGqIJQvkI5kuBsoVQDW4jYIO2Dnq0jCRsKH4eNVyB0vMOKPKeImSZ5kQsQxDjqMMJ68eGFdn2v5nebAYi9QUcDvBPr9YdIycbtoTJG+dO1PWwFEhXufRRJf0S6I5LV99/DOIJZEzvoJcm5rvNq1pI+r9bbMoOYRkDOjE/SgnmhG4NIVvNBAURYVaXw4+sU0IIqwUqvgoMNuHkTDAjEHHcpTqDh1g2jYKsRxwn21h16Ohy6jTAV8Ti6NqeGLO2klT3BgZsPAyplaHYzQSMkGL30rC2Isw303gnJ0tlwq9s7IaMtYiRGfCpUnodtyjjXM4ZuMPfTMJ7GU2rYzm1mt/HevzQZ3cxfnQUAoT7LkoE4N853NUdvj2Fok+sgSKd7ym5ldSg+pl7h9HThA9UgbG5SgfDmvfvlKLcRoQa6PY/0SCbeSb0vSh4V2mBNavfFwHCNAWIzBS3kVR4Ulihos5kqr9NQhbjZiIcfsj+oaBDXsnMutxzGzLCSWfYE103W6GyjynC+2qEdZCY5jHMOASdfzXHq0cV/LF3wzBGSOd4SKOqCvlhmN74/WD4J3G/ebF6pKaZP8ZcdO264NthZy2uIKKHiovlq35IoEOCV/3zr3PseeW3JUdTt73bzO/wb/2Wt3/Aebb5BN8bZ44zbRUa4kOEOCf4rlYJoMAAvvaSQbhP5it8Z1VS+SdKBnLdxtVZgqSKCKJI8CAJKaQL9fGuGkXf+Z8OYEP0V/Rp3Ab+8Ezc2p3L4LXzpYMGcs/f5mCAqvyXBfM80UlEYUeNWKpTt4ksuiS203lk8QcA4fkH922NzTEapwelOqgrMkdQF2WxpULWfE9qJmPU/9+r39vHhGnmVFMHMpa+TobIjEscy7lX5M1Mb+uf5m/gEJVDhT3knExZbumuz5CVfSdq7A8PyUPKrPWpZ7Ov83Tov7n5TV4GYMk/+mJ7VI1Qcj21+qJi6iu1Ztq7KungYeUCCAzOgrRNTxPez/CT43AzGl11Iz81jeREmDgJKGhUJss6xmAUXX3bBz8yq8TOxAC30w2jwfvudOcHQDcLH0M3WKUgiPKxrUy5nAg16XzKDbnE9DmNKr9rUNakL/6gS3rZoXVcN/P+y0TrFYgXdvQdL99L4TUi5ACiInqE6+kmeO2PeBJ5ZhZgiOfi4qV33yUZ5dXPH4oDNVtEk1A8YED0AbnUMzYzyluAkfNM8zWpc16xYx/d7BK8/8CaPVTEcFnwCHOgcbeVFKECpI8zQBF65gloe4RWl5rfbdIiDR6pRoXasY9ZRhuoCPCB/EF5wx3ivCWIPriNEA6QJcG3r7QtRgi62uKerrEruoCSfI70Cfo989TsajSlTgAood0FehKEm7kP5oDhbP0WEbkr+jqQW4eAqVMBV4OFXHixD4FdAaf8qXgWX/3VISl7VD+WEs46XG3gZCDhsXxORnE7+shfxELikhsDHthcZvUZSkv/hB0kShMDMQP8TS9/cdRoi9ze5JGH/X18eiWGOR4+lAZhMsF+w0DLFkQk7tHIaANo9chZoNJ6t4fMcm17P52zJdfnUnapp3jkFRsjDYbZJgPKMccQOheRFLbyA4fmeWChYandyXGQstyzloR1tRGcMY9B4oGmo2FO7y01Gm/a85XtuFCEYsM2JJ568EQnLfGGlGggmcO4C4QrzoMp8qoVKEq7lIUWiO2YNHLe769w9z4RF2sMFPt/fKD+HLLXQgLKuqpgC8vt57TpAmiLp564usl9o4Sr2nN2CrxNec4GFMgUkKoH5Dpnd6eg/hFSWELITvmcruowCD/wqczB/wIKfI2TiEOwNzbHGmz5NXz1uc8jwsjE2UariBKZ7McReFdL2SG7EeIrSV+fCgPpNkfwRN2f1QhHQACLUN8WPlM20nddRcAlsUW7ezlIle3pJlZIndcJQpVH4aSHl4GPZkv3Dxpae4UGHlceofI7yBA+jZDodtGtwyT0hN/lRwhzPYveIj1Hpz+xTjgZfNeSH/Z57OZtcA+8DUKMvslfEp2alQHZbDqkTuEpJoEDgxaIr0xJvuk7jT/f11RcfLjp0FWS16gUDyFqxg+8Dut2iZWY6rGEKEXSuXPPOPf9fJrEu2iwQ3b7suQlXfrfBtKzfUpL4VP6csIcAeUIQ7O0bh6hm/T+uSBkAm/Tj2e1YSpw9PKb5bq2H8CkCt4+MBcFBIsfh+erpnL6e3QX2LEJ5ZplWjnu+FBUH4m7/+s7vbm1f1ED8LmIuNuj7gRlchH3qLQULqEXQK0zajQneTRfnzLitxpXxszoT1kR+lwES5W6CbRkxDoE/1jEOVoFsOUB2so6wA+6bNC/uZPe25SxbYplxCnnPrtYC7tTat2z2NY87XGS7UWeoG9GNY+S2ABnJDeVEwn3o+WyxrgEXIe3vfsEfXlxyOYod435bFMxBfjBqDrW/XdYS2Kmp4m7t+P3liepVVBhTHdZ9WRZR8V4WFce9ea0mJw59f4/SiOVtP8fSUkyXkneat3/YCaa9hP85CqM7hr82s5TinXPOBgha9I3rj4BbU4S+hHTdBBQhke/wudcEnknJKdgXuqpijKT4UQrFewnekOXOEnutfFDOT5JZ8aXDhYqLzyqNFgcd5y+WofeuH81Try7CtIAyZ1ULuUUlrEMqdNc4fWLN+k6r6x0FMdEohDyV7v0KHU7/AQ6l1Ga3+Fz7RKwM/0JO2hFbpFLdF/Z66Qk7h2nVM05ESdUF3XY32yOEYT93DSICY61EVbXhwH5+1KCdhfTP92USGaDMgPoitf8OXdCebeFg9VxnudnCBAf7LJN3GIEeacRYsEEcjcvtkx1aNI2J1ILiKJ2jXXQrjLBqnKCU3cNWlL4RYWlzcKoQm3KcduFQOzqqPL1cDQhvA7bK1JRuVdlhZVTY6ddh3tjqT/6MvJ5DcmsY94DEYh2iUXBHVYz+JTTdRFzPgiT5uCOgy5+9B0M9svH8TCzMUTGboP0UzDZsEE8E9hV02Df88QmNMq1mQzyg9tufJHFK46F++TPIFBwnLIOCyx0Z7p5k5FzhCFV4UGVftjs84Bjlj+8j5OZxYPDjiVTMjYXGWRiXo+5Kg80cB60nhmh/MC00f9nfrXGFecU4LRVzYIdOqHPN9xXpDKiwvrdVICKSAua7i9OuwtKktWL9JhUvkJBw4JmW5HPXCtqjsr40ARcHKtP0k7hiqDdHU2NO23kJLfpdFkhPsKsPZQL9e42c4JpZH0D1tFejHtVzka1vsAJ2jT58YRvjGRBF5Np5GHEXGEka/ydMPl8vDPsT41QooVIjcjFYDrcKuel8r59acDwSoz+RXHoBqPRD2cDFh9yx1T+S7z9v7J0I898nT5tl4A5BxQhM4EM21hUtTkFuJ9a+O7itJainiu3oSoqTuXoMQvMky/yO66aETYQeoVRa+MowfCDz5YuurE45g5j2SylXnLzcgzoKPx6mXAx9kUxxKAqJUb54K4OVA9ZsAyNGYV4u/HrygNZj1ZPjtKzERyFyWg3C9a9yAFdAd20sE1iix5KzgL/JrG+qheUS1EVUWn99TTNXiPzpQWTnMbEOCxcP9fJQqameaIhk30BHjtojB3HIY5rBTF7e7ZQFSfit4JROfo85gvnnx1W+0sd6VPKWP5ujsQehVJ/SyEIalDlWfz2oLGhEn4raWSEaH0fqJtWpKicU6ry3L2gu0Ny5500veFoJVaipT5iuS5kzA4tHvUSSio/e4fL6F51dPC5ME5428ycNs335a1uAR1S8aYDPp92LyUuYA/lE0ID9mJeo4ivPG3B1fTgP0nHgL5wmg82kPRk3Ldj2LzZVG9NjwSt2yLkKDnwRxrE8rEGstdr/I/qKydZBIeGZQHu9kZqn/6vIEkhotZUbpf1nGPAYDFoVsDXwxzE65xc85LjaLmOGGzLv2mwNsDCu7IcOBWwSA+nm3Ul/Fse65N62BGh75XnbAvocor5XnaAiRjhCnLEG7FAdnpG+Abt1fl2Ct25BjIh4y0kIpyHi/F7Co4rogfcU7CZhAQcKnExGJq2fVUkNlnN5dT2NuzdP3CiXYNCHx7n/0m3w39BtuFCOjcXUylUHldy0lLbyjoF7ww53xZDxFB4QBbPm0QDaLOw+tWd4+J7Hu5UGLG5HRUTlxeFqBsJT9QPRL2GpHv2bNWyikImD8upxfpYeJ++h3FPmlK9FNOl3jtgtprrC+k5mVtj+hgiXEyF5ja/Z4oSWvK3uzJxo/1gqTD2a6O5yfpFnhBLNz3OQJ5pi4Kn6dF0b2k/AaZIEOUSLZ33sk5Hk8x2AgXuZZKLV1N0kQldo5ryayFK21un5X1qQAAQYKZsHdw9SY5NjYkyR8kT2xRIpeejAOMVyNsj3IqWOaaSNZgnjQCh88jQeI0+WfIqfsUC04iiu3vnViUwJTA6kVbGHHPSqgfMbBY1laaR7q089cYBYsaFSweS1VLePQ6MPI7cnyo05ZrH8UYPzoNZlNxspfGvDQbw5eYpENIIN8NGQiWpNmVTMHJBln+a99TyAYR4jLTOcT+bhvvgqAEgYsMznuYU5y0PUnoDATcjaCMLQDPq5eEgnh6qtqpgqEaIuadw0n13MVFpyePW65uk9q4Wv/bpNu1EiP+FsvniOKFk0wZqmyiBEQp5nxLIb1hyCnDUtijNcwOBAr8E6sHdQdW7Nyz//u/WJzoQ++bgqJOR7bdW8+UOzjZbZQrN83pIlIy4HXyleTz+/i7WD49SWmPayarScGxHlXe6lOt1QdORJ+fcxGc0mWRAdLm5g+JaCxSlbMnKbzYTQAWsY+ttYDRo+ZciCi99TTWKCqNKzBKTIeWq1xqQGXX86jSydyrmsauVKM8+nguzOT4PwBL8Sp2I4l8G8HXM7AXK1T45uSzAqIzRv4uWfm2UvDfM0h1wS5uyqXgMbqP2bx7jzWLXpXcdX6XGxdN2UVN3X9QkLptnqTHC/FKT+M8fpQLUUIRh1ba3LMULllkRLrn9YepDFghLql/O8RDISpYa0QFLxrRdqiEEaO/EvDZJTevR7uHh6W7UmIPi0MBY6TWJmx2iKgXLzPg01rUokq40icphPBZTGlM3ZEDnUe+D7/UyYSWYMMpVvtgJxRLYNSMaFSz4X65Xw2GsefLC45Dode/v/IW7g81cJ/YSgY0rE0Pq3MigPtiEiU1ShklG4HT6WPvS97WB1F3mvmtT+c3UNcnWIAtmwH6YfH4Xad/ma+c+emtrdpxkIKH0GDSqJlRsTpcX91woF9VaeOzz9vmxBsp4wfi7pZQ7QnAFLsVU6v3WRIpN479ojzZbPV1yW04G1C/oj+sQQ+cuP/mnEqYShynZmA1dREJ23rO6HtOp3soZs49gWiFQg2IDRS4Y01aDe9SpOTKkKMjtkrjZ6ZLda9cVvAxifXR7IaHpBF265Sa4uXmg/kfOlpt56RK6V6/2IvJARRn4SaEYWdGcB+Pkt41xCj4xnUDxfLifMw5MwXTo6jTvWTwSTXfSEgjguMnRO6j3EnZFbhL0Chv3G3QD+Qpr1SBqKtHafdGKP7fvInLuxHv3y/cFRyqGcEeWb9jtz3fYVyfbK1VNoHNgialctM8wblDjoxV/+9f7bQfDtCS9Cuh+tymOXvnAMm58EwjjN8hd7dkzs62gGHpg7nSMztZISRd3qFFxbJB/YHp0g0hgQL+MNSYJ/hayqSYj/0raT4sNWMrUlbj40qchh70ee5yJ/L9LGQNyAPtJVnbLbKkOpuIqRJCTNGe6/0mIjvDKefC+togouFGkgYmFG2VWZXhADdg/E+K7z5wAhA/heqcbLF2zXvW9NLBC95Q3llR+ovQXwK7J0NbEE2k6nJDftNU/qtqP7ak0oQQMRJ/jrnPjaq8Cd9ETNKvpx3yGF+uY6yoS3t2lZyB6BNNQlhqQFH8rTUKOJ8xiFplv44dlwhL08DwYLYZXxmKZwI+SUCcc8amzyWcU5w+xvevJ6U4+JNFaGKufjVaMbH6evzpNWRtQAZZLZTkdnPa7bD77C0mSyKhjhJ/qSedA+Mdq+le++DklaY5auDUAPeD0B83+AA8k4y55cOk/48UZl7p4Y16B54mfZAKolkburxnz8wbcnBJwFiEb+u0qEUro7+UXbM0dIWTl+CSEQezfTbU9IaQ+DWdOZwpyL+7ZInlgYHgvjKvYw3FXzxm+02EcMCoA2S8y/18v4mFmGTUvZBYBbKd1SVNdH/SWJzmaxDsVCYXvjdmWR89DOuaJY+9TDQTt338sYWZUo9s6cY4FSRUIPhn3kak8BykHPEJAkeO06RMn006gPcbYH/U17InbA1AOVCpdT5PppJkFzd4eDHudi1f0ogdeMW8Q7Uzsq749rsPF3PbUTLjHewl8F44m/g5msivy8biA4vsIkW2OiazXmWK4Ux6Di/W5Ow9ltaX4qAk8G+U2ztNzCse6gZNZRmhxgjfri+efEVUwXBy0EvyaNNjK/wYg18Tg4B6J2zntEFu985/Oz3fgvkC3bi5ifamK3L89GQtRbgpgRpbEEYlblJHf70I08qs4FHms0ZQkgCdL2sUq+GpwwPJjuzaz661MYC5SjnE/cK5L5HJmH0oigpy/lyJo0O/xg3qLl9Bm0RYc1tf22u2awc7AOalf/uXFRcjpdIlm+j8iipIiB/obR6CqFpR/1RQ25iMpj6IGQKd92Qm915qv8wslSfMUfg2FCBMXbCxZSI+4bAjj8S8v1+fVSvUWdmIXG7rz1df/Jc9b0K6EanXi7H+IasHPXaFJZSLipxJljR+OM1kYMgJq1q5KX8G3Z2TQ8TqWu9t3QQOPfdopUdpqB+EvmrFyQ+d59HcxF/tuHlsbdQ6thTxoHq5oWvJxANLfS99dI6pTemL5UCLNH9cNwjPN1EdJBkh8ipvc8gMmEe3Y99hDM8AZucsNztcFjcENGa5Ya1/6O+yRNa1fkGfGMRDw5HD1Rq0WI2temEDWFE4PH+t3Ur3+rO5VyT4VCoQILmy+JYucgnsCX58BN54HaiJHqfElT5p20G9ZsYGQiQH/NXbTt58JOqbKwgxDGaCZdrHgr4AzTMbIwCD8kOY1h4yY8eAsyyFG/Y9i3Lj9t0oX/Lr2ydIiq6xh3UnOUY7fUh1LVutJt/sf4ApO1JXuWBLk3BW3p5ieR2mwii/drodyvm5zf6WVme3cGtsw87cDCqrE+PiIHtwhz/U/rCkCddU7nFPwScsfGImE90UlvPxjX/9Utr+z2epiC18kZp6JK9FRu3JFaA28I1m0uW4jCvilHThEt62tB0ld4SC2fGIXpriTDdgew4Kz6VTbnUwoK+AEg++Puuam0qgmfGZKR+KhRLDJeo/BXpazm6cZGysJeVRhiXXT1yxcsqPvaenznJNu5DV45l2PRcDaJasL+Z7bSqbUhfL2eV9InKPwIyjq35+BV2T52ol29D/Z4YS3CTWsbij2iMhqvvdT3Y2Jk5QWoJqx8Z7fcw05wFjN7TCQy97AwuGAiqZsaorX1b0nU14KHtgpBmY1FFpcwo3OoIVk6vpxlf5z0146HRaLbdRJ5hNj+wOLizDo5DgaTLepoWGLK/ThDYnuypJGfTwrBghPOm+Ij22Bx30iy1IaNUlzeAKT5tmaVXjhUKyGzztqMo+XZCc/tCB8wm1+WfyshST6e/XDW+HA+D23DskA488o8QbqpGJmB+G8SlPgmUFAFHr1DBpwBaunhI3U8jY+zG7ifcH8Maa7Lp4QGjI855mu/fRPS8dmkz5vMiOvfKzhyO34M3hr4jzYptigOleNIfv1C66nQcQ2EjU2TwJt6zkgpO9Tlb6oljNTvjvNTSmkDYZ4rA/H36G82908E8FjHElRj28tt9xmxAELVGsKmyqQ/WM/DlGPSAZqhiImiEVNoCI0Qt8jJjlRki5VJZ/XmFo8b36vN/TLvZHoiome0iShba2asb2lf/VxhU5oLLcmdCICqwKFdolnAV8NmVaRuuC/UiWDcEIVtJlyhPgxgHQjvQCaIFhfcDs5Hs6GowDZIdrJBqi7q3Doc3E3kJ+9UCcpP4le8R/xK2UDvp0oI23w07QBOv5GwGczAXmLJA7iHqorSafT0iYXi3bfKa/ex7g/QnI8nCG82YdHSpS2Yo8qbzcCtKH/GMLKnPOResWlF736nKw3kkQY+rSe/P2WWkGOoSIS2YIGo8l+kIyZgERPVBIFkbOFrWmuKnHvlJxlvEJMoa7SByMf+cR7WNI4S8INOBD4L/td6OMs01P907bHEAGUGkl2ad6fdua632iNp6DgJlxz3Ou8ificQTwOaBKWnUcPVogjTo6wU+quzpSt9f3m/I10UylMoBzDj9EHzcZsA1zKAoVj9XVe8YNufc+F4F7gmX3e8UXCOn8TkZgoQbnVdRhjJ7H1Ye+DPfV1Ps8+xVd/QqHogw869hb+CMAffPxLWePALyP4Q7hJTdp+eIUUMWR+l2usn3gQGuFGRV6ClPjIDoO++yPYvd3uhvRQTy+7bgW9UEltFIofvkZlq4VBAUb/+kUyneHpHTGLnYPDkfM6JI5AseYR+/mrLPb9tPR7UQ06ADkAQ8W2Qnbjm9mVLRwMUEfZCKo1zGxazdkeW6XNb+HzPmNcI+MT50IdvWVRE0K6oOts0CoHYcpaT0UCbG9IYdWydmhfQlNKC3JBHqLihNrqGEmULk04X6Gfl8s0VW7b8lkUObRk6XpQJKdotozHFvvnuXQNGwNGDup5Vgwwb9aX7LakFJUViYii9pZoy7fROXymlft1LOqVmv+FuTLFm461zyUcE1KToRlqlbBTr/E+nNjswsuzctJF6F/4E3MoBQ+q93qjaIPyZ+8AEym7/PmC48Od4Gt8yLQRbvgJD/0eQ0tVWHrem1h0izl448bxtw5275ZrAJnfyg2YpVRwl3yHdkdm2kcBKjb7B+Y2GZa+KZTlnBOmr1Bg0J6O5wi7CvqeMneAfyiC5UvToSuEnOWLlvyPlLOdCpNmQnzs6cMJgySN0iGSTyWQcK8fXtdJmtNCDyGart0vGG/Z3zYdD8kVomvLZYUJcLtVGCCu5xPvNLxeaWptgmMn6iTfCR0sFdtEBjNXBKi65sFVJt19kySbIb6CrGQ26xmN+b+ee8eD2yE6zbTGCZwFxIJi8FgnY2fnwI4iQmILneX8Y98KKpU/WEUiwQ05cvR9EAuBodjdI7pxBoAFJdiJ2eZlzY40NURmXM4RiTkyMGTIn7ZcYuEEE/MWqN0bqHTH2GDGjPmCz5QYjFay+MrT6rSlCVipQhw3fEfR+9PZcHed5a3JLlEK55FVTldOdFr0REum/4Gy0sW4DxLuHyavaP48oz6+yIqFHef3FvEqp/juaEhrwIlywsPDi/BJJFJzmt2OXPIf2rD+Xrqn5yrqqMzcIY2ctWE55m920Ltf+NtuVTARKMA2B32cABbGcgez15GgRMCDHvbyVGfs1dXwc3uzEVchyR00QJHrRG29onCGJykVoj6ffEkz5mLVY7B0AwINznY1/EE01Lb2DO9GHlkBm1aNHB090eRDlCsDQBdw+yHIzszBfMdWNFmAQzdTz3sCAiN1LLXWaTOOYeXozoKJp9yNQSh0DRfFDWgXdiKWVQBjiYpJjmZsV7s13qqqQl4eCDVk/h2QuEAkCpIcWxXkMxobXtMD9huuy08HeB3qeDBapkzjmfzzTgM5P79eU0lc7GpsW6+MlhKP5rPSPNqNI6/FKfEYG5z8QaVh/OqWT2FAimOYMjGBrhVKDjq2G9CN44+gvGXtFWuc3Ss8tlr+7jNO4B3vlsduOnVOC60vtDoR9y4Do51YhEdyF72PcKd7lM9crbIkCar6J7cVUIajsigvIkPOj5LhAfJ1Y6TF/tWDbu7++YXiQbbb4yazFldRQu4IE3XSZGYWles0UWayM7fQM3KlFV4Wm0XTI7XfHQwrsXqZoKZkqXtiC0kuIonK+nFcQG4OyKrlnr22pFzJmKrIU7WNNC9lQkiG1WbIepesbzSOTe1l0JIPwTs3JBS01YjY1+0l9CZQI8fuVtUozKqPpQlfQ0iLjC4GND7xdh6Rp1e6fh8PyAzcMSe9Vtfwy8exQke6NN2mCvVmEjEFdvWSF8towNY2Et5bzuKemQI4ciPNbNhA+ZxR5Bts0z4/g2E/ajGjQpIebiYRbfBYWYIlk5hYi5J8Zi0U72+edufgTdpKBYH10HswZdNBWpWF32uHvoU7ANI+QMvf75FaPzEDoEJ6tLQ39tEn74vuItLncTafm3RcGeLyRqEmdypOlOPdfd50Mbkb2nuCcJHux1kz7+bhlrCTjc7dDiOPMBsT4rJev0mRNcHrrMyjxnRsrRD+D7oQ3u3IsJqSjasxz121sf+CCyitCMsOqmYoorgpv1ok8HHcAnitDP7agVPiQXcLopdCasq5o02FPAbGSIcEgOZ/Ni817Xjayzkz/3fvVcqtKMCWHwI5xAOL1+HOiMCK994OoUpoRkTvzJBwHcfomT+VUh2fWYBKBo5c1Lh+1oZEiXkeHr54KcL8bbSlwDdNPBgdPTp8vfZYbv94r0y2Q5iQAi0wq+uixCoh1axTxWD2dHS7Z4vM0aBznsZBBCRReH8ygN3YZmZV/iWKnyWmPhu+gFSrieQyFsfQB/9lvUxMmmvyXN6Nr5BR2W5rcQUSW2WH7nJCcI59OKpKMY/3jy3H2qSbXh+HQijXE4nqLtf7wLCqv6TK242Q4n1bSbfyYHYx7nghfYRJq7eFidA6PVpPNddtgH/qhQ6aXVbBJieQOeUEQXcfGHjbe6wS2ZK0LWJIuijioDMDd1fQsx9upq1Za+J9RkBzJW4V2Ml6V3LNRRtdpxEUD8eXqgvfNAG8A4AoYbfNsZWrWShWdOM/UFqqHYAcRzWOkoSYwed1Esx0onXMtKucWTzaca9xMU7uKuBoGDc9Pe9YvGkWzhOZM75Qkm2BHAhVFHwiPbZUKf66UhezpAGHVnqA0dA5XN9WHfyvEN0thrz9ouJJe5+dJ4qu/fpcG7TFeHP4bjf0ToXz4WhTqoxWnCjJrhrXbu1rk12ENJS0iREPv50zAKBjNQncCzwtPGW0KUTU0kYXiplyedMxhuti05xmb1rXFtBU/Qaga0AH+/iN5f4Jxso71NAfoqFcQZNwppatG8J0EmYAIwiUS9R7sNAgI5LJkOAX4Wcrgjp6cDd/bojLB4qL1TcQN6IBNVByQM7wkLZUHQBKOSYL864LgS/wZvXR4xzKE+XoWpLdmaPx1f0VZ+yv2cgBAmiQnUm8h1pDpRATUl9N3iPFD0AN1zqd1ehblubgk+cbarMIKA/9v+sEj0bzjm1DOVaqxskiO1I1n6+bm8VRexE0DLoe/0zZlAOcLJ5fm+D9NISlhmR/saJ9BuLWhTjC8+UtujiIX9sjq1TIvd434jHNfY1qJ6WWHg5xleBrPmMKho3U2s/NMSYcN16ZK5gUrkJOQm4WFCvZLmHNq1lZok0hhpp//leqzqe2DKoJwXyOcRQAI9zOJxrY8sUyswg2mlXX+WGKfGVO8DQLDMVuPJmH+tPmaEBcYIYslQx2Q/XA1nGQsECtCV2fEUzNVMsY1QD4Aymqb77lrq4PQR0+V9LceWSnxu9Z0QiczXgKabrIySw6qcIogW4RnEEZ9/lzGhxvG/Bxy/bYJBBItO41RxQUmmk8hVswzStHTCHlHDT2BBlXzh282JXZ24d1VvV6esQiU2I4TBnIg1J0XB+322cMC0YHpBJA264ox0xDDUPND6x8GG7O5humVzdUxyG8J0v/Ulq2SLOvguGsqSS3iVaqZNLdCW4SojTbyu34GNkayM4tkh1O2qXts2sQj2hlWWILsDKFLgreFGhxK5KdByLrl2k69OLzOl50mRe0iT4FhEeULVoMdqXfxyrvi3wDI3Qqd3XgjtDp5SagdDMugUElr3/UDGNK+r6woiO8VzQOCpV8qsk+uES+9gmPu0uUUr3mmmUq4FeN+mVnOjNWLcyzJvIcihxALUms5thAMmIou3+t8GyttHyO3zLITRm1A2hVeL+N+PfB5CzlGvQtA6XYczsq6V1UCkLTnUfmwWHiqr4CePA+Zo52EWIUlGixf1hF7q8uOy/Vwbu1fv4V3733DTxCPzdvBTwukVMQkDD762cwqO6+deD8/MtRnZO42U7SkxZQVU56FsN1EVFWkQijYQIRqmE6U0xOqEV2y0lyeAhdM4KZLB55X2oYgjiG39+sQap+WgnEtZoHl7kROfXsmlkDTBzn/oKUK5ZZLhkLJ/W9iBV7I2H8r/0F7KqVrAzkSIMBpe5DUbvY/HmVNpEqTaO+698ByE32NJJacoZlNM77FH64ILgdSTCqySiELZ2tyzjSLE17RuUazL+nWPZZ7ibWT6rogi3GEthHkBj/GuXdioK7MR36qAMiGLLk8PHYhQa5FKQj4K9SCTafav7Wwoo1kjhUDDsFxqoiENFb6fYuVpSaq8aiN3QtBUeE+nuCkhxngSfDeJ7GI8cvx239ajFsSlEgzfm3UVwgFjUgJj6SdopTuAvZ/H4Gtq93Vxq1qaPtR3uwAUp9+lO4N6BFekyUiYxevmlaYjzMZvOW3mgXet0I7r3kUviuswfs9D4IByzxCJve4Uz17UqEApvmWsPekKAuFSKQxzJe+5DBip6tQVnJni5Jf/BqrMSG49YDzN3+jZrfpG3nD93mtYAodsJVAC6hCnXnVp24AEZYBgsi2lJJte4CuLizFRj+cE43MHnSx3+QIx4G38O71Fmr/k9eCZe0pC8ZR+lH7pF0Djdy0trxhkEiYAe9YAr3ijqI7vv9N3DIWM4HC3Q4cHgSizjk0uILz87hkkRPzvevF4YluZUjddlV05QXbW6SpVXL2p2xdwlb8w3FxTiDh3NssrwASO4NweYeoUCnkVXeBxKdtHf4AY6RZdVVpXgU8R1Ue+MF2sH9DAic4ftDKDg3z3lKWbZMiM4c02wkmaKx0D3XM1CkrCnID/y5ZNszBbtcMZIP4SR0BEc2CeBt3GMJH21E4sBo3HsvfqOK2o7yDMyoqCJVKPRq/wnmGCE5EBqocmMRuXqxfm/VyTnVDyQSDGh0yyxOZ+4Hc/XReSsWdMX7F8X83SUdlUvL9YAh47F82btzbBhGnKU9hPE1YSvn198qNWpUWZwOKR5aOLGJAQ0a+3j5fVWXxyZljCxDXUvXk/QmZUvkK4u5rjzC961Uh8he/ZHacPSRj0/bt09QU+mms+bnZDwTIAKhaGB3JDL4LY1dN7LEYkEMvY2Hov+DwhD7YZGuUjZBp/rdlAFipvKqln5je/rIHcCu8wklMrxA172T+8MFeseLbldvF7ZE40fz46fGAiAEcLqaa4IjGRa+sHQUEF9oCm7qjgWy4uZPeJvjF1Zr9l/WwFK/E3vaPHg+YSsSR+uYl3pOqL2Gd9+yHYHslEzZpuAbLc9+W5aTVHefDKI4qUpm/kyxPs8et7ubXF/UIBnlUbtifNbeDs0soVqe5nAnNvSh4cmYga92gkzRL4RRv8YO8LY5LrPadw+1Iji6KFUbqQ0d/Zc5LOilwzWeJqcEEC/+QUiyykI9kRCMxBxuzJb8vB5TFfHAyKRgmcb59XWJYNUjSdmw9xNWjnDGQk4G5etCOz/uUCZ4m2D593ohLnviqFxzq0OuCN3Ls3Jf99m8VbYocyuF1zD+kIx5tYYhu7hyxXnwqBS1pym5/eS55B3WhWyqQF75+nEIl8sHlgvVWSWvHkgQcbGRc1G5jC4gxo01wCKKNAn3DUZkdJCw+Hu+qIbfn63GpGCE1YAVIOnOq3DlcMl7s5OTQtjymdCqCxZ08d78csd5naOXmiswIYDGNQkvUe8upB9hW7vibIh0Rvj+l4TtzyCovf6AJdj8Aw9MC99Pd2duq0T+Tt/HONsFge9lAMogDfRniizx/CTj5DGKzMYFFFnFzvrIk+vR+ctt2J0MoqlTNEkNmOVo+3FuHDS+un5YudVsoPLdlQvXhbqVCpA3PnS6EomudFgyLftQzVfn5Fvciio3z4V28YtDliVm9lf+YwB7oxmr4DjGlAo53WvUmaxt2+rk9dPfv6+BNRIJjdt0udT+bEE1zFCH304zMu4Nx5iSs+dZ56eI4BA3gK05XagjqOhFtZsG3hVh1osx2XkGWEI+DbhxMuQJHWir4hJ/7QIlK+Q3L3N/+nmRvzZY1Q8M+3+06SNZmphmciV1gwRtkLFVJIfJz2mvglFl/vbQGk8RmHfkYwkRt4XBPsKAvrcOvnHDQWNIRHobmfnXrJdBSib6YyMqzXNl5JYgBstEoEUWonEnlbJjNhtrTXq6dNuCHhKLy5ulOYFG1iiIS563enXFXVaqhhtto/jFAbqB3fSkdCnN6Iid5wkT7MG+hEcc/8cOnlGtE6bfK9B7BQPLnzjfBbL5AgtANhZ6epMaqhTyfjkStA0z60wdHHCCVSZTfetNlLHlib2udVQIgGrN8cuqXz3F106E7YuYlLSt42Kg6fYf33gNh5bQKtyshVWVZwx3byl1mbiBfZVn2l7tmiunLu/XU8PMP62ynZDdpkeQFkbyz9wi4S/xuNFEzX9tzj9fxux7pCZEG4l7SQfgPi61vB7aX6IXwG9Efr9/m1K7xIAK1j92evUzEXP7WCJtY9PN9qZT60rSm1x5+qPvKB4d6gKJE4TqHuEvyR5CDA/sroK1YJFdCLNQDZtgkdg2AZp+tp3Y1f3uvFPH2BaZv7YMaY9FQozjYhBWSyjDUlRIq5wEdOYcEG+Nildm9I7pie7LhCHqSd3NTARq+pZ4hUgO91LvBEXc3rZnoZk285gA4HqBXLXq1/Z3LgR0dDtTOi+9EcwTpM7fcBqd2v6Y9LQBSrUJNhTrawp8nlBdxFTDcr+aceMZKMJk5y3CIgrep+Lm/8brzEHI08gH4NxeREecnxG8DMsfYcByVFXVCfrgjdRAXusgY800UhEWcKMfrbsPQ60Ns239iB1+QS2duZhh3ZWAn4xGtBdi0lzda68cCKSlYBLaOD/lN785tQiyGsO4N9iTMWVj3IwB5JhpREHh+zGypfEHRStKSyVWrZp7KsNjnKsKnOHZx5vkCeYrdsuC04bnSLFtePYza8bm2LI1SHcY2qOut2I/COvYLZszHu7zqs7nCksEqlzINdfRlnIF+EIQvLdzIs9JTOVfhtzS3pFL3WgIlfu2Dm68YQUy9xxYEVSv1RVq/HEbVjo1uwFVdJSnmQ3dqXA+8CfXPSPi4VxdGtSPvZDSfNBhOW8yi9Kj9Nl2m+j+uKtW6LD3zFbjCPR/ioaAku/WeEnUeot+hS4hUOsYWvQBkVGwSpa7gM40WPiqkRdrcpQAgI+mU6zc5iIq/X0dQLoF3key9iheH2wqYeZblILEykP7Fult+7sbaG9cLTMpYwQ57k//u3CjGso4ytTu0G7iCyjcsTGf3svwteFEDzH6FvVmElTsIi3uVBAF0xeuONT6xjF4bzx6eBAh3ss3b0KS3qtVQ9udczsg6jAP4Pfn6cj19YX1ZMtlmTtHNZ+JF80vEw31EQSvK49hA4ufZvqgleKKDffXfcNzQ9G0US4I3TIO7o9hSYhh4sZAWhnKFs0IfnxdQ7OCFYZTTNFDS1abGu4AOF0qgt3rw/LNjc/1PDxz+HU7smCV4DlKUnuBrK7jGCapg4H5GU0D58+LsSazM9a0cU3AdgoqRXjyt+nUpMbTuecjZbQYoVKJ0bi+ELEAKLs4QXVBCGiRltHlfLIrkk8+j3nVUL6fPj1aJzKOVhTNMdDaK8P2Gpz/mmaFn+3VPlDUr5yVxs9jmwxWHT5XXKkT4GAkXnPXMEi2biVirZ6ll887PTVLp3PxgzjB43PQKuZSU9MkF0ADI/jooy5z5WnYwlz3QAX58jnr8l7Oy+Mo8HcSOEz8B91ayELJdfgmtRFGOHfPSXpQaDgdtuCCr23dajQOQp5Bko2P59KJM1OngmXqEK7fnv5VvDJww+x0sygtxGNFHJiytF/FMcS9oHvt4Jl8yHcTIzqJSyKfZ10jU6hlkj7b4EwRC4wEgQ6HGtF3uFMg3I7U8YKdBgKv0OOKsIDmRb+1bSeIKDEUBveZoifdZ2Jwu858GdUfCdpOpcoPatEa8OIXAPX/13TidD/i9IsNbxd4wN96GGpZygXfalgMtL1mBSAfGDnuObRGgcpejDQCKUvMJ/eq9SMc0gfbEeRTTRVLO7BaUtCJBW/SFmNVtTrVfKP2s8SQmhAUmTdP1KioOyrBxEa3Vg+yhrVf819UB7CwUPAipptR8349AoLAHgnpxWVsnhaIpXXOAILWNfC6Cacc6NMgabzYGOHOcyF1065wcRU+pcGY4SJhAbkSiQPmcQeTyOSJoJw7wGBb6fYyFRR36ScQqs+hbkCqJgbCCcuk0DTBO33MJEUhA5tG1pVhjpRTQoGp8rE6/iQoZmWrsL0WfRIBQLUinP9OWf9nRNB8vrtTnE/eZvpSL0sAihdoQcF0q7tlvmMl27jY+igPlrHG3t/aM/LAm/UNHuHkMdN5NQ0JxNSrN+FxBXKCoigOKHloyYCgjrQe/2OKNUO44AxIFv4KHtG49TQoAogLVnKQpMSN1x49IwUHXV0OC8oG3CdlRii6zw21iazVDcR9KAUCXDANlDKZi+lcsby4qPl5BfChqrzDXN77xyukUanaM4F7GPTSQNQDKGPSTfY9cUQeD8rJzbE8baFExgSnQwYT+ACa+B5JX2gAleVKdoy/c/uYuxrWh4F0JBY/b8sTu3OYCH0Z1ZwCOye14ME27ZbekphJA/nAY6XYAY2Y5LtruRsFAUGnLFYuL+ivEZoXKrJCajbgc9T8PzEypMm2X3R64MPCoWaQZgPfR4GXkyQU5UMc4oHSA/G0T484LqtphWcoOKV8cgRV5UwSOgc7KJC025k9vQFI2AsRpRc8uaF9AQMVqa3ql/5onhhDaX1YoXdJ5PqpHhgG7aMvjP+hbZSyVkUokWJd7Lgdxfk1eNxAaeIfhRLJ45YhlpXRktezYKGXHKjpDqxgfkQX5IcfO1f553ZFFGLCAbcAVpfjocG0a9TwKjYpkHY/ZVWePAUFrD1xMpFpD7fkvjGE4OxHYsw/rNOvCeMshO71Teo6HZljpN9mIKiMbK/MjxfPeDewRRzUrSUqAMnfG+XbhjyF9yanMx4vlN05Oqr5yBoE4/nU+nffXgRfbkTkAc6phguDut/XyaqE7iVu+dvvxpdCS3qRpu9fDFoLOYATHYZfbdq8qbXm4NWHhoLySSEcy6leQ+UCfMQlX0XtwtLxJ6y4KU7YrTsvvfk41c19lkuzLGQ2EkLkNU/ZwQRHRnBP1J9SAjMWIbfG9PwqGGXyzb75OCGHKVSXC9jM8LpowkB1VDEQte1gh+xXv62gGvT4Djj9+izSUkEMpsCtsmfsU0ZqPFaxZtVE1PZoxpwO6XwCseaO5L4/6kt5SolHTirHiqp0L4Q/XKizQc9PfEMBwcXnj37O4lQHRlXimEMXoMFKQWuhIogylhlI1rftlUo9/jlyp9w6Vt1mYJUpfBmnKVAPGbz0ncafhVcrrFmHUKxUcw+8AkrWO4ltDV/B7pPfMdryhPZ0Fw2kUAPwwhcOqqvHLe+Vkn+nfxBlSX1u5b2JHQVt4hM2qLG4I3mMYg+BOCm7wXxni73ADdlBDpivH3YP7njV0tkQkbuAqWkFhxYSrOZXKcTYua1eaHwtk0gl425bLXZkTmN6UsSBHK9/rXFPETC6KEm9uhKouQ0hrYdSy2MlEimMA1MHeTv9ydXKIwFE+07EioGASQtDyo9kxFnsrGrayGIwMK99EsEvPwLhn+84i0u2itBQ7J263av8EUrr7JPFveHrmgWaO70MhWTE95J9vVfYruWl6lSCO/uXmH+nfSPmMftR9aVDb/5LHjU4tpZEXrFYsxQaV3W25p7Se1qcmin9NIRLn8jSGSLpApMXYrWcSgDlSbIsoebzM/wfBEPFtAwv4xL9OLvBrayLawhCiqC+XzlxzjJzhVS7LfTy4r57jHR/g9xPx6pxs0IThcbloSVH123sI2nd3eMyKObLbuhX+UCjcMKKRUdoEjhAKrneR2SojqKkR9bcN9ghvhQVTJ6TtDlNuuh8AVuGMCjvCOpZBQfI0+stwQWeMrRClBJebDXwhjY1vr8FuLsAGzBk2vwYpETIpRfFeZKP7wB+bwd74Pw8Pl3mn8VmyDAzFQee7d1A9Xy/1ZPG5Bc/o2ovdNH0J/gCKtGRXya236H3GMWkfsdTDqIuNk+MGEkRlNsjVGBlYNjSUjIEXWwCyS5eVwt651Z471c1IaIVS4q29cAyKXy/R+OKc1Ohdyuy2ExgeZQRorceCCEMPqcSVFB0Dp1RJaTrCpjs5lcDC2MtMGxyk6iNnaKpB3XbgkUy9lQ0GdH/hqkP5HDfbXTl0qsbdpXOLDpbAuoG2T6wTC3t/F+IngJnnTXs8Yfu7Lc/zcCc4lwCLBsQYcH+VBUhANUZEOLr85qUmUgucd0SB+QL82E44kJ6ipKhTX1s6Vzb/OUXDy3GhZXfj+iXxNJfIX6lcer4PC3bIybeGha6xa7GpY05LFT0dUZQIdEfEWcnDgUsZhzGBY8flKmnVyxchJ4Oxq4WmpubnqcNRnxH2ca1gzQoyT4VPWlwH8KJMtPyn5j07trfZ4E9GHxllE/Nvu3l3WmJ+tpvn6J/nR1MrNQbnXtW80/C1usWjTt3yyhy75hkI/dAXXuU0YOk6DQZMykOkWtrdorOOBiKdVu8jDOMGlkhoqI5wZJYL55RV9QfphNSZF2/ASjBTSbCqCgmwjgCfIadEmFH568azd8haCEfiWjJPvHspwg207fueffZsPdfo1y8SqKW/nWiedI0FXHkWCU+V1VlpHP/RU/0u9tpDqLEbS/dAJAQMn8c0rafxtt/WAVm/DBXHAMonq8g6PUCwxSCnpKsOopi1zdCDpsSKsXZc6rvvLXRZVOVgytwziREF3orsoN88jR31Iz3biJ9UChJ+P2GiRS/Jg1qN+hqXcrUPLCLcudVpPucdKpnNYMNsswt+XjBwWLKFKrNTEB/NsJMkxzQNZxwgMxvNqgIYaph2JlPm7cGdP6BFLq3zoM1KwD85XYNlgJemI8OmqYybBf3oXvH2GGJLKCpUTMPIYkXqrGhq0+D+/Bg5RryPWMyA9OXwuGqZUyckk1nYz8juANOYzUiTlJobdHUc+jiWpZWqvA2k0hoVev9PfPHgdjQpXqDQ1axqgcdR+gNXi3nqCCXc4dEyXUNaaWGkBCVemMgMAEBuSgygovmfc0qibSsybcGjrS2GrKiYP9pzYlp/bn83N7XBBwkfjpN/umeA667sQpiO4gGWt2xVGPofndHzKjO+GUqPcw+/PRemstrwjjeQNzUg0fOb3tj868dintB5j+WJDiJ+B9U7/ixA/S0iGCBZ9h2FFwI7Ez39kwSExnr1Gyrl0VPjpIIbSP6VjmrjD+3QVvt1+rgximuvhRGSehuocKCFT64rzJuf/67h+Z6QIjzXWFMv3M/15Tao+rAAlULQNoiUx/7FBegi56ctdfXY/PDRkqGmB/c8KXbvLmEgSwUR6bkN89uzpf4hRzgKF8NJ8hRJe4iZ/yXFvM+TmcwZvIrjc0jYDWTa0waQTd+GxCHyPiKY7QNIuvAIiHBPbfnHOVKATS92s+Kd/SdU8mxkED6fKpHLr2mBPs8oMME8wXKoTRv2vNTlgMrsxBmrWLtQhywRgF6y5qwPdwW6oxnnZAzXIZnMq3T7tUmNYkRI4b64kUoSSxOA//SMOZaOqOmSoZVDYc2Lz2MSkofFDSZOjfCUivaCLMmkM0RB0FIVGiDw9OTksU77PRyLELTX0ZLdVDF5J7Z/GCZclGAX4jfJpHNmz1bVRYYaZnPze8QNcT0NO2UG5yigBA/DLqJAQCSGsgiPPb/q9RoIzYIf5sHfbDZre1ua8OsqApzpfuBPF4KOoczyhqExlk53UwVrMOoXNx7aH875tq9wlia+ommOxxiERqe8EbuCwU2c7INTod1nKYnKboxpqrZFqfHyjRp0LT2ojZgixKUm7wdWKLCxe26/AddRwDVaGwLijYdC/AH+RGt0pB4fOck3cojs3lY54h9lCrGy+zRUUAqSyfY2R3FP9/cHLJGDOdeXLnxebHZix+YJ9VqA4HP7Y9Y+iLvFCtnsx51mCECr9zH66brrXlFYeq+uSxHgjwhhK5cvm52pTqwEvhjuVdLoDXwOiw4RvfPw4g18PPChgkeKtMAQgwlD4xArGRtiTDcPGLX928Fe5dU98XyRlznBd7F6z92bVSDTLF5ChQEVL8/ZDzg5Vzkp5PEkDONi+dp8Rvc4k5fGZheTcD8VhymPJ0e0Bf0z9pEPyFtM7KL0uoRKDord4U9ZfL2NniHrO4JbOLWCEacsAN5wW42jpCoGbUu/AA96TG00llzrjLFTbmhyNNedGAMEFzEopFdODZpuQ4sOCuLGCtq7noQ3vUsY6ONlVmUcdLxYDwfv3cDmXVrQD954dPTedPe+j+jtm7eyeE+8RNbxObXfEgI5fN/1lwNgtcd7njCF/HyJmm1P4CnvAvtPn1ijrenC9jgVJvyyBwSP/N2C7p3bxZBnU4xDIbR09CdJNRJct9TSe4TKvrqLWtF66Q/kDXP+JyHl47PRsLBwo2tbDQUtfBA4CA805QJ6DMbw5lYEKRVj4sDe9MmoWTTYtpOsN8rxt0Xe/u3JnYWtvOWOZ9wE680kcGahMXmZJUCWjU61Uene9JL+5GvIOMpk0zb+PMwPe05A4Por9t8qTTC559qdls6jSTWPMn/YijRL71INu6A5+4PnCbjvMVR5rJ4geQE3otdcjYRxDT2Qy7JAI3G7rtNxLgeuQdhqbSx9H0NmoAbK3SWwkaEMwVTWDXFVz/TI2++Z3kkmeh5tFfTyOXjipjOItUcbSB15H7j4sy4O3BLuHNJO2dftPjU60r2JUL92EaxMtSIDUaay5LarZjvDcabpjaRG+fWUFJH3cRO4tk17Bhamk2Gf2l+XftWcYXY2pvrHbbfN3duL0/Fadv0l4KhKNBqB7rFRfLwyp/OR9kDmbLqKZbYdo24boClin4egT3QCHm1db2JbZbocXe9lG2Sj8kOiCpOFrT3OKX0polK8F3GRMzIJuTsx+KTv5il+6toKK0hlQI1VN5W2KWpQOFap9DLwNDmlzYGxBZAM1nhsJnjJpHXyaQTpHcZdGIG7GuAtDZbLgYdUiHaLFnkbFUcsXC45pJrCEckdt8m6oreXY5mqT1pUSah65oTY6dJ4T/JfR0zks+ZNxfDdInnvsUURAWXWqn+ZE/u08pydIi7ETYK/iS/bDKmKzEJQsjM+bkvyHSmnTJ977WYUdx4VX7j6hrTajX/DMeBKMUUbDBqLDPU12i8txXFCdW6njn7jEogiIDAAeBUk2ms+wiJD6ogQaE40WPbTPoCXYZ/tpVCpppt0J1P0YQd2Ns26sqeAVpeuFTq5p5z2XXz4pEwe3gGYsW/uz5He/tmyZfJgd+lwbfs1HmtBVkA2aupFfj38uDF4bheOWvO7LDOgcU2r+cBigl8qP7F/WbSmnex1+9j2Ud/exojAyuBI42N6T8VM/ot+sklZ6vMv+dys/HMH7eux/DTCz8eV2eIltYVJN2jFjz+xcTZSgxEG1hWlK1WLcI94sC4+1Txmqy7oAhPhOfXT2Do8M11iux07hejrshSiopPRek8AMnve/ermAMZhpWA0wyZ1R79xbe+Y/mJrvISykY+t1Ds8UbtIiZkL0N4IR9mB8a6y4Rm3vrPgqWDDho+ILRMm7sCHP2gMIGGECUK/Z7vN53hW0mfz4bHRcQ/Rkmp1OR8Vd8fap+MA4hfIanx9zBRJNAPoPBjjtvlHGaXxR3hoszF1U3yd0j+0yEG+60dbXnooKB4/4VvVvyodnpuop/p4/sSvESqplc+3LOAoOYqBmRiofXMKsChoniOcbSs/+V1Hq7l0Od2XUQFM1DpYhc2RyKUu3Xhp/dZbDlDDp4ipcZw6RtLtWne229P9bTbwFxRmdiHiQ2eIjxkTjO1/w7zWQrehwnEZuJW/DBN+Runm5nlo25LW8e5UKiutlZMC515Pkv77ASMTMMTOQRTbEaA30zzB0OY6V9M4cwoTLze+j3BE8cIBqq/Xe9R90dFljAcjWk26OcqzVZZcAfckmOnGHF8oEFHlfn0BH/sruowaSmwXSELac7ac51mCagqkY6KoUu8176iNlEahRgbCJrQ+pTXLNli2/4POPUe6pVTe1cBbFJ3f/wGVu9u+kI5HPqhuqbO1VYNsOmP2vEgn0DSVJz6nl3zjBzG1GXPGR0QJjSMnDBgO9uax5+PZlZmhksjZseq6zk5c15lJuvkapWT28e7Rl6SrJezgOuj1Hv1DWuhrfRc1Mc/GzOFLTJkX7xebi5F/uLYXCxj4HER+LY/O7/RXcfufjJUv5w/tfawIfgUx/xN1do9No1UqFAQZN1MJPnj8c/SnAEzX+4ZFbXR7PjmeNyvKw9V6TBNTelmMhp71hiwuOCoXFsXGFufviO1FBOznX5xsoKODMv5lOdM4ew+c9HmtIUYnaUZjlBOLY5mPwPEWDua7RqhYn4g2rHB1BPvDkuqwvikuTl/TyoHQzOFhfJlQNWbxH3s7c7KUxDx9W20Ww+KMF4WrCTb+EIjpXNl5qAHAXtMmABZM34S+52DJ12UfWZVGs7Rzj3qPzL26kE6ZEdXWnSpFfG3euYL/3Mh7o220qOMLZ4/RYRO33F40VC/DzIsE4Hst6mY8N9tz1E1wEwh9tjfLPtJSQ9qrkZlqHQkl8fm6Ex7ULU6/AExxMbn/d5GDXhmh01TeCGWt3EZ0f6mZy91AsQtq/L0drIYONy5tXFRnCMc0Jr+auL1FGogLqYGdtEyREL+TIymxeVuIz8QHTB6YB0cFGAXEmeeuwE1//NsZ3Hutz9uRinvmh/wPENesUN7rJCylAdNlbMnQJze91rXwGoDE3ieiUHIG9i23itz7NinrmDW8S6Uv5A4DdVQ5PkQ6lJ1VK4HJdNLM0w7siF7tmIvi7bu1myK8Lk4D84TvbX8/9pHHQsNWJJfe3u9riESNsoFJBKgtWE3B35i9E7PfS2gblnGkVQg5JN7R1LMeotB+iciZm5FKFqu+wE1YN/blp5ylFziv13ZmRc5vAdSnxanuHKUnzwqGfhJrSDGImvMvQt7uGvFqZPprLZOvjDarqooAvGSNLpHle5VYZAnJbxRwHNuj99VbUyIBVPpqnNYHjnEZKZEvkc348d0YnrUZzsajG85NfFDOUQD8OLmdpdGBDz4se9ILczoYMFjv2HGVKRl4nIkLYOtgHK6qdK3HTY4TD8dbBKUikrMBzyW4+7/SSuebszMPPXN2DdFJyJ9EThsIVPRNrGNxLbfZdPZMevwBDdXQ2Gk6jz0QahbJ6F30knvtxFgaO3OOlvRDJdhdsZcU3i0BcJ/V0sly3LDkqsVd+3/x1N5Zlk2vau4TaPSOalHtQDPOmqgcvxHXCvVbm48TYpLtJNrOSMe99Rg74ZjON06LQNcrUGbsafRzTpnKw/8+JZWz4Gx/JVgJCfCRyH8rb9+Usy9jCY5HeVTp533ZYFlZPjVZCoXv1p3wKJPmA8hoL3RbzEJ3nacxN/Q7KvMf21ndvTCFO5ebY1I1PRMCavzldG800zwU368L7PXf+Y679jfFQQ+LtQXdpE19AhqBYjd/REkA73AyM/b7EAX+xIbShs9qmb0QXRPM0EcPE9ufJx1drJfV2XMep2lPmcU2Tc+18lcYoOR/p0TzsGF3XyLeBTUhNmjFYfD4J6D7Frvcx1EuFJoc4VBSlG11lWugABi0EKly8AJVNLWI29zyU+gxXc+GUcstK6L+7DY3VmTb2BAuWmKquJfayyhW/x/5UpW25VLip2/4eSNZy1wosAfhMrV80amBFx5hoGPwRptYUuDNKhxraCfX7hJpNbDWEjdO4ChuutaQaI9vMyc3P2FVtNl137TL3V7G0uNQPMs3fF3Am818ty/kpDxaIiw2iOMCzzN5vU6thV4MhcNCHJ3ZMtuI2bcUZmOKEXUBPKfsf7EU1tey9Dx0LwGufywYO+JOf98ICodMfEsObmY7OWU1YziyKsl7/Lri97Sv7PPKehh1y4pns7XQrWKbNVTsP0UHjElM+XfpbGt91JyhS6tJcq6vipvE0eWDu2L4qkeVmnpFMbDK/ld8IcbTccMZm9ZWpseGcU7CEUovYa/GPTaRshUMCU2P5vqkQTD/6ZKniSV2CVJgTs1YMfcxhtL4Ev9A47v39EoQtg9jePEse430j4at/QGijMWAwuZB+dAvxumQmbh9dhqsA4G7t0tGvB6BSF4FZHgbr+lwWd8B1ZgviJQgDW3+VByA/ish7GGgsRRCt7ub1Mlchx/mAxtmMK6C+qXUhl4JZO9GQL4cOaqsxON/qbxP6kauwC+MNcMxfTgCyHo/C6dErarpAI7/obw880CgZvphoEBcaVYBk+moyu8Qj+57lb+TpfqhhueGS/IKZQfXOCfelBwy0xVY5xOeAGBeYRzR/kLV8isg4wHZ/g/tJzlox8BfvvjWDMf8xEmVgvVqPj3fYm//LlWKm6l720cgMNHXHopnoKZPGeIzSO+BH+X1ZhxaBu0o7Fb5gN2+0J0P3meFgKc8NnYNNN1afFkiOt5z7tEZ8He6yGLw/+VWLPgmZSJU0mFllbuYU6bQcKef6wx6M6xC0oZoQNiEfCAy8TJsEU1DnfkkRLESGvVTQzRlfKKHsPG20/GIuhEGEIXRKZD5Mk8JlEMZeeUw7Mlq6jjE5dp0zAHdYS3BjkzP6fnN7ILSSt1oyB3Rvgsd51smogeleXCMKfYxNcRU3K/McEfSeWFRnOlWPrPGZ7d2Hbbk4Wos7FiZJVP6EoFgdmErmPf+aaB4cOZLVRil2cAoY99Bqz9TnDLmKfPDIOHAFxck/78niP62MFcLd8PqpzDAaTRYY05ZAV2PEs+AFpbWxF1+52N4NaRqdKP69vElS/mwbHBVOiVdoyXH+Z2YRQDcLAl+zXB5tfbaWI9SCwMkJ22RL6DVstwjI4ulK2Pe2+m5jCqZFfBxCZCDRUV0pKa6yBVEL8OVNMYnd/SRNWVhjTG+yxeabxXQOZwGl3qQrxRIgGGUQDn+62XbBUGo5lUPCZ9GHHAIyvhzyS8VkKqtwfT619YSaoeg/8dqqz+C8jctTu1krVTlhhDVZ5kVAdkqWv1QMmsH5cE50Pz2X78JcCbi9oG7SQTl2BcRk1doJiz0PRhg9ftignViPils57mQMvwZVtfSIBE9BY6MbF9ObWrDraaOEUOMI0B5rbPFoeQveJzqnfXX98Qo8IVbF1Awcem6sWFZUbnLDe5HapkDyXZmwj2TA3Ue+EaYmtnZYQaJPdLXjiEHrYegn4YbP3komLifbKketqrYdcEATn4dGY3FYGxLju6rdXzdo1lic6ZVJTI5IReU2DIwKfQQgoxAA65/GFyAIl/GDQxpWwPH1hbxIUre3z+/J0gQS+0fm6cMEFCU3e5iRzWAz9+D4ZG23Vr/7mXry80riDySbtn0PKqDUuiF2C043Q8aCbPo7N+5sr/QAwDRzMZezJ3tnYwwb66eKjpzOelcQeHh6OSJ0kZYujmqCBLqJbM98kSBmz0qZxO93BsrFag9uvH9NdRyctJ7nIg5e5kVjdTGpBsAhoh3jzBP3ZPWhmwc05H/aEvyBnfm+JExoX3q3wQA9/nmdofhwwc8/MTrNc78AgeAXnmH4IXb1k3Ina8RxeIyzEDCgefrmRBm5hID7dVBjXBgW6+fHcqPPRds9y8cpoQmBLQDZSQGopCfu07M5yuXw2h3PHj/FhS1pLY3MxHKPUkNdu5vFpbwbl2P/jRqCfkOvJFn3PyyPPY6pesuDBCUOTQvtFgsteuq/QDxSKghLVMQw/u1T7PgHJM9EpNv/j/urPg1vu0qyQGl3WX4WBenFYusRBV83bD4VaIlFpxka4BmAayDDyMrG0TUmmX9vHRx1jus0Ql5xMd5zr/8tQ1GSoC9mKPMhdtw5CG5/Sdjd+D4mZTm/t1piBKjTuf6y1YiV6DjP4cHQMNJPthUea4Ip5sXfhCZeeoPcog6KJnvgpaKYNXFt4xdneqawDku4ra2jukOqjWe9lKJ+6TfgghEjTt50ruhsWRBNA732HoBV0H4CSn/SPiXrgesBeLCvGsQ8NeNXmDjenk3PAXBWIf8DjvseZv1/+Jc+Y+WOnuDN/opBc2QE9IuJ8zPn3ZVVcgiusVEe9+j3QqBcoTE5OxSLPsQHXAAjbUz1n/XxKw0E88WLBJBuJUYH4HAO8naGcAdvGhsfVN7PZDmNmOhEq0kRcvl4BNwBVxV76hpO6U15R8Ul1maOwBjIeuAG0tB3atlUaQ7xs5kLpi8/7c6u5SKCmLaU6cZ5qKBbO8iEfCvTOnD7PpnYuIffCHmgATZl2mL3jXjtMPWB1LDP/KjVIdwqsBYsra+jw50RAm89hCsFhNhbWo68qFX9ag8PP5cOoevY8HLle2FLI3lIdopFf8Sutl8Rj0uw1SjP22hqF0v9nBdUYkv0JHRIudzt+5yp+NWEphabpamTCmFfsBD9tKRncO2GJ9tPwK6aclhYwKrVwUKPpZl46LpKbrat+fBUPKM7m9ZCGH/ZcVJzp/VkMSiwAhLQjcCLf98U9Qkep4hF9oZyNX1va7LTuKPL1S7GRvcKIkxkTXZXgSXOpyfXMFrrzXLiBo/BGU21YTMlRLGtMXqef3rYE9c9ai+m20TADtgN93cbFAXU0p3vozFc0F39bgIWFEIAM/15DzQsAhFq/UqEdheW/4XWl84cHZcVnasbT15DFueQC4FjH+q9v48C3/tmh/Sgr7NflEOFhYjxnu01ugAO+enPxlyuO15G3m5v9cFMFfXph7nEhPYlpqfv2SXoAtVNlr9F7IWmiBdePzR4uT/x8B/ld5Gxbw+e3/+YYz+KQfgE7/wpa+DqqRKI7rHTAoVpfrVyuqzu+Luqz9+zYUU3YIrpWFYJcXrl3GsvulIQ/ITwqtXI9SX64ir1gONlc38QSDw/V9CiAn1jvPs5NliIot0giatRlEvdgfq7Om9rkOmt/py+t+ZflQODXN4VOPE3MmJtBhLZG4PGCYw0YzkqkNIjqF3lCCJPFTf5cuJ2sIZphNMuFQmVift/IdreMwsxJlxEF0QHMWbdV65oUtbMeKAysYMQw9ot5pzG/fYIvRTBUDeZtak/nsRaMtOF8rjLYrKoWS0m++UbD/lMr5G7k7nIB7YTS0s0u0sTzSwy47ZGSLiv5nqY/sn7y1oKTSLOO+uTu/kU6MQMEaYDR64EjVMkhDNb+cO6nsp9k7JHlp2WN3wR3IFH2HtKCFe4iqvbNucvOb0PbBshRfMndrN3f0HMvfYX6SAzkG+yxYzUNJq5+g6q0mvTHAayvtq0Sv5K9TOl7r+cjlnxcWgbCgSG+l/9hOR5wBa5r1B40dmYSbNO5yc1WOOwDl6IlAJU0vDYcKmMjyCbHzjfo2cjTjUH/0sLDW9y5zvC4o5pCxdSHDXAmwVlVIxhb79xnHWZLtSQoxAzUtCKEvS9LIEjwfgIvUepGTFfRM8riNwtY6LNrQFnY9q9il2zmh1eXniMCWUQjCmicKaoSyuuhAvLOhsDpjKD75SnOyObCH64uJ0Oe+Fu5vm5GW+4M9dvtFFCTbtohIU/hGZV/IA1eyfbB6vV4tzxL/ga6aAuhRYasPOSUxIPO8PpT4GG5uB3Eo0YcWY4etwsQJrUp+NJ8mGQ9cF7+Pe+52m9Et1hZh5v9j3GtV+URexA7jGuDSTdL4CuUWCgsH3sRiq2xQkfYtJEkJbp/8Vms2t8EXvjWNEH5K+EcLd6Lk3iBq7rbrnY4114wE1CHct5fILWvvj8oWdiHdHqexq1a3F9LZo3Ya2SepHM2oP4161TJ6elIW/wVmYFqDDhKCuSf1KdehPRcMJ8O1V+CAsDquQWE6tRS4n0nuYPE/KKEWYsKsmh7rBjmJH47WBGgAG8x/RGpP8g0o4G+kBzPoj953rHTz2hgBv/RqslsgvM8KTEhu8RWcofrFSHE265FMjMcjtNPcJrkiT7k0j5DtcdmPEjkmAalrKbSDlSRv6F2vV6eyPoHf4Q+hjxV2EiQ42NXjBc0RNt5nKEKLdaHsysPekUhlwhD9lifHTsgg0T95XT1feu3vszYQh+9Ke/5qwK2sWVS2t4hXZbSpjbv37KHvMLYdeb1mUIXJLDwitAU6khooVV0aQMyDFh7e/LhUdnJObZQvciXnhjpK0EsjqTQPsD0Ozz2uEB3KMJYYKZNJpSHEdM7hWUJER86ulon9MR0oCz8kMPQ4d4pY2JmzLHBOHrP+qVYg/LbOuIFBBljwp/FEjRC1MT05YRn2i2qI7K8h7iqwNKGbBxgdfZb57E9Sz5ILDqmeh7fLtPYDp3jhBf+KlRKnRrRKAkQgOIcHqu5fqAW7RlFCmT906Q79D6jjsJ+iwzMgcMdTWDcpIFFiCLsW7Mu4vcdnIdA+6lf2AKF7iiImr09MBSG6+l0z8LPkNfHNbw9b0A+FZ0cnpOwwOOh6my7pp1N9TeDfX4WHZtDKxSCz4ABJRuJBO3bZ/4us2cmTC+dzSMn08ZEIqkHRKFiP3y7+rsWCTOfIrx4oK+cmkt+4ulMa+72UuwdVMilJ9ZPq77puVSN5Frla1wmA08ytOhhjV2sabyoAhTqaYdx80uSZRBKYRRZSWzY+JlNURFHADlcZnusq5F6JayvontdVEZwDJ8c9mFLglQjSMvkNDhHwmA8NoNOxN2RF4tYe+ksEhE5bUgWg/xaNkYbnq8HHxPk0h5NIeh4htBJPnIKual/n6MI4W+0/swUzQJXi6tIVYP2S2Ggb52qxYpmcLp8BA==" title="Mekko Graphics Chart">
            <a:extLst>
              <a:ext uri="{FF2B5EF4-FFF2-40B4-BE49-F238E27FC236}">
                <a16:creationId xmlns:a16="http://schemas.microsoft.com/office/drawing/2014/main" id="{453BB3A3-ADF0-40BD-85DD-5C52EE33B2FD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40788" y="1752600"/>
            <a:ext cx="7848600" cy="4704824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8776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1638C-5403-45B8-AD74-1C508D61559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en-US" dirty="0"/>
              <a:t>2. Analyze Change vs Prior Period 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C69C133-6A40-46A3-84C6-BC6ABECBD46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457200" y="1219200"/>
            <a:ext cx="8229600" cy="685800"/>
          </a:xfrm>
        </p:spPr>
        <p:txBody>
          <a:bodyPr>
            <a:normAutofit/>
          </a:bodyPr>
          <a:lstStyle/>
          <a:p>
            <a:r>
              <a:rPr lang="en-US" sz="1800" dirty="0"/>
              <a:t>Identify drivers of change between 2 time periods (e.g. prior year quarter, YOY). Highlight the biggest contributors using color.</a:t>
            </a:r>
          </a:p>
        </p:txBody>
      </p:sp>
      <p:sp>
        <p:nvSpPr>
          <p:cNvPr id="11" name="Rectangle 1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1h9D1Z5GDtPW+wuCTrU5cbsTyeRnoM7v2+KYfNB8pPDHY3/N/nQDLg73FVUjs5JX80ZEMdZ5aXYVE2SrM7ljDixtoKhF4R5tzsuuZUVsHAfnOUmJYoXbjyORMu0rBOLwSL/gouLRVPGLdb2g9vLWoN8GMV13PWPSnrHZ1xEkoSNykYDfDL1+jY7dTKRR2CEzaEPGYUT5ZMznzlQBU+aTFMFEVhnmaSieQ6IPfvCDY/2ePvBR/O1r8gCunmEDmNZQgKhcyMG1hOvwk+pSFEaDMCZFpX/w0ZMe/cgDgCb6Zd+G5gmCH1vX9rivDHLktAMHXsSIJuLQtO4xyhSpU3qTX1a1qK4oVlGD8HRD86GAMSATe4ZcKOvOlt/bNa4hdpVHG/3RVeeB4/LooqX7uu8aAoB/yRA/S4nJteJwUmvgQeCws53PT3tRV3ygg7YTNW0j5MQs1M6JWTvckWZTCcg/ch7zj0ikwI7LvJQjZiScDwsKWgbvEoBxAkp24XcpfG8YzaPdM43grS1OAxesk5RR2Z20TC5PbFPgLpzCLAYNWZyYKpf6kr3Sf/G88jP4DqeIN/RN3kWNo+TiAtUSGgnUrgBunokzFzY/K1wCW+BfEO9qL5H+o5BFcJV+Q57CZv1jHaMqgsRDRlj+bRDsON0ZR3YfnDStrcit5jEegioW4tFO02QVusyiQ8citsutDOdeIVFyJJTj0fMMg6SAA5RT58PyptDvGv/vw/mpmMlUXucnr1tkV3Kda2C7C2IwurLAIQ1CvjjWptFEswcvr5J0oAQGGNDg92C5oVZdjEvIHCOg2vBWWk03Wwe1g1ruLUKvqCCxzcPZECfhEUpTSo4/ePwM5Z3dlvSI8FzRXD3jen8BsA3TgK1dzuys4C4lY66Rml+4fXz1wEad29CuRzYhNzQdk7rEn6dzZMUsbRn/sDFwIqbDgwyQpZAPvnyGNlnDExkSSQdM5iZs1uDmz+yNL5x+uGYxAiRqBTHkcCjSMkBGN6LRBdbBmPKhwAjHjh7GD3gYWbUfKtxkLSRk1/qlky6CJagkyEJq4xKLeAQPrMt6XirHrte0EOLJ+kYIZzfr6o5jB/JoNnyuUB+Q3VPsMB/+vRtmiD+UmOnJO62w8eFa/eP1I/ASaosl6XohcyFL4uVSivpCWifhQiv+cg2NeEM+kb0Rp3NdZ66PeJCTAGQkEhfDU6uVBeCDw1c7tNhY1CZtQrf3RUo+2JQYJ00gC2aFEcXsk2L1sxrr938tD+/Zl59cRqHpe7rFUJbn4tKzD68T6oRIsDvMOTtW5ta+INfdktLgzf1v+QBoJORInn93cvqvaOzPXpsl+0ddxbkck2qZB1u2PJsKiE9ixwPZurR9jT5dV4OTj83NjvhHV/Drdt4k3vX5+bo3XYX+VamzfN743gUg9T+2iwNRa/k1DYvS/qBNX596a8IuDdKKhLZcmlcgX1VtuVr+M5sTdO3SRuGb/R/t7jKBKn6WVVgF8zO4M40sbfjAW8lG7i7oi8+G5pwtZnV0O/O9QmHVY+z3WYbXweBCyrLx5obfVKrQVr/2vxkkfLKpvlR+dhIT7eeaxpmydRvEAeVC+SjZip3qOFZ1XcqnlJJgaYPbMM0cpCi8+F7dMhqA+hyi9ReThqBRCe+AVIiClyqy8/fZQkA54k8JAyepNfh7rRlxASGOF0xSpOe1rgp5ATk4l9o9WJxHKsvEUBaFy7z1A6chBuM9GbCl2nBxugZ+DVCFXEmmAPMUbXptRP0ij8l0zoxD6kiq5PuQbaMV0JHr0yVjUffD55Z9mA7/aHxOWENE0WI7GTR2+rndgZSWonHzS4MM4wwKrj3xsUtpK3y16pd3+dd8nIaQRbdxcQXQQBIXDoMCJHJrg2e+T8NGJEZGaUXA+D5h0Qvany0izseQBxAH9JiwcAxKYvw+muPWSbO3y2Ob6Nf6fwTMlOrwIw1A/HWeOJzzRpjn6O/HzNbRgujOrsHCn2kNUaPX0WMACa+ANq71VqCKm/vElzZISy3q2PPXJJCRbm9e1/AY5rtcBhoHaRrZdAo+qPLuoH+yO/VlK0b4DZJrWNLAoNZjHnLWQbnSsnDVkRrRLkcRqcJdycK7/pEffMU0zN0yPMGEAYLYMMH7+KwC4GOoZkRgbCXxgjVUvZ0DSfRdFZKeuWrkNwfnZ7iI5dk7YrEwVufyJsM3YDowEAtQZF+DHVYJ9yMznbEiY7smyhwMwaovBWziUqFu24iTVFcc3Ffds9v4/6gVXU7ajA2uqT9uY6H6htApf0U0rTI25hl5nOZo2mBvTomjLCQWsuKyMnmTTdqN0hyUvPWW4NN/jJpHP8Dce2XBR5LVAuiMmwt73n3s1QNRixHq5obmCXDFhIUIjR9D+WSDpU5L4dx4YPPLUjFQSi1Ch6S6ehfg3IaFg20fdSxs2lbNMt1FgIigLMQ7iqDd+zL/9iIqV6L1kRykLblo12afxrVc9vv1RliZZQDCgaxW67bP5uBL+p0IaC9qohIsnB4vkcOF/83dUTx0W3CKogTIVF0g+QqOOwc1sdZJXMb72Pow4heGuOJXY2ndYDlCNPeUOLUa7BaHkhskPTtsd7vgs7PYEgCelbR0JOjEhFN6WGs2RU6viWJBXypRVgKE1VxctJwTRnN50AbuuTTm0qTVEwzDSrMIbzIJzlZNcfSCRQ+Qw+wbDHamxPz7utHMT9TbqoCJCBR1zD9rFX6sWLyNsvzopVuFWQdZKn8hWo0JjosIywySJ/WBc3iL7XBh0dVIHzOHufxjWNhQUbV56FvAp3h7pRxuAD7FJmMMhwXEOTue6+XMEkks7B3zJZVNP/RtXU4pZBM/c+M37s8W531i5UVZ+N+zv12o6sk2VGF8HwOmxcu40K3J2SDFiaU/QUianhzJxFVJEns1aGlwiXG/AJ7cqPp9f5sTtz3ZG8dZ5Fc8pYA7fPGiN5IKKgj+Wuo30YpqftXLEBnhCSCVkSyrgXtgs91pH1cOmf6Dv+QKPbnBEQW5m1gOq2flY0yvzehO0z2JyLBqFxZtijeZbWGhSGDLjc+j4liGuUBdp4ZSfwuVO0ES/3ildmTtD8b1dfq9XGeYlpAb5btNyUR6gYVFQBV7nRih0FRIcQUwlJGWSrpCmudPomULgxowgnkIC7ZvjYTJ+kPRq/0JpGXoyWTl7mF96Bx+ViRKnW9nz7fNghXZeF9MonHZVCI7m8PyCox9mYE8hWKh5gEeYtwMBHi4ZTZ6/suOfbu4icHe1n5pIcXkXhT0+HheKyeQSElGs9LEuAcHBuUk25isL/llTcZzQEh/5MeDGhRMeNHO0SpH1ng2v3x8vozef1MEI71nt40gs0Nglk7lKbzQtpobqJMIUeuHnjJZaecwmjqe9qhaVYtOGA+nH9C7zEFJY7JtxfRDu6ljDSzlDd56+61ZuSiQ+C4XiDSa++rRWUWweX2fq7Axm2M/X0t9Fgls8bg6ooPOUBcj4zs9EQOTR9xMJ+qblBQMbog2YYpPmoHFB08Mo8Zx8Bxj80Kmskcv1LmfHxhJ0Hxt402FIZ1iVFzBVuQGJV6nT7314eYrOqtQ0/2RpA1WHpweys49wu+O8QD9Jo5lDNPrPrhdU4icH2SjmqW4AQ/awmwa96NIlnnGb3v5JsvlH3o2gwV2hFlfDXfvwysv4O6uP10W7BjRIhQZdS841bhmH8TTFvxMXpXotSAgwb+OsUO0Dly0qyvu0OsC7YVPQcZHzJdNvqNJyAB2myxofPOilc2CoMZeRSqomsKcANCqD4BHWt6cHVhHl/ERN6r+q6bP0naH/akPydxzGSUSBVXCgvgNZeW9yQaAMgF+1BrXV7j+MvINxKRy7gAf9O2+/3V11IkiCay1k4xQg4/MOee56nTuoHjYdp/qyaot3+03W8nlzHfzIpcqHJg5N9WyXwg72GA5XHLpuYqZsqVMcsJE5od/+hDBJsoiVXOuL+f0zD/y8as5eFOpwWsS40SvYL0HLhgSiCn5AXXyJSpuLb+4BOsb6t2XgtMmsYYH+1Q3IlFT9gSYnPrHFYk68tZ3mtXOzuznlE6XF0WWlAG+Ggj59jkFbTHKtK+07+wSvWnZ98agoyY0U0+WvipOj/HlGWmo39S13/Lhem2v1gi5OImcppxnnObDY+iNhqmOuv5HyMoD2e13hxRgNcLMPGSh0NcoTO30cTfClgKa4HflMM+HRqgCDFR20tqQ72w5wAwlTCoGl4Kl/bKTmQETiKD0qBPKjhWCvmkv/VdmanQG/FNffVzPACQh8De1fOcPDJLAQ9qvFlBhwWEnw2v3OH4xQCBaeMKuqn/dzNScJxLgODDZsm40VYLkf7bk/pfWjarX0kKUoSVLNotLv45yJOZgL81B7taNGpOdCH4PrYldEDcGfOl64qlJNOf+3kHjYHPp1lKdUHmOvsY6kv1CV1vDY/GAIiqzaXsY3wHxo6gq0lYUdaP0IyxDaP+6KYiDRk+3XG+DChM7X1X4MnH1EIAO+OBXia7DDqOqoNNLR4lr4+yiMvHi+KnY/m4IyMRLUMwv7fxOT3O85AiYjIYaGhrHSc274YezRIp/R79kpqJWv8Fq3rSy8OCrcH6NtC6auIOas7neV3q0FoAdaP2F9pbSgmlJEkyXakcmPGr7cO5YmQMfPX49irBjns41vmzfJ+Q7dV/Jtqjavxg9cK2vuFuuIr0EN0SUr5yq6JkXAbpHdGFbJYkc1T7DwlzQ9JRfie3leUCztu59osgqeHT+ew3RHKhP/Bm6aB/ndIBQqv/WOJWwKr/f/pZdl3XbcO7+lc/CEXZ9OJSUJYUHmsB8zluLZ/klvuIaMNzskWdCc00rfagMoVWh61c9PSauJGtHnZ5MiBoXvQMkI06RPQg9pElVJO56iGxSbxY4aIOXQrQ8FcDVNFFcLii+13I+lJWGykhU4vHpBUhAMFVp00qTybFlp0H6ngVU7+dfzIFGGx+Ue1YLY+2GzXfsUkZYEyrdIhSxyp9Gim4wKYEyqpALOLvX9r9JgYs6ulonGMVe5ZKqE3w9jI/UwRuQ4FV2QYRSNhRzBL+gPQQd6GZWhPZMgIc/ARAk7zu9aJPKYu0RJr3KhBWHfC7mhpAyjWflo4Cz9Oh2LEfUHiSoZPcP6FRtfxQnUyT2oILe6X2tSaUMJxZDYtDtNuUOHzSZZuhTZsgok9KDr/l9loml5wBFyhpZVXYCtljm/RcxBkmP6AcYpYmCSGgCFkpGCFVxkMv7SUcJN23T1fRPm3jktrp24nmPPM9DbJTTATKEdMsFxcXOIn2Gs4jhx+dP5qlj/Mg37Qi3sSf/UmX3QVmwTH/LEfrfycIA+hGqbv7eD7mxamIM2SQrgShz5OWgy2rvqBgCKNRSR70gGVzMVl0QcNj1njD3nOzXgk4eBFjiUn40vBjMEk/QNH/+JyluX1UCDhdATpzxilFT1J0f+4eKYjTn/Nv0Gi8t7AFnPMibrF5Cl+4tijNNZ6bghejW0nWD2EC7g8Wn3KuagsVs+AsrUWFTMQS91YjLgAtciC0ewG+co2HwB0FPpoucFPKHiqYfgnzkltvvcMKv+CnC9nAwQGE3gQ4EL/OO2OwGwPJsp89koyd1akzgtpnEmUy1mjn2+VWZyiajX0UUFBNK7vZm6IQpJ3niEo8S5IDMxENb0VzFgevGGR7HEehefsS1pqgv5DoLDW3xlOe06bjbiC5VFzPLfLIr/QJkdMpL/VCmk9BuWbTsErPFojKlgCikeBG7jCc30ZZNSMC+2l1v9TDuv6ZEZRcqn3Uke6ucc7rHolCWWWaTJvrfqjAI2xN+3JmC0tRyKMU8Y3a2AO6pXjMSXUz/sqi36wycErrFcsQRntxbqGuqqVATL0uGeSY31qNXtmZDavS4HPeuOVGSFMP0uzgujvYb/d8aWqubPnVYoOvoAHlkI0zX25Sq/9PzZhv7AcsmbznzSVug0LOq0F2b2B9lqTah5d/u9jSiLC1Hh8P93AYldgpM8EtAHg5oNY3yvoVTZvV9rqdTecHcbmjj0hWIQSg8Xoof3Rw6XwYkUwCOhvHWz9kO66uKDdYB9fAEODBizJJMaAlG5nUBy8e18JfEHiQDsl7qpucOstf3KwW54iYwHqjSRfVqyyEMzr3dS6GQtIGv1UwHdLPzFftP8O8kSeHlBER9zIU15gU9Ytu53jTmVyfCerVwBa3pZcsahD/PE4gPUZ7xDGeeF7V4Vi6W5zlKAJiXJlToVkA8rA+l5UwKam+yCOTPk0HCtXdd2l5wPRGwD7MgJ7z7ZPwNlx98pc/Q2LobHFb3yTIA83mepyWSGYVpN1xxnBMSBsKHtUD2NOxg4NxsoG/SZLYc2pl+SdWouProDG8qRozJ8zB1uG3z5PcoFPWGuQLouEH7hGcYqrbjjWh0YnCtvpOXd7knm5TqCjx+jQpesg2oTrGOKu9CP0QIOZJOlS55eK/LA+rhJn6KmxRXlQmwpqcaW6AyN9VSb7onyw33T52Yu0PWXOKnHH5xAL4LkZ9gM7Os0Reow0C7Fa2C20SxKJ9+DAC134u67NPJ3bzwjNZJreU5WX+ac0oFQOku1v0USuryopCmcKNZGg1TGSjdkat+iggcGO7aBdRpAyygbKSf4yLOgkILFAkDJM5htjM5gqN9rIXVw/7ffU8qmgn+N8YD5nbtU99yxegJ0zPR+uMevCMUPZYSGycRxecXq/a5x3vqDtLoCRwtucLk2abDd6BQdbN6AZ/JUByrWO3yH9XkoaXfuBhfuOiEcof/6orfZLJUsNgp/wNv5a98fyYI1k10ynjix/PEFjje4keMITfeUnbbt2ru9ThwDUJ2+iP/hzfieZZLf27lpFYQyhmvDzZ6jQmJ069SmX3Zqd6kLlgtIzqk3GbQambV/tOyZbqyt9dEGVeKSPsx0GFAol5cXlqYr4PVXNr5Of0n9gslRiXOEUn9YnikP1ys+z3x0gTXqB+js0H4P/L06BX615t/d/FRXpX1W7HSiwHFv9BIGLy8VOjJxAbMlccHenAqU50+Ly6iewRL3bjosGT9s+JBAx7/QCXn82V6SI1FOZOiQJjUAJzi6NwP0Q1mLQ8WfP7NNQ8RELQXLFXaojmjH0IjlrxQFAFquUOFOx0iRve3FpO8uPaQKA6u2AoEc1tom3BDOLr1wt47CC0dOqwAaFvHDxbmO11AV0GLmxuA2vv8Vd08lEzPa/b712ybDtG01a6Jyry0hYl3PiD2z+H5/g6qJjnjPv8QYxB+XhwlYh5knY381TdAvWHR5oq5shpXj/8d5+XnJE2W2uu5161xJ013K9A5dACAB4aWvrSmb6ql5P3cXgqW7FBS6Fx3HmIauGaZvRlINRhvCMG9w/LAlkVeJjRAIyDhavbjr6Q+jsKNwRer5EbZmviDgAao4FJbK35hA7U6VM3rBt4FBUdx8LyepHLAz+tM+Sw5QDLtGq1y1cmggU8Jq/7wx+L8JdHVKn9wFC4u+VRDRF4MPLjRhLtDKlctwrPWDUSkLyPJnx3Vk6FxqVaNmmaaAxm19Ts0pgmF5Nn2zllJs5coovleox1La8dPBt2nk8y4+8sbeeO8EeTzJBTQf5AWFYAbKgyu0rvPcY88G3O4qXm1w2TKtIQb5T4aXPRZ6F435ZywYcVAPAZrrhjp+etj3d27arOw0vKlHgBxI9FRxGBxKN968HThz90FTPF2jJAWDopt5BJghwXdMWd2vtWdl8QQbUrM4+TcKK2U4XA0/T2X6dlhMcmw/8VK0SV1MzuOXbpFHWAJScemiADTJ5+Ab1cTHkUHmNyW/gIIRDqYaomM3VeUJ9paR53Ic6yxwCyNA5Q/W4f47iqt4sK1DKKxu+oBGjz+5Ep0wGjXzh2RJhjjY5rls0fgP96ZDSLhuXQfxH0CIs3PgLlU/kfvlQRImhSCu/CNeDjxyCn1QageWPhprw3cU6+VQhxWKxfnLWgTWhfAiDDwnuh0o6az4QA+lPJZ3nwpd4Lkv/8+WBQ2FP25B0Ko4CG4BU0Gbh++AX/LnxkXH7U4ASAKOcK/QaqubIZ1kRCQ2WrgwfR7nLv7+MSK5uwSRF2vyCs7KGygz1u1Yh9KovSJCqHSwJEC+lrwoeIJg3G1IL8x2p9fXITe0sRPX6ZsPH92iS4RqVLoV1cEYD3Of4ZP6dlqaZMiQN3QSDIGquCdAhWGuWGtR/oOzxcdmyuuYc6Y3dGgaWLHf4uQ1ksbwm9k9vnusd0cQ6/I0J4IrzMUc9k2R2heoSE2yPhzqmRonn741/m0iVzz9qYDaaMzbSa3+xVo/09y377rcuKtuZUL0vgnUctJVD43t9EdU8BR+w4vh1CSVkeC1nZSxJWHnkvPHKH9d/yRg7sUSicxmZJWWSoscGC0Tr0HtlhdkTuB6C33cwa7YwKMnnI4Aun0KOyAZsCMEeavCWMXy0rjZZxQX10zYkOKpNjxVzlG+GoFsWhkwIwzl4papcnXHoyD95nGS9MfnYqMUOckWm09+B7nUoC7Gd01z3kmZ5+ODkNpN/Em4bcxALG4Qthh5w47leKoTlZN//pPjtTxm7zeMVdZF7a2QAon4C/gdosy9GD6eKXTx74uTbnzYTEWaDWNtVZ/bRe/u9+GqVWXHFeFTMSe8G9/D25Srw+2Gboxoi3Qf+a8JGJi9c6g9EUMNLKkhepiYK4GKYQHaogwfKXp3jWb0e8yWV4rug+N/TFPS42DyjtpTl58HUwLEarICpd9t68Iiyj+3sd+NJkOXU/0q23rtaQENq77XGyLRWebbB+PmFUyrgjlH5yKBgGqJYLj64sIm3dteFKoU61P7xW9Y/qqAfoJ2ymDAFd3eRYuKKLM7C0wgqrJ2YCYoo9K/nEOcBHd2VAXYDf/NPyrrG+lSqupfevziX4oyX23CMYVPTfMZuAxN8OT/aRNanJjayRq/x/5m/Xpl926Es+KVh4xBENjTyTYY6lvvqN8O7m1kAf9Qh1j4cf3b3jGQDmK1h2lai3/GYRDW6Az2PHpJK+B8y8TJvTOIPgVhRFoL8+g/hfKxT0GUKvA3iSwW+BiVzcQmXvoxXkGcpjXf1p4jTzVNxx5Y+j622zW3AV0KeNt9FC+cNWLZiCnB4SkJcYRx5hKDK3D9LB0ASqOd7yFD5QiW+HbewhSAbXnFAOpHaW6Cz1GYHwTSQdugmLt10kPScujoZ/YBM0RlwlKhQyOivKN/GfyhlZyTJsqVNt93/IpJvqWBaNvoEupuPHa3xzdu1uHLwi/tmJqOl6lH/kgGGxgU+rGMIYN7zIi77wOnc/qSDTNoB7+zL9ynQWkZSSw1BSdKfNlb0ORSyeHvzdY0Qja4kpLaYr6cc082mHUIcQ7MgkA7DMjmRcI1Vm0vafqXMMAG8XLEabc9abLTEf2qWMHhQbx6H2lzFx9xcVVcIrEF2w69exIPOnDFtDngESt2hNB7VdgaDeY3ll1+GqGOYUGThznk3AIn66EKOkA+IiLCRtOm1vlAfO1s7YxtenUxTvUSWMCnK1VhxNfQPQGzA+ufN+BuuPiHj8smU3xJUYmuYfeJDpNT2Q4qhtiVy+6FQ/uXXNhKs3y3AqZMYrBY7J2/FVCTOKh7VsZM2jsV6psMiu1FVjnVKgbNKyDriUdOqusA8QwPm6UwjpHkG2Xep0mZQRwy91d2mghIwOUmKdH0OSXe1SEdtDRa3mzC6JQ0NWjfrIvyv3Lm68D4FFj5845Q8X/6wW0lu06cUkHGTeJ82MORwYTqyJ4KFKllAKsUloOCHS71VzHMA+dGyPobb/GfTmf5HTk8Iq2ss2v1Qs9/dnwFMWbUhelKkx6B1CIRuX40z0u14q0vFwgEH+5+Lxy+nZELDhL/ExCpwlYMQgaYi4JFZg3ScL9+xb4tDRtfeqzQHPPDklle1nVlLdz7U4Bl3hvBusHlWZSpVH20eNq14LqOO4/HqGjPAp5QpxQXX9G0ii0hl5V8EghERunb18v/D8CJOcLhXS2fcQrTmjaELIc68h2cv+wDY3z1xQqOQBEjq/1BYkCcBh5FbGKiIKF+d7icfWWeP7b6OLpHFUxL8bbmwi8rqIDla4OqaR13cEmGHopkaMYxweZLxkZTj8dD8QoJiODkqkOPIVbRLNErYVd4bPHC2L/6f5Uc/MssRuc+ESHPuDlYCi3BGLu34NGg6l7y859sbRFTgb8usdZxgyEHRh+y/YfaddXhi8dTwD6BEkR0lkvuHR/7U0ei/WsU46Yv/zDoTqkyN6jEqMbn5MXSv/ZtHGMECEeCCoL88j61bgLo71wIhAhhMiWfNY1sPJ2muMo4DAIAhfbt4VQtwO9q5vmxTUD855TBemMNdbB8crbnu5G+Hv9W4+LGIfSAGkvO3gzF44E4nls7ZYujZ8UccrzIcBwb3h7hOiaTNucCQGJMkgPbpvHBXQtKvbX1VmkzRvXsEPKRAMREKJVdnyczmyPcinQIoZ2Ww04XlCX8KYnpRlRxwn5tUYgMrxVDpVkwfFC3khZ0XAr6vidx2+2gR8hYxy8x5UK0dS7ni3HmuOyphtHeIuwhc7GUOp/dxxFslYuKk01LGT3xcG3z8VlOKdol7bJWkqvD0jPsif4kdVhZkDBqoP+gHzfp/60DBYAJAxhjzS+QBEz8wziJvpgf6ljG1Ydzd4f8GYLUxC5zlAqP8GWivp5vBAsOJo0VgLvHL/HgvASEN2Wb+T7yNoklJCoQiJKZ+ZOg9LneXNB+tTA9Rxe72z+epeJ8Il9k44AQ6X3DAxoObUmOzam4Ra+7l6TLvhyoZfFNUTVsn3a1H7IDuPASmPM1N9pC7DG2SApHrL1hBumQgXKiwqwgmdJNQ0TXIggHz9cKyUF22vjBckeOSqsek2ckhwhE7fSqQUKrVr6znRO608psOqSJS65JhbZlGUTyldpTpzTNMj8N7xpfIZeEquYASO++BLMdyTrQJEZ+ANQB8N7XYc2s5It3zoLSEUOW4kcdLL7ZmxUCr/8fyWzNM/scZeTkl9DGI0fcW2wJpdb/iIAXd+SHgMWksdsYFOQ40N+W9iUmsrhxkKceegKlD9iXtWNHdfqQ3AibfTcjG3SG6UtFOPHUc1wKNoRtYuw/wOETYtlfTvE80E1Yg5BS9jvkgfXzFrLigP1pPBXTWwLMsk20X+ZijpNTY85NqyJ3wwSarnlB9EF2tj5OzuyyZWyMP05a9sfurR6Z/eNd4CZmRApTTaSjBVdSaSpe+DMo9d30htcXIgvbAXdPLcVnuG5t//hDeI725bVhImu6uoebL6wSOG8u3v6g6KCf9Q3JSnLvE+S0rZhn/KHKylSVt3a67ZrgtuhrCAPsAlxCNy4umYN2EIkbbbpypBmDPsS8Tzj6OkrrNkm+BiDyNviGtej9NKb9uby1cFWr6fMT/wbWUJdPy9UUiYiT53UrvPY0Kg/7KrzW5J5WLs1Ji0lXTd75/os7iWzFms5zaqK6CEQgcsymZV7ZhcQPO/lLlWz8Ca+2KcWkATk6XbioqfW79+SBxuNP2S81L8xxfyndyOyFrZnsFhOidv3aX1Q5siGH26C5w2W4PLuse68C4dfjWRH+gbe6pLr7YgacZg+RD8SCXC14mP8WV6aOt4IVUhF9wc/fPxgcKWdYtnKimMfyfNJHpVcxMLR2gbXuhXr+a9VJ6yP6JOAEFu9eE3DH1VhCen1NzX0eHJ29CNgvW0/3u8plHap/IZvfaNzfQuFUv+4Z+yJguoFQdaMEtYSenP8DIZcNCd+gSsSdtaIRZ0gN/JN7p0dxzLdWRX/D/dc7LuXeHK8k5TcWzj7sJf9bxq3k+v06YBdrlYd5ESE1RcIw1BFqfFiCPdtJsoWU9Fe2isbRTJK76hKRcrtuIfBx+lWGXq8YWCB/CESSGjVt0+Ppbjyghvk5qC1lM1VyR7yeWXt63ypFSL2zvXVSNjCQCrdETuY9ofPk6DgjLj6LUF4m0F9l4TDx8bTLa6JJnE6NR/lvF0jS8PQ4i8ucCMp4L26RizI069UFhokoFHw+nqKEumCG+EQaYzhZBBdBTkAx9S5TWnL5pd2BCNTOUizKIQVh7Q9dcDBMHmJgsoXYYlqoiI5rmJIUhnHxnCBKh8bVm5Wr+n6KjMEcUWiQfVz3lBTC/ewni+8wR20Mp870w8PbdzlUgXGXyhpwjVUjsBchG/rX41oGnRjA8Tk57r9H9qYL/db2lYH1pBOIcv1PUymo1CaeUYx9JqXlcBaq3JReSfwidRhptAaUaq+Ym2dAH6lgeqbZNuMmxeayofCdIl64CGjH3soK9cskpuZ8gDAIOCaKTaeMvHP6higZQ6JsyA9iIdwjavlYhK0DyIuVFwrf4B7rlsfjnpYd3FnSdRkODHcWqQX6ykR7XYL1CXGETwOSIUfmMceP+gvsYH3XenWKs67XBkZz0+HM7VlYz8M/Jrmp9AYClw7R+Woub97m3v0DGuN3cYeHPSKJDR1wf0b62KDbfGfOA81mJsVE56ZkoDk+EkBTd0qhMqqjxqu1HPtive4y5RpZT2NVin31SWcmu3qlVCeVKmSs5I5/XwlWZkvACxCL9ioOzoAcmknG+fwThzheDuOqW/eRfcT0Zo1iKbHpeFhC/kqdAslnSO3JFgz0TlF5oh2E6ieTElEg8iA5WmBCF0/EMVksemEYiztBUldkF/C+/crk5ND3NGNGKpx6ld0ROc3qBRD0SZ99P132cRtVdvgRT1Q/TL8G/flAkK6b18DgnnvgEAteT+4k33NVZhEtSienfDHGWF8wNHSbidqYnkX6dwxwktAORjhErGvZFXiMWh227V3eL/ThgzY7d6ueme6yEB01JWVtKWwzoD82b2eT2PWRyYbBav6CeX0DWZ5skHJuZ46mIS31D2z2xNWuPrsfq+3KVYxOOsyt7gZHCCyLELv9hB3MVI1ToZJj8lI5QRGhsSWfoU4RFrCKI0r9ohMgC6bRQrFByIG5QT4FT1DxTyzMEM00SaP3M92SX39Ahjpm3nmF6/38NwBLTm2zZ0RzLmX8atrdkFrMqxtpBjHn1f6HfyoObXMbKSLADkBdH6uITAvaSUc5faysj2Sb+Uqi/ISM8jcbxToj+qlw4w/so4AmCfuvjzwYfwbjU6seiqaZ7Aq7YX9GEWTgRrtsffwYJXIHEnI9TGvpspISVLhaoHU2JRdfYRzF+B5YsxG2RXaYEZXxUaRcgKfCy4yyz7uDM+I7zorI4SI/dotoYnoWRW4EAdzi1eBXf7kgKtrbNE3aFtZrHpvfVoKVTLYsPgARcyYIcJcTiClHYGNxiWcuIIvHRNK4e3ZmFC2QQ3QyOveFjSe4E8cDITdZewbBAyMeX4eDUz9ooYwug0PSvF5NsGKK144+XReslROsimEHNL+9GZsWLfwidulOzq3BxzZGZyep05BX65UMQ7bLPxmKaUHjCQSDZUV4QPpj+uyWjTDCicfGvr6pcnShRkP5Le56NSGLSfi5+E93bk9leY1/tyO0FwtbH394UoMKcwh/HcZZNxQ9m1VuJ/1dIDXL1z4ewvfkqhixOMm+GOx2hgAoYVvitwJE4uEn6cXM5PAibIMmw7sIbZ7meet3lF0yXB5Kg/Gp7jw0fOtjWhRiGrm+kz16YRkt/UEoZsfuGygBAmjHZb/BI2gwuQxzwMtkc1yfJfWErh/JqiNTe18VDS7iQSO1sXdS/XGzaVUrVuY1lWU5twTaXBbugRWm9a4OoMm1qm0wMAmSYU1nCn9xQ65TryIO8GnfDRSn5UZV3Jr3sDIitRcQDitDUFP+xDBHCO3miVgyGCVVY2R/hRhRBGotmAh9ygh4CAwRwdtlleU/834bXrLAwTHnAQjjVD7+El3WDI1M1bRTkTDVqR0qjjZqGnXSwqJdyxvNz4ee9NaR91t3GtEzw/H4l+2OEesLNXdifm8fA8jgpoLfIRjMqYkbzoTj1K6VsbnX/RlkYXw+47zmik1YeiA9Rlen0CE7ENfKiAe982XiU5E7JkVJss2SAazyqyJjMMlLP7qngEChfHVxm9JX3AEmE/B5Hrld6xWNMAoSzdn8bnU2LtraPynZh9waw+ShzMl8VLLtLnr5zbiyqUiE+Sf+EQiNNZ00bE98HJPDgIOimUNs5NRshf7eAovtAZj1mILtuwgDnuJAr1Tdq2xnyaDho/AI4pci+P5whbwEW91fosmNSOhUbIMoPXPa3NH68JMTPF1wRz6PuO9dEkZdPCRsHdJMWIezqRupO/x9Ao61UT/t+QALiYcWKCZMWW3cIJ7qvNEjrth8TMay+U4d8qRec82Z5CAIA2+/quaaUfQ6g07s3v3H60u1J4ete8g/Oa1TutNMzGrPStALqlo6r8l3ILww5OO4l2HmlogbcsvBXl5e1lYinjqDDrqkpsSy4XrKNWWGhCIHiSmPupMKaQMNwudpnG1XifwniEG+OSyTr5hknswgfaxiwG4PUdzcmjYYLNjZQQZqtoM60uPfMIWzyVcqwAFTDom0IvHQuXqwW38cfJVJd18237h1Z6CFSG9+G52WAG3tDQcR26f/Ulfgu3NwyCIgyDeOzYJyspR1pr9Ikb92ayRsFyMXAO7fAVOnyqNaKZXq2zrLWSc8Pj7p94YOBP7Bd7VsSLGmD5V1gVtwG/iGSDtMq47zdFxk+GRSW1lvQLEtD+FgvBc6DauOOWYHim6wlx8n5jXYGE1Nm8f4eXdH7c5sYotEJgclnwqu/RnrxvYUkqaDInZ4hP9nxXQ9bU3c5cp4alzTGuzOhsm3NaUv9l117aWRdNQ8g3nfC/as1a3yjUi44jQ511LAQg9ockzij7kph5iG/TPNHKxdrNCBg//qtAQe4kF//1uRRiUTGtlkCUonjb7O1w32oSuoV2SlSZzWGvIp6oJ/6PnqgxMKNNfLej9FFVlRi6+zrK9psQDVOXXImhl+DEvp2YRaodSepssjyX1ZnLnB85T5AA2J99MFT1Gq77LpQbmCXZtGgSF6k/0LqvQHjeGdJmDa4NT0YpQM1sGtb/nKpeHLrgvjThTJoqH6Y3uNExWaSvPnRXgCtxfHJlid6xW4RL/t00VHprMOGpC4KLcrQrDqmCEdliyB7l+tdJ+zu9d4ROy6cqs0wQIxRNTa82KZhxH3amnsYGNAgSB4TNjzRIJz91vEmkwlApU0qM4x7ayhC75DAFgFTEEJi8bh7gsrjo/XEqAFEav8KMavl1Sa2HZaM1P5+LTD18TVODUPkaCiG46TeHa+BM//AjOBciSsHCu5y8QCQFLQn57zfFJQ6XjECMNHMTWPQB4Q8Xh5m+DkSJJHoAEoDEwlMTDc9N+VkTf6kmtnCctHxwICn39JIWXgx97amjkJYV1PM1ybLQbsak9PJXS7oTeUz4WcZvfJXkMHy2iLG/zvG/2vEnRYlMUWdT1ENJ2KPOqwk45MVGS+O4SalCVR+UdAGoogcT/bhit8BKShXTkoMV9z2ihl3jjUVHJNWOooV7XaUmOGb9owbuLKZcBhLKneQOt2yfQNujZrkSQqH8J4cuCtFV6IXml52K0abVr39Wi+ydSI6f8WxAYEnrGLlZ8Y0dRu+Kq+feS5J4tZUEmUfI0JWKbneYsabM6hmw3+BW8QSyMbhQ1AJ53wJTll8FfsagpKBdbqAwCrelDorgZQvvRwXM1raBrZkfAuq+xpU0cF3Oi+YAcu5SVYx4kOexRggSrns2+YqoXlRktKB4kk+MbkQLWmtpAKCSP1rN+9OZOIk+1gSc9nHxNtrb5kJhie1VEmHX7hnaCKnsjFsnGIXv0zwWn1qT42CsmocsUno0mlWIy8G/VhPZP1MNMUbwmnrJCJOCU52GA07yUe9m4uhyccT8Fp3Uyb5cLTRd/iP2wr85Sbcg8owGoMDT3ebEIpRhPh80Wv0WzeRgOKW6z3TrDiFezFXtQILgh7Ctia7nGtUuOiOorpbLfnoj+Qa4lY7aiOs8eUeErHy3y8CvAJoVz7PYp/cyOkHsjLPgC9x71xJpw96t6khGGykYIbov+eVWaTJYIDbZTx1WLFPAZTqHWx2o6ax9W/Kls5bM4szArnQ9DinTaibZm6c5gKFNbKWunEV8tx8jmBXydNPrCJ4Issx3Wgy/0YPO2UlEN6+alVd4EfWukufsU/Toq6T03bsxwyH5j0cDsBmyRAxN8pv/tUMT1bnJj0s1jFrh0/aALuFhnI4kfXUa4DOcslcc53I0WplU6cF7U+81BltAT5ZCt4B6zKvi2g5d4xp0Gr6rSij49Xjnh5zaiHkgzOpDBi+va5sL1ZL/qaPAHQ531I3zFWbowuiL5P7Zj8UNzc5e2g6HZazv+Nox5a7y+eVJRmEe+Pk4J4VTCXPFRWGOrurLLtS6YdbEGf1Brp02tRslrnmI0WcbG9FQYe8nt0pF7eNOd6uEIO9aDuLJoz6OoeIi4jCECS5+B/xRG5ccTUVoK0FyYUUPYkdzp0qkDaL2WDVVDzmdcSak8xJz2eF9maTsyQhA1cUWuGhCggW2pyM+ZGNY7ocsp8sNJhSDZnzL7IcCCReKF97wGINGNzNr5QnCE/BXu5dKYEFeIQpa2LhBMw6WiEiDYT8huCRX0aOnOi3Xaan92NM2rhWKnwe8VWN4VUa0+nVhVgBagkGi/HdEctQLtvhOcCSsR+21IzQ4pSzQgnWByUAQHplhobcMod0YxBGU+B7Jam8eqzlQYwu4hth5DcJ+QhxOkgIdSxLIgzd1m8j5oJkNlLx+STDfKX79x9FN9/O1UtWK9yvpjfShDCA6wn4i8w85ZjfNTMzU6i6YBhmDMV4ncIjG8VkjPTvvs9T5SMljYW0gkx7UhRQObCwQfxWVhHXaR/IdvH0FiNcdDZ8tZfP6yYcUOVNlIBVeKQYdYLJjiNdIYn8VkP8Jlikz1rHZKY9XvBmLjtd1CJyR+obNaqxaqoRX3Lr3P4tU/HNiSaYdPgNWmV/wzaDdHt6z6Weg1b6SDT7S8aQ5JkCglFaf8TYCytc4plgDz3ddefL4qjM4xqsZr7yl3cZWVB9oXMpmTjvENczAsF2CDWXG5LZk9lAnmeTt5Ctzp1jyk6tcs6CVXEIkA+DgMt+zry0KiH1ofZC2TCTpgT8EyJ1DGQBwRyfA53agDzBy96rhFiDViOIeJV1MgLwR2SFLkXtR/Qcezrdg/i+8dfiQrs1rD3/w6rnZbN7pBN2GhNvNh2weVQLD+Pjcc206wSNimrhBC9fh94yTRaH+pi7ul1qTMURLsxGeIZ4C36H6VdWIikEOG9E2Ns+qPvJzOPRpTGTqUv39Tg7o9B1MP2I+V6CSZ6Qm/MpcORe3E1Sen6riLLJfNKc6mr4U9XNB2kQkxCRDt1Pm0qXz9H/G6LubULF6MHSt1IxI708AhZxftfLJLptzXDl8S8B5irvUNBPJFLZejUJF7lkDeFKcvis6gfu8O1R73I46D1Lvki9VZ9B/1/gf5jcabG4NPMR+s/bmA77nFqvZElWRVgPOyfx0PjaGdYCa0q8La/YvdUCjDOcXFqVJXkA+WClO0PChEnAVce63vODkC2f5FvRse4uxjp3/PjbUWhHR0Ieddv45OSAI8dMXGpO7OGC3khnKZnW4WCXD0j33bSaHoH+Z4brLTahyQcm/JdelU9N+xriqMMK6XK02PwWqvZJh2iim2kj0ILTeJeyOTq/Syx7WVGKf9OFwK+LdTuMoSSa8Nfr9FEMrd2u37gADi92eKAcw91N8HxrWSbhoUoAwxPGXm1A0KaxQEi0fNz/p8dqugxht8DbgtaOxevCv8kLGTJGotQujEDEZgELEsEsE0698FufFVcAiOAA8BKgXl9WpJhUwyCFnrowinnfC4XBLAitL4k54JmJ+HpDvO+F1Y7ppvcFFHeLuH2s3AT67MavQ5IYEASbdcpCGCXDS8EHDMY7pRjzpu4TvSrwubdK3zppJufvIm4YCLg3Bs0Oqi+ApdrEmtI9p+oNY+ygJ6eS4f+92RNAukZ8vDQh4GrOj4eyz6FbeKjr/t542Mzj6iW3rf3mz9B0ZveFUNqL29CtadInsBYJYoFAOUj8Ycv2xHQEKeJTv4RbwAF0DsOTpg2gjto1Bg8y31gDNPFVrKZH+yby2lQ6wORo17T13U2X35FqwBgsVyNS3wvlAfgq93oxsfR2usMDyKLEdk9dzYLG8jqAwb5Y+OKhyizGLIrG/8iYsiuW53buUZXNvuJ1hp8x+HAu2pR0NdlIoBdm2UOiNlFXpA1lxZw6b1Db4PFuKyGe4/8YPmQSrF4qgbC4MEgH/BDLDgf+bpO4whqCUrTKL+LbAGZcpPeNrydadTTV4KkkwphjmxQjk2ZWZEvn+UEPJyq2p2UmNK+6mDIa189b6CAxWetkQnnnFqscfcoim0ogadXGwN8SkYsrvbHpB3dyBYvE8IPMQSLnkRlo+wCvB89JjQXQQFXNeGQKzZtvkt6olpn/X8iBjkFdukspe6+rYwp0t3f48DINET6vsV4R1kUmQC18qVnG+RJ4zUEaKtufAD3MyFozM5QdRwfR34SbdLd1QMh0mQybvAdyU+vxlF0RhDfFB+cNxYqe6p2VUm2w2ALN2UBXhlpubaTmBeZfOpZuC8FlkF3rCIj+WvX9CNG1IO8Wq3w1J0NvHvDMDixnzF/PIn/RpJXjohlH1ebCXmTlOVT5MeVnik7uu0xHcv1+5a1MomN7SnO4rI1MSDZUuGqU8HHswuk/nQ7EmA6Z+sKlJtIVB96lejP6WLj+oGZeDv1cHdOz7hVpSYulfqMSiKcz62TgaIWGGxGlr7ytINhiVTcr2mlKXgmlMpYlw+HE4BYfvd+wlFd+Brn9U0/Hkw7TnlwveZAbbTnHAgoO5IeNNBv8sd2/g36jhipdRcjQc9MMehRECxbUzp+j37ERbO5GqcgTFTiAru7tK7KBFwWP0zcG4a6BCljMBGVZ5M1/6QK6a9iamw9+OH6x8w4Qj7A22nQ8nHkeSOH2eucDSGMdkeGilQTUIo5Vn1sbMf038IS0ZEdcj2TNEoVPAapo7lzX8zxijk5x4cCcVKi3JXM4sHA+olgJfB8xe1azx4m6ulwp9mrjkfbpMjieWeOkuOMlPsiV3FLSmcJFXLksWxwjq/WomzK9Sb+iaW/vtHm3NT+qQ5cpSSnQeuXRk4ymbLfM4VCz5XZ3gRnw8ju0IDnI8NSbYpn3TiBP/qaArf/GTi39Lg+b3wgDdQ96VaeqaC0FKKFOCHAgRuzH+a2BotVhzwb5b4E+3T4cOdqg+cysfEGgT1eXUOwx0IG+MXA/VuYRYM0FjwwvwlmixaHTfybKL5U714Sa+fknQezNWPh4NXfNT5zE/BipSiLo7YoPh+PpD4VwzTEVmggR/e5VXBghin9hFd4hTYMNXCpc8rcVeF/H+rMaz4qS1EdBkLx18P0UCUgfbPMkdVtNQdpJVo4eetSvOWxDREUr+E6qOICrRvlJUiCtYv3KqQowfJ/Twz4Oc3qrLK8xApIM4ulZ8N3yU4XukbBU49manLTpHabStengSmBbto0Ua1m1Pi4KVV8DTINGN2+XswM/2S6yUnyEclgxgK6KfYYCV0A72jDBGomRxPSP1fjJwloGePMeZrV5RS0HGqm8oSrclXxGVc3FKf5TB0MmE+xJqzWIK+IN/5bz2+sEp8Muc63ePKUrjWxXLQGv9jWUWSwsLHQMUyv7HytfYlYS53aGRKv8RG6x7frrEOzIXs9+XFifLjr0hHuw80unv/R9RjtR7Gx/UZxUDKO6hFkGdiKqd/LcHbtCyK/3HcUUJTE7KRd78ws94d5MZAjFTF+mO8zS76njan4KxDEnnSWGbMXu6qBeHXRiIxpy4QvlnsDlcy5VuaMB1CAAa3ocIFDDtty1bo1GOr3ZtbaJNz4czTxv090nfHjHXYcx2Rg59NiUWr4J+0yxQCPbeofSP2ZGu9fkdpCnGFr3YKaK2rMJwmPpxbJSJla6w4bK/WrWRwcG457LSi8G0Yrn4/nsGrejeR1o+okWlmmE+7iJyRqtoudfI6H6NEVLJl2/oRpC4ym7A1+TLamLgAXwYlrZ7J6F01DHB8vdRBpa396S9W5Rrnbb/dgLCNlSlFLXS7q9XBBGDIekjTZhPr5Vd3gizwwggmjdQ1ODL/WByC2BWeD+dGsTHd4IuDDng8JBYj4zHerzxsZFICgUWxSvhlz3LeHAxZjIsGXTeAZ+j5a2clX9r1Yivnn3VewEOwzY/lhHvGEz4Xs17HwgD1Tf0sQgmhewA8g6pzETI5mqY85FeiuUWfYCDt001GskiCuTfYIYkCHyn+l9ZWx39ON6V+tEKccZsEr2SpLZ1a9G+VRoTy+xXyKCBLrzzpI4DBux/u92+dlLaCTdLpPQW6ASk7bW7iFOn9hUfss4oacZbydovTUjnZt1CMv7aHbPTuRZFK4wQZ+bZSU904rZ1nymXMSFbaDwQ93N56zi6f4rgDjfJ6QsSg2OZbapjJZ0vTtIelrDEFcD3v8FAeS7m7q7HahuHMauGZFT4cCBqVw8/BLCHM9kJQ3ZEWUBC2Xz7w8jZLliPrghbZ5J+qFW/AxWMkwmmRlYKnLlS4UhpZVjF/eXtVY+Dl82/ERK+4Q+3ky3XTkdfmWUS2flEVar9CdY6PaJlbXHAqYcuNu65iMLO+G8b01i18jDA6IFEI+mM41RF+fXSxCDpnuoNVHxlPSQCDpDM0svOAVnJdzl1+k5JI0ah/bUKLCH+4ms9V3HRE7YRcxHkAzaXLzXnU/VFFB7wmkIQOlKWxJh/r1t5lue+eab2ifqqyNmQsABcY+h4SD4pJKXBELljM+SR1UuWgGxQhNxoNRkVHIRGMbI8seQ0KPszD2L50M3cdwHtDsdQC/PCefEPozaehz9cTjmfHQ5BJ84e1y0HxmaVlDdKLBZhmRsPfLHynMsmpfg4RmjlA78+mKCO94DddcFwlQ0XuiIEwesTGyIbKYy2OIt19QWKUDqwZTkpZ0s2mHxptHvZI0HGFbNt1ezvOPhvT8E6/auEAaRazyxkgWDpeIEp6uzjEEYi2Ls7gVu64d/kDm87fhVGiDh0uTzPjB8pfmciA14vXBNXGfRD6U6jh4tDIbSq22UN16GzjUMV4fEpBC6+RpS7eS6sCW33naxegbZ20oA9TiNpD2UA4WV2SQiKiuREK7lWneo7XGWyTL159EcbregXtpuO90O3BPSrAEbEyjQOkobXyY9y+AWfk9gc/mjYkC3+PJ5mYuy56lDjeaGUaC2nNfwq3lFH/wliTkUkSDPbnkdFhpSHKeIYsXAsXW3bh/r06cebW16ZDguomH52kz4USttrzk07odLxcnCPjhibPKV/AqFi2aHntuSqIttzWU8Xaoyr68I8YDy4Vtd+VJ1m0NvkvLf8i2mzF75G4LTxN2jZ7oOY8MDAXWoIqhGfYVfYNYx9FqTIkfHJvgfykAADw+8S/MsgORsRijQOEGSRkwg4oz/A1CTXhAh7DQjZB/EgP4M/POZa8emkowAAbSQabO1xSZ+TURnmBlXBC5bWZOkq6j70XPEuWjYtOufMquSzgazhIPZnQkQtKMDp0orx1v8ozFetp9ikZk2JrBjvpB6Hl2f70fQbzb0aPiB/mJqM84KSFLCFu6BjkWqMJM2ol23SYL/IUdIBAJSieSlpRSqtlU72UX0L8A1JcSQ1Wr4cJ/9n6C+yE1rPY4aihUCkTjo29g+EQxtHUM5Z1zvi05g6nY/xbkRalhWnPU2uVG2n2UM91RRWVdOJqCS4QShc8ltlOVdiDRaFl3L7JI2Bo3PGLmmNtABMf7cx1kmp33n/G787LGYOBHQS/vLeVelMTCB7W8WkhZNXg2RMsz0wuu4gkgCfaFXJLjts3kD4KfgLOmJko5aFQhVbm/5EbcUo7l2gRiroNdImY/mFeywNC9XBYAUQw+Cr1J6SViv4y9ykV8bYwggPo/yLhYVh3IiVFaBwIRnH1SPWr8g2zwpLk9cS9WPJDdNjJKdWMjPEiP7l6SByeBQvDxXFlg8x/UMAeqqus0g/ajqDWCU8HRgp0LBwMdQje/ILe1u17w1/NCTfdfr0+ELdQ+hXinASsFhFgznlH196l1DC7W53tkkwV7yzflVUjeLu3fZdQLs5RplqxvTP07jqcQEEI/SoWwBFZ3z4aDf6mJYnR2ECsAUDC+4FrjyUSsyOzvhcmMUsx0HSz99wapKZFAAt8XEvEN+3s6l7pLVCzA5tARkERvHhMPYgcidI0ALgYlec9bnfCmhz0mIlGcMgOmp+YscaUJ3jArDUYDHJB4JIVp5qtYMGNjMbrPaXsgeeh7Wjl/qCKBD542goR7PMngtd+x37f1PZLxtojdfEDyRM+V6cWEb/VYUFvGZgInwa2a1DrcntnUbwq/yEOhytZCebYig02GT8NsRmItZuj6NfO3kST0VE7NNFa/nEa38wIGTo3SNGsZ44l6xT8Lh7Nyg+3VIrB2/yfkLdwJhQKQUL+Kc9YRP+pljU2eaBl4+XPxaAWDSDC238Ms69BpR5RorcBIbTg03+mPTk7K5+ADbsizzk8BA0SMwSRTLPH9cQ9TGHtrP24KMYPGmdozFeNSupv7rZOSrfoq1ZwWhbx00r/NhgsXZgmmLFO3lsltzbFwnk3enqOexbu8Qb3Rqf3gOciTEB3XpexKfEX1OT7qDuy/A1wbCNqOhmuIm3pjU7lKswkLyO0up+7eNqoJ4EByFtEEICfl5hq00Ns6Q6AQsF2fqutmMUhwMd92ukui5WwW0E7d0Io3md1jkHpJZ/wm9NUHE4QFjlTfDaDCmd3r6/Q/UJ50Df41E1f+260sPmQc60X8zCB4a5jeZiUiTZBDR8TaxC9xufaTcck2K8RwyVEJQLssHy/EFCHF66YmN8beFcR1eRboJqkmKhuuqTKILp9+Iq1nMarDs990wBBTXLpO9iSoUudBNdvY3abe65poUNUQl2iR6D04A9f+KaaPk4F+dSTS9x45mVCKvHz5Sc2laBH3W/s4H7oy/lEpOh8WYKLP8MHPuGLCZeC01P6O4Ha7DoIKWj9Oogq3BM3CWlYPqYZkv90MOINJU3L3V3gDX3/q8g8uJD9RCj/6xxIb8LimbTnMZcpOaWExbSophK+V/tzgviVNnR8isPX79hf8Mvrd79lemCvBFY9jHhJmFW6PTmzmK+tpFsTy5QuD2EKCSdmanzH7YRR+e8cPuVe5jxwcsHAY3c6zT1B02txFIiAzghA22VNnkcWBMJSAW7bkGtqqepYp7hYGprE8G5kRLYoO9HtN98qei5xIyO/Hv6y9YFZLnhVXnVUE+yQDTr+ZwAVT495lrmB14WPUUVBl+bmnErVlTCVj1OJvxfPkr+uPbDPNFP1MUU7HL2zEeS0OiZee4Yy2tzMbNgkwlOnlPMTAZL08xHjOxPXIy6uIhtNdThI8Z3KyIr2V61CRs/RTBkeSp8GV1Ca/ne9DH8iYnuymNnDY0GQIVJH+DLTRSZRSueo4mhioerMTT1NqmyXU835WVfuRHSYPixQuhFUPybz+Ev9+RETDChU1V0cpLYZjA7hDqgJfnevS7PXgoWl8Rj17uxijK9mKZyMTkwOnp+UR96+4/lgAIxlCpfQ9tTFxyc2TYP/p7HROPKv+rczIFpSl1GJHEY/UBb+0QAqLs9RUQHmx2+RcqXqpLMMhmpMZHhk4akPTMhsdAY8DGehJwAdo3hslR1vczNrgyzxHpHItj+ZZo/e7SagBKI85hvkHtwZYiOG4ImY3QCTJllt8D2XkaOfgv0UOcWZ9f91C1ffF7/9rzfzwro/+6S31QZAJydxT1+T5x9Ws01jDdmjRCbFn2KOpVuQIRPXn7sc3smG4Y2xJQuEqXJ1SAOoTmjnrOBSjnJLtwnFWiCjq2JiPDBvSK5AyASi1Njt6AXKDH78BggJOWCSyTKLP1dCflgLrW8hfaGghiNzXjLHwYXAL1xyu0j72HQQZ7K6EKHycH3AwPTXDvzV7YRy2rWFU8OztSWjsJ5ZaTW3e+r9CBARlNGLqM9zIWzrCjewam7uSSPxvpPi5aE0OiEHgOhI5A1M9uNurIsmz2x4LMzqCjyB1ZPHLdRkNQpribrnEzvxh9yKlXt19IebO8teZJZPtWg21HqmyaNoPTV8JuWbfiNf9zUTISQGTsAc5FuN1rw41PnJqjnnm7E5ifN4n58yqn18PzD2Rcdrz82OGcVomGnu8tV6s0n1ZBsraxIc9mEh0KTnB+PE3l3w6pFAS23qlBLu9hobEaWc/udgAUk0sYpTzJFvQf1xnBn7RSnWUYqnJBYpsd56qp8XHVH1hZ0uEBgk2l0uDiZYDzJUygKk+rjXm8B79LWMi/jfBxBkIZZGrK4Fu3WlLblLjYHLu6KtU4xAImretSJvB5vISZCF3zDG6a+7oqp7fCDn2YR/DNav2Wsa4GlFb2CIFdaLz+K32CyL0yJB/0wUL6MvxPGltjzmt8shQhDj+qZAsQdr4e1LQUq5oj+BckjJMtpNXN2KJvK9Pp71qA0DqhZ3ox9Yffg4SILms/FXAdXCNd9Qw/Wr84RiEotFhNFloU32uvAi26J2yPM3ANhi1yy/sSBBKtr+/bshxZiTfZtNz6ipff+3wUiIwFGA/B9OOl/WUa9TqcrzCkwj+zDLDL/TIH25LkynyPl5MCbUTxpeBdGY6GTGdto9Ln63g+LjkVwVFFO0PDbREiJl/qMZiAOTtVwRWFlW5JogBe7oheklXCRjcemoPnLGoD2ergSUkqszgchTmCkdfdhkQnqn/Ny7qjSk0er94KidejnpYqsJo39oo5uf4XMbx7YznfXJK1ICkfBn4JYGafDJTLCW4Y/wj6Ymso7K5MsxWtoKihikvijw7HlkpvswcnyozBGUQi80bB8jryamRi9NEQjy6S1lb/zakF18zHYiSHCqIubAYPB8PkEaEC7mM84W+ho6dXh31gFQOz8fC2VtFvZXjO0KOjsl5DR0VckZNyGV1D3Xkj12ERKCvHMQYqtDwTSEu9TPKOlYyw1w23srfA7hOeU5W3bv+X28iQkPe35io6J3VU7oDgpz0RP3yJYfpBWy+9yR1ZGit9DFuOrwOjgqf4BidwSds5tmL/KyED4Dl9cz/vqtQ2/tXQmENkHJ9xZalNI3wWgx5r0vKgEr1/sxXT2tZZvQvQbdNQBR7pcXpz1rJRw/xJKfwPO/ksDEnAdwJZ+2CgwcXG3lA9dI/Fdlj1V/sMB80iI1V6/GxRIV4lLdVEhYtOMN7DpcJFmRxtgY4o3E3TF2JACFiPndTtEQRdHfbie6BTtiYWKPUIy3KY1V61NXGiQ4Pq570N8m+ynt2CNOegNTQ3O9XTgcmJhO/66d0feMaXh0pP9kozjCqakKapC1oNeco6N9OsF+PZtm13TKQh9HJ3AzfAleSZMV296IXKyrc3KjBAAmloGERrYOlpcEeO4ZOa8pBE1+cccBii5xY3+bOpkYZgtbne+W2PadJIOVcJFY+JetBneVH+cELfsQ0aakhh3MG6gYAfh3V84bAHV+/WPg6eB+rQvH0UgBP72yTGxmMnX6AtRcqC+AppkjhQL0hY7TnjkDN9KkdRl/IFk4Hbo0+a0eb7edRNIaBRX6KnYbdFu/tFchUsQXRJWvSDVAkwLauUttSA61l187TAYeNCnBES3j16aJGJHCygeFAR8RXt8C5lJbj8TO5+ODhm/crSkRP1ZKKIvoa3P/CbBI7CYC2P6iD+92yr1Ix5mVAqa34iYEeJhGc8gF56LtUV6TxYENFlGqfNGnEHUB8yHn972a26fmf+q3SBKxUXRwlstQVYIT0SGcUGycvmUZvUERAFceke4NZGtTqp/t74B34x6wIpQ0Afk+UdvdYmgUm7kd7yj+wzYIGi4MAWlMs0HMr/j2aZzoGNTK2EnihdS9yNyDn1+19qR/pwMYtrXGno8v/3cMrX0046OM5JfNgCh5DI9PnoHFlxcJmgTa0avxkbtDp6NI58fH1fbVO/CpQPc7H4lR3BGxZe9vxROsHQSFsw00pYtHwIvjk/g5g9PubPUmA/a0CXJ6rUZh9eP/wTHnwAb1Xk5kjqr8rMdi0/27I428ID5b1LJiGtHx5HzEJTo5P6XzNntxY19Rma3iy9ISP0vz5ZlUmPXq0rD//y3i3hRxpdVMUFrat7ghuss0+lPBLFfqfYTK0DtZb8tqu494+VuHZseiZsiMHLfH0DLIa5l/xZCCwiucl9O46yvBmhpoSPkgKSvD2p5jzfNG5fa/dYeBJu6wBihDK9KuAwrn6iBS5YJhMi9nI0gfIu1IYUyxfikCM628DPtaIY/Or2dgxVlY5I9TbRhybpZu0iB6EvVLoMkm48CtgGFF2dM2et9gHzHJO6my0LaGBo6A7SAB7L3DzuI6VnQu2swjP928yMjN9HjEyl8RrI7Lcu+R2xpMuluBiWettxiQvb/QlMHnHNS7+GUevTerXFTgl4Z0cSLvdGzfCX+rkD1MXWYGdBs0Sfpb7cuZxyDoBmNc+8znyeA1EmC5BXLBsGNvbmdxp0eLWCHWO26Zua2dYbOQI5r2GZNFodp6J0sUXxaoRMys+BwVcHMaBEiUO9ivrBZYNGpU/ISFFKeLzLlEKyt4vepGtLfbA+ytTzgvPFF/nnUZh2Dt1tx6LCuhKxEqv4rFIoRT3PbTnKcBdWvQjsjuRmEFIGom3fjyBy1SEeHeeoTKE239ywhWGVF7sp7kZvbUoDT07XPJI8kRabZesqcHAMEvPAD63sdSjYrltXy5zo+hJZX2wa5FQ323B1m2/ya787NLZi/rvRkohu6+KVFF/lZIk6y8vXt/+htK+LsGT+PDz9l1cFVCLPMrL2bZkZTKtSGVtEhMmHvlOpNtbOftZTXlqSmEv7NI5ITNiaf1N3jEZtcsalPVrqe13NWBRGBUb+D/tcaqx40EgI3VAs9+/MSXWi8zptWs7bD3RVWgyKPwCQVvocJhgTiq4RS8kigjCv+pKcM48JkdGsSjlTvlhduOCMjzOuvnqOuCI1gm8m1WjJAPfeS3nPiuNCvbEF5rtcLNvgqvMcfQOSLWUmuJzo+cQ5hckeMupj00v+PMjS89A6T30psap/ONKRhZ5pu/tyYEgY4rNiDoXlH2ti5+Xu5Uz9mZyHiJUhIt0oz9WfLY0DOqfi/ZbcnRgXuCSS5tZwhIPN1aqq+mqRkUlIeX0REMw1FFllv4hqsSK8TF86n+zjV4UbO2PjWaccHy4SbTwbRvJ/Nq3btrZszDYoQYPUrWA1u9K/Lph44POtas+eFqZAqb8DmR8EfyYx1sF32eumZ5pjUqp1fuSpFZG6cakMGkaGDp/I0XG4OrR3ia2PIJCTrodYUR6AQk6WuG1VZJUgPSRNxZGuXL1oFtwg1lkoSkXwzsVB0P4aga3DtX3LNG/zGQZtFjTw8jJedN2o5o63Cyk9IwRyZzb69DeZaDu476C++JgeWZBZ4hNtc3sLMBMx4U6L2eIf1rkCoVmx1iyxVLWsUjBzuCicswA05oUNXLzIyGs2CJ3OTpCx4kOGMBV3WZb8R6c102gIE+Mn/2zseMre5zKwL3EGgRrES3CfMtNZbAL9S3rcSs/eQZq6cIH5VSx8xVyTqXZx3qr1JNlW8oQn0r/bILy/4U7VeO3WzM9LHuQFFMalLF0ozJSPG+AbLolwveFRB546vfsJ26p06VIWauPoTNA2Hhw6Bi0af1+UwWypFkMfFjLuKBadhj0KsQgbH17qQIHJz4AP6fisT9fBXkful+gSQbZH8sP7AeSxee0UGtfUnBkqZkKR6rn0Icex2++zjf4yXO9OxesM7BwVpf9/HCRHyYGucal/a+YKkmE4WaVOpDtxN4S0hK1SZl9mizq7JXibvQHpwmsjLxadiZcjmXMnRaWsfoIXT9Q+E28icVjTVM0DH0brzkSaLZwx3xZSjQI2nVljh/aUXzcxBWT+yT7keuxZsxVJG9/0ZBNtj/rAMWiDmPvCGaQOsISnVx5zKsPpA6VWy+Du4CHy7KcDE2hMv58rFKvgh5yH3ozF3ecotyXAiUGBvFmpAtVFvtC9FYlp074X5Q13kqf0jkeOSUJnpP3i8PVgx7YTmoOM5laS/RO2QplxJYC3sZkO4DPx7yUfK6Uwc9sCkAI0AEcgFE/rHvPpgo9Yt46wNmbHd7p0T48NweN9wRPL8dZjwMjG8lu0Sz5eOkFwyiJVq8bVps3gPrWbEQERYydlrEXGdmUT9RSBFqfi9rh0R3+CCPuQogBPGRWh0BnUjNNMtauVhXJZm6dLRUHjOwJaX+Qq0VNYM2LzLo47SOsDcBb1XECdhOYpHRqU0hEsLD8Jb4mF1+XxqkTYHRCoW90nN99XKIR3ryidVFkMqGTas5p2iirDfE+CdNkOk4sqAB7k7fLjvVnjYlfuUeC52gGmijjsu1Tfv40iQPziD8Aklai8c1NmkSqaaymyHEfQMr2nSpz36AWtrRK0M7f/BHAkejhUZd6gr4IHD6mzhq1Z0gipNYfdx6Wphx48PoO9iqs2pFkf09iBqKi0hPnC0fzaxIupjQzsbErlFM7LTO2SxYtDPfgswpzlUOGnmSYgaRURDtgrrqLFokYdjpiDiTAWJ0U9cqDTS8Mffcl7ecwkkvyg/LYaNAFslwn//P4nGP9S3rGRM7FP0SDjtbW7EsIG3fqiej7yrRNL3l4K2dkecmBL9WmRmpl4FlT4m4noyLRFfVQxbugv2KuD/0H8oCQyz1QWkRaHMUx0c7vfP1sajsJ+wzPKZbbI/5vrYcoBLb+UnBzWj1CtIKrWSGLRuYX9rR3rCCAHEmtHF9j454A+3r58zclVibJQZhIlRzjr3KOShZVtmoVlN7wbPLROXeSWJFigtDLNOiGHoH6BOtflquXdABF1QGobKrsejZvh9vZqy6rJrjSPrxKXo0CbxaQYKV6OGbyxanuhyycoqzegrBLZFGxsGkiMbjwKia+TZEt6M5f0RK29ApzHi61v91J6nk/WzK+TM9sx+T7ucoqKI40y7zUla+QD2WG9ojMs2ah0YPjjv7PPjC3mDdmheuSQo5eRQpRA+qHWJzgtQzt1Ea+10IOiJ4H9GJB7ADkzekN2ag0JcqcBMcwJXvD0B94MnJ8GXzGSYggBnBwiW+00xj5N5rdsJpV0MK0JsV85x1rgW5l6O3TP3XvwQ3X9f2BB8SUQIZcj4SqBuqULVhPWKRezr7Du+JHELgkN8gogCEiYD+E8h+GSbz7C8wKLgfzJcy0bYWdlIVldLqJVPRUtCretUB5XxlI7f4DAPsLFyVEgq9f/w/bmYaKHG6vlTVhnJ2O2NtLzul3GSSDsGyl+3HzBXNZug742PfPjifggGnHWqKn5qz6OfUHYr7RsuP5/Bl1CM4ilwde0qpcNfTkJJgGYBbpt2sh8NrGmTPl/Y9mFtBw0zGndNc0uPWETRCa71r7hTkSSghFcRNs7Rtel+biMkgrenHVyCrchoF2h/ze63xv0yilPsvUj6UlNYdw35ACJdgDbcXui3tMZqs/SEoFD6DGB38NJqruCBeeF3QQU7fLxD9NsY2AVCU0/5aMwfKjjw8JTlDLv81WdmWOHsWjpXCgJx3zs3RgM49IeaRaPjQz+o4v17iGZT92iBa2/Ld49jh08BfqCEeqk3oiZM6nzuE4e42tSIik/cLVlIrZTHj4RUsoO4EdKic1mg90Rfd0NmhlTSR9YcM1iNuW0Rq6XxLALj/DTy8lqjqT2zKC8Fv35a5LheZSdbPjYF8jGO/a9bMNoo5SYrXScUAl1ckpcrhbWj7hPlmroK/fz0zKC3PaHuAWel5vZmDUG0ABVXTFAs6//lLOvsv0COnz9s1ceDnVYI5dbYLIHS6COijEQ7lyiL/+j0CzBcGtKaJZDrU4ft69YzD4npXAxlW6ZoxhZbe+UJMeGqdhScGP5Ix7puKbZc2RE/c6MFQxhQISO0mkkBnOPQDdUtf2etXKjQc+Q9KFUEOndb6gAm7wSp9CYbf+6lIf+Th+rcHv0z7WJfk8OjvnSUbzX/RmQhuIMDbYBSxdLHAIqGTT2tBscYcZ6xyw0fitx3xPDyrHKACdUgW2bGSHSiy1FK89MGNRksrY6TtgCRkbVZJIzRuP1f/ecYsNGdUnBOuG9gEmz734z0JNkyQe7W9xsx8tuTZ78VuFDjai+hmkPT6kYZDzWWcGrUSoBal3IiWv0ipOVqAOuccvU9eIwKMvqg+K1Mc4g30JoLuBWrrlZ/UYMdUJvusd11Up4VC6IgGgC6DAZvX3IPrJHmIZu/QWKFMlERE6KlrQrQiDEgrkKrfmsWp0if78pSYIt4ghNW4XcwSgpyXwg+slEn4vtgyVpQILU7smByPRgprKm0mcXbQDTQQgBI9PkEtUTMv99ya9/hIocUX2O+u04gqDgVSacYqB3QKqNweyWMrKAVgYXW6DuHCj7nbzhwxTjS2hHJ4PdRQNDFBnTcYeB6tDJ+kXU+lnN2GZI1DT5yf6XOnfHqLsr9ZD1rUvn+7FKAlefEuvQRA8zBbb7wttZann8BHiyPNZbqteMUyMi+XIdB8e3Q31qPHGmMHUrCixaDbHMtSBEXhroaw1fPKBT/V8eGrE+6wyDWI+zcmDKMSHm1tOHzF2B0eSXH9+cf2glxnv/hu5p0HpBLMJNCwna0fKA/yQvnwrIgqcNQcSiXbbvu7amVKyg19jTfNCkilGl2o0jNNUn2Z/6gLYH0XuEZX+vsvnYbEx+94gUsJqBCibwZuToK5ftM4xpAVKIrk2Z/3bJRId7KeQPYbOThIwfPrWn5S1boxKT0laINoiMOiscvl5HdHg6MVGdqwcNypMHO/hyzFcOpzaG+i73fCysTuO/uLJPPEXnp8m1pz/rqoZWWVzWNt1taQXp4M7vSEZF7bxElPX8uVNa8t4Hpm1m1tT7PpmTrrdGi75uKlre7155/h4UE+gNvCAOQvknTg21UKNCdMeCfGT8UurpODHns8Ngq3bd6foMSVTPC8XfvXfwOHZFGOKdqXZN24j2+bAnYCLfpFt8XipGZqjod2smIn77/GaPOrxN6HmxyL1aQCBG6NrpyKMdjYTWdxV+LIe/excmHKNCkbkAx1jhrzu2Ea1DUmJxXNS0pU54/V2nU+GzwCggg3SMcRT0Xn7VP9F7iE1nyZbMdLIror1Cq7fW3wJOEq25i7SdCGwclyXPWA9QDNfNQxWOvLA19FqZ4VQxcDOuVdZQGv7OA7nacxXghYfXx/iqQqQ+RWGkO+przQupMquE2q+5jXgvlyi0cBZ9Fq+JnrW6L8zXtZGiTz4cEvwZ0AiEVtIHRp0s8dklIi73dtzEOAhpnQiE2EcuSIlML4+yuCHUqHUbhkkqGdvKJ7jY6U9or4E/iLM/k5zIGfK9J3faZXJZV6UY1OdqGHREB/9oX9zA66CNrxkzAlOa2gNdOrBKbHP7GkmgsVL98AxUjI2lFd1OYk9xxLpXAG7pj+HmelI2oCufxmGiJC+uJKfzIGkeCVhbRJoYXU9X/COkZ74IRistlnRzjHdbYRyAKnLZ7mt64R08d4oZhjC1QDtdjqyPQof9b3/Fv050TxlsJpbvmfWIAQnx8BkUezRQ99B9P7KebgJPCUvRLsstVNnIg0eAg7IC96P5I+pH+PhcI7LtQy7cOV2ThxSqFsHzOjU7d91otl0bRJ1HzPhSWjNX+ycvffswnxsuwKqVPfW/rn7oHL7ocEo/h/iLwzV5i4ooLBaAxWKcPTa4mclhAOJB/t5R+BoOTtkKOTcLg0YOtUpFQsnl0LZG30x+arHxtkNqDjSfq6UgvhoGd9uEsH6NDfZoo8pLK5mYT+HHVMdubOzcsqTGQ55NG+YRv49HORXqHG+xh0gy+VH3qWb+ojSWmg04fRBpXrOluXVXwNIIJhWZ0stUXpcd8xmCbGOlXxjyrV6MEX0OcKCZP9ftsSOa6IOgXZDw4V8N4CMZ/lhVBbo8tHxxlf+P+xRy0ESuSvJLt6uxlDDbcVgr8NWAdGgqkP4sOBzXiNvPz0GIVvYNJLiCzmOurWt0oSsM0bCPCHpg/FWabyulma7OPLmSGa+/v5XeD/37Vr1f3P6U8Pm32OvrW3TZKvhrDJboFxGRKH0/Ghurr0ALsQCSG3F/+cWXG2G3CdhZXvLKk5lP6JbwfBgzMTBTJ0905/gpgPILG8c22tYjJpXSlVdWL1k7LNjp5SRGruTvoq7h+/3wRXXKr3hFzvNVSJEo5ooQ/Wemcy2cS+/YhzhRiyaev7TVog8Tc0fbHxajJn63L6M7wMs0SfkuwtaCbnWv3f9ZHSwbT82zWuRrAvAlkKgipcPQ0W1ZsiAzzZll4ZLEGQqUtD0tH54E13q9SglXSEXylN8Utw2SaiKz0AOJ0J+2gwwcHZwXkKZdmVm1nTRYTI+tmegALhzpuF00Mfx1q23rCxdXufwWkKWMOQXzK2g/VUxBWFn3TW3sBZ2B2P0CiOOvMlxMpv/WFXblUE9e2Ybd2+0/m61Od1SXTFL+QzXB/nwepCfDr4KfyYZSAL9OLayTmOMvJvVLuBfw288Rg+Jxj6eDPTHoEIJBLBcnre0QzI5M8KIAAERk/61xLeb5UeMfgDzH9vw2QuKTyFWCaWLFOaEyuMKRzwOsag12zdqaKwDOJpyUn21AKdWcLac9fJI0+k78p7JXfjzlxaEDiE6IBrf578nlmHxGM2E45tsMw05Uhie6Bo0UubgRmCPL22lX+UgaJe/DGz7gg5W/eEhCdc5Og2kNv05ke+aIpWGfEenslB/1kUcQd1Y6Pi/Q+HA1E6hGi2QLE/+h2V0ZqDGc5tdsLbfvDZM4beKqTEeA77IpCpPqn+8i73e6qXQA6CvGEBTKYzhhFHRnzxlmQgy7j2uMATfiH9wKiAnYuthE+ToKN7QgEfwkgZI4XZyZqONHFjUVZNIES79VJTzRVH0JkCR4YUjFtYbl32iXg7ikvi9j0evif4oJicdj6wQDsjKJyIvP1mEvDW+eUWnnHa5CiRfWrNd3z+ypUzfgDvDQkx5VuD78/8PPYy43dQrJQXMmWrgBL0eixStSIU7RZKuo+7ICuBVnyDGjGSGrBdGw1DOOXmiGf9XreC6MY1aW3VWMwRgZ3+JxqUz0JFaaI+X85mSIm3YZ+ViwxVrU7g02hXXbfJVmXiKqjY3ABMaWovX+YjgOsHCWNgigVux4TyjHNXT3s/3+W9CuycNXulzHcdmmW4qk6arS4/lWTNfLeoFZP1KiqskDes8N1tvjQ/YXfzb/DUVr0Vfi7zUGB1POwTF690R6PSxVwlfaTMVAAjEGCTWNAUX5aBTFDI7kuqJ3RGCXmA8RoA2Y26uIDW2YZo8k4LFEWq927+tdSeeYE6PFZMsHJIBbNSTbJ1Ja1T0Zu6RI5ehUbaPlhEnywYLG+KvRf0bEwf1FiTrhRYkEBLNyt21mvE+URL+//xJotmVNZmKOU8UVAb8X3ARoKr5wzC1UV6bUiN/KXkYz07zYJBtmFn1+Cx+fI54y/KHiuQYY2EZFqNIH2y4+6K/ECDHfCCzaYWF913Yo+aGKPwnv7ph/o+vDU+ZuESjGbmjJ/bijkNQJXveCKLQTmfBw76iQbTFGF9lemUrfv3wiNGMCqxhtuLUz/mr5L3kIw6MHMTREFAu09ne3MFpUFLUvJ+ZfMnELXH00zGpCHWoCROZK0tBG2cg1YPg2j8LunFuQlEoQUXf5nqcrHBX1Jh9/ol2Zj5ptOmcK0AeRfcxi4mYyatMmC0pnX5SdMcyDmfFzq+8yjtSolODlaSgQsuNXa/teiEJPF18iV9ctYUFYzatX41k7Gy+Oj9rrXFyMj0MIgkMw/UWU+30hPQKunoqxH4Yp7oK9c0iPpZbjjp1ZLblTrve80QvoiLE63d0mxkUrghI3oAR8EixuVEWSzzOpVozfjpqfTzNNoF7eLxXkQrVb8NijqdUFJLwZabNFYtTnaShDVgXSKCjsnhx2bk7WDmccHvWvzRu8osMRgWtX/F1VedBqInHJJXquX1+iCjs8rmsszj9vzlAAcEHFcVfc/JYSZTRd3j04q0igpRdGnLam/nkNd+xScxaNDV1hhZ+5Si+AA54Ae5ewvTDkMDT4Wh9T+VbTTblBI/Vk7pGurIH0aHxzFaSGEH5Ff9FOdzLn4BDAvLPELFkRDvYigudBBsFNY3Zm4Rsy5uKwy4RMd5JHzm8SzrG46BGvyQldXY81Tf6bsy1Z7Lo4cGaC2o3NPGkjmoYxPUz8LQUyjWGOW4WCzmyK9xEjhdh7nvbstEDCTSXCLg26fIwfyCfJZno7UNfIIpA+xL7kBqYBUTonLDlwZX+yWPiNaIJRlxmzAADaSNHIJ7FSZsfRYfWwcKDP2zL9uI4lhtdz1ZTHnpVHgYgGwcXagbYBe8ZwfrKvpLd2lRSyHYJfzBbzdBY0up1PspmaMFibZaKdy/Td0+rcFEQoM6XExsXz03ueOC9lTMhsdeyekkYTY/pC9ZUrlcCoWqyCz4l6uQCdD3yOlIAvUWrFK4yHvPA/Eq3RhI1JpsX4svjobQyuFY8i2quLbECy+SGjHWuOGno+JQeBEQ7RqWIM1vtchA1ElFrCvyAKg6LeduDkVUK8/wNYmjxzpyVZ2Wnz45SDnyTYLecVvDZuIfgqnWqMlevbb+MTz5Qewu3CVXgpFOSSBSTsH7BA2PXAnwtql/t9DoFcyYS6kwrl8MgmERsM5S1bCxpyqsgdqnRGiuq3yLZ6YvhzflEaGrula1hn9t7ecvQUmJnjabaohSEXTMbrBxMnkflnwOU5SYEZzoDvKUBlo+v3Fxqr3YnacO1MGMh5YQCHIOck/I9C0TjIG7L2Sbk27F5Eb8UFttoU/HsqMKra3oxaurl3SXbc977aEfKnnMfb0MdZu71mr9lMEv+l9TxrJjOv0MjGQf2DCAP1VySWL6eI9sIGKvyTEVAhhtz9AP6mxXDlQz1UT0ebkrJFR/CapKY4/8DD2BiTRQgr1Rfx/LXxdz9uMADqZlkuUGVn2EyU5ixhoHRQ1z4vhM17oFLPSfVoe9DSVc8lXIzSDipHkpSQHx+k4VFL/ulaWqz/d2bg33q95qQ4oPQvoUPQx5um6bCskFHBpdNBtHRyyQ4DKWiKxDg381kgrn9me9EPHksqfmhiyOHx2SYLo5F6nAvR5tBCWfrpCbgaxxt1pndflNdq/y9lAU7fN1GmGMumlodvGbnOlWTlnRQ8MDlXw23II0ah3Spq6+6E/bnF4Til2beZlPlWL+n2MYE8VETv10IUhnQS0m0LbIofoFCGrvEkDzzMorWDmQ2yPN3yz1k7WNeiM9AhkZtzeqa9PEwGScIEa8MHUtYhwi5f8CRItu540wsVh4F0U68gFEAy5Z4BYVH/Wckkz/C3Jipou0UMd6R1Jt3TxlNazLPigB+XHHaOM/PruouU1rVtQ3kPU2I8C413uiLhtdifJbguTMMDvgaTnmnQaZvS5y4283L0HJ9Hr3jG62EBox1J1IDzDK2NfrW3sC7sKJQC032cvZFCrjg5SEapcZzL2U+qrNwarl1+wB5Nzmts1wsscDAbt91fwrlQYalzvlTmSaMjyJYgQmWuASIUMzXiXSjyQ85Xb9VDdo0cJ/Lwf7Ic7WoYGb3/N3rWOBIY+azoyGqv8Lx1xpeSEYLLvxJzZBorKQOLg8kzXG1hwffBgQdBYBjyq0/+sHEULu/rtHzEOIyZ3NHW5P+anQ4X/9LsK+4j2Nw8xwlf9pPVmDOEVVPghtk0Nsmf4V7Lh5F2imtlM6SLlLajWt7d6A4Z1bEUrvJk3LD8c3wG/gxwqIhV6FrT+2CvFMe5fpBm4TftmLE/01T/1qAY81vIellsOUOLe75H5OPQvaOakHGzdjz2ah60XzZKVcNCc/5UqLJa4UizljBbufYgWh9WpLbKylETwhn9RIzeADfCD0OVeu6SVGFk8SPAfSVbgcboPWRyJpCq2XThhbGH2nTxjFj+8EtZpDCDlKEGJpIpMfmA5Q0RVgJnkGNT0X8ygd6673q+yHrEQ4PMH3JWbp08U48rL5AQIdMEePBWawWRX3Bdk/I8hFURgiSLVWp+mvooyQtlN/uPCNgA2/dboq+btLxtnJQ4qXrX9moSv0i2UAnXhwDoKIzj0zP3LkteHieTjHlXQWnL4R/SM4ZR2Jb8EUTNco0UbdkJZjgVgd9Uf9Uu8M9UwPZv84DZvhlumQwXwK+eKkt9SJW60rqAw3h1hR5CFg7Eesn0YNBGB3ALsbStPAeQmWt/VCEaH/249BSHMJ+PJz7JUc0F9p6Bk3EtvrkQDtHf2jjwKtsLBwFj+8/frkZXXhjJahVzOQaJIZfmDsq6t5LJMrHeQFgg1DEi07uk0oBrXw3DE6m2UrFAUfUGhDcq2EtKrZypCL2EMeExooFoy4pGFCTh6QMenLY2XpFnA2LGIU21NpW2+VzAcd1bnYDiRH4FhZutOwcHYoDnHikeZk0Xir9ElVPESXuKSBztKwM0W89H81dB1tS2dxydzol9bKzOaEpaoi6fEE6HRNFYAktlnRhhDoN93danRX4nEbReYacuMwvg/Eqdry3RRgIX8iQGE0KBetqxHPYbQkkFFk+ie6j6cJlJ3XU9GYOI+dXNOAY30n/XINjlYKzjRzJ2gVwye0fWumhVPnxV97DW+XhvojBF/7wgNf2mTU9jTktUbEGL4pA8H/wXD2ovxl9FWKuihC3bmEheEuvPd7K4toUZGH4Y3+qLKy6u5v5GCmhG9gkMV97b+23Swptd1YwmSj8v00gD1TZ8I/3oCBIcNjan6IP3zNW+rnruS+D89SACe+ykY3a0xB4DtsCbFqqMALNLH20CLSdU0KzLSuQsAhGOMq5sffnwVRxxlvkbHTo264ehqXhEwu1iSlOw5v7AFBqcj3XXr54wADyOUVnuov0r4J5USFilM56pJgzTmIFEL7lLtAK4GFcdORzPri7EGpzs4OAyya0cMkYopLC6ciP7Aw1gLKTr2cmoEtXqPACE1NP+9S43ZShJPQllzFhoKPyzPID/qmDQcldq5UyXY3DRVmQHgkrlUBbwGyBHZzJMTVDvirfz6zT04INQsrzZk19L9QsJy8IJ7/keSNDg5dkQD7809f3uNYAvn70seSk4R2gNNF1hFvPa72J+vWTOTsM8DXbEcvtM9BxtIYmFoSIJd5O2MF1e3cp1FY5s1W/1brWxgxMGDfI4aYh68LI50g0aag7S2EEqcYKmserUC6lvc3eip7P3NSIAH7V4sh24Jxe8mCNQqeOlkGP6BwJnsHvKOdFwyG7bLe0mivcpOlOqmzhVm0KGqppDxr89rLp847U+MyOoUxj8nThMqolJI0z+spc34AEtiU19y8EfftuWI1tnvfNKH6WF3oLxrM748a+QLMTfgKqKmAAUslOR1nSDKb/T9Dex+TDNuYN7U8dWBqdFfdGajkp+f38KdUbNYmbPWC0o6mSuzC2qSfiw8h6e+gi+xOkarMvBRuN3hZoLM9344IC5qhLnnTZs9y1URrZSNmd3lzC/P0z9WKML2+vQjux16daSXX5GoJXWsi5pjMKfyUYXg/LxSTL2NC8K022X7gjEj8HC99kCGGHlVIUoZvreEzh2gpzM2IniRXr1WZucUD9n0mmDYleqj8MYXfNYSCwksYsG/VjINPu4wvbgW6FtrGbawLft2ilCeTm+PAGg0FgKQy0qUWF6blQTPgPgGa+XDj0UDdX340ZK+EUJIhhowJVirSA4NtQhpDToyXOXrjWE2pDpU/jTQOoXuUUd4HtodHkTwEFoFVhE+VB2BXaY4JW5FSBzzvgZ756i1jntPenrPZ4emVsKB+XLN4iOc4gtpZHCy55gte2/j061PmckPmzKBfidPOv6bk1r9GNOeicNqRyD6myOZStqw12+ForH+1wNdZ1Ll0E1UNkUx0GVxbyR2mAlzhj0QQzd9g66YUFslvVWNyCIOIOtndsrAq3+ZYKHltUwTFxYNMvvrfqbGcc2QgJIEmPBWBB0qr1D1ofCzL0cBDkhooLbDe4sH8XezaFKUkqGV0wTwoafEusHuoly56rU6xn32mFCZ8uK1ggOzi92lccm+0IQEC7DS3F1s4NAvo42WSwq819qgO5s7TESqqiWdBzVoAtUq9M8xYT5f6sN0LyPgUrd1+Js8fXhlEo4ZhGG78mRu68+zXcNFQ4+G8QL97jehK33vqEEtGDQJoG14Lf3cRGpirIhGOc6NClHL4eFF2Z8+LxWyCpHOXAxqpHwSOm9fRRBH/L5KtAXr1ZvhIXsnhfUfWwZnxPtpwoCylxkJ4fK4IFPvNHB+fsH/rZiWWiNIM3EjC1f9OCTIt9F/xu1D4gTV+6+d/KRHGp3dHMPjKf/6v95iCWwigAvJ8+vqRHdp1vPAi5b1aE7agyVeG+EzdXUPt7g7i2p1+xiHWkxFpU8Ul3zHPp3DrQn/XDPYu3p/s4Vig59umTgOPotSH/c+gHylfmQh3rt8vzBmOKeV/MRT0sSLk/PUMmhiOkigx74w0FHgxfSu///IgS24wjqsumN0XecK/sXjP697E1RqLdyx6Gh8UETjiwNa3txXC+s2HfkNgTE93SpxbKHWIH3Uqw9pBk2Mvzj8o5hn7F6MEg9tvju/C8thj8U5zdXhsdsgo7wgoYwhKa1rAlW68xI/hnjMqznQ6Sse8jmLokbDFbgNB8ejmZSKgqtZ9qPnQklu9v5d2AgR8UhAb5DUTho6rUqwWhKo2XYEHCvrSIsGBv2zyFnAYHurGnWlkp8FzA7tnRqAQfpDSKSAPEpRxfdqRq2rx1DwIS+bgVgfHR6yYQolFRyo9R/iXlYuAe7TrJAgccckvcNL0GGm/gwrHf4NyoLgff8RJhP+W/8a+SRW935F6gSUZrGcIWyoIWQyaEsVvuwVY0BxfVV4NvGTZeeB7UFT4fUm43mhLM73ZysYHLVy3BWdlVoneqc9xoPw3KYDL0M52zzGChYJX4AEBaEiP9g4kdWRu0nyMSaAsQQtXcmeXi8LR8h2ViWfzE3CZHB7g5eT64mYf3nl04ZSysj4dwwmEymeHJ/RxIN2KXHuHVpkutdDEf/8moidFn39/VxwY+LtwSAXG8GCapAiTBoidgz/sT9HFi/pN/QJoKdao0fvAAnbiA8P0d5sw0vyyYfFn1NXx3alqTdIczDK7Ub/+N0ldUbm5ziEdwPV7aFOgTTimHBIjUbq5d+2Ah3wfM380k0mw47XWnj+89ZzfEFl2aG6BabOMXfztVj2Wm81msKOocgeJ/5V8DLfc4HzBZFxwK8BL5W0g1h79OtyBduT8JSgu70sK8kKZ9+fxgQPHWxleAsfW/Druc5IJxUSwqR79OQDzT0PCflfRaPVU1CJSZZC7sC+SfKVX+X+n2O89vA0JyPgdLT3ZO1iZNa0Uoh9ap0nAs+bS+UyYXykpIEN97BzVsReYByT3+Qc8HJv88id5o6krjvyzJDbi2zMzb3Cx5MRsU9WEORV0rtm6UUeI6kfwOJLQaEx7y7VQNbBxDb1lrIpGdXrjNCwz1syAM37s/VKOxfPBmoV4QCQDQxFtjFH+jr7LqwU/3HikQ4twubvgVHclAszkKkm5rDQZ8I4Dim8KPs68mzSijMI8dUqnPNesb6XKUrwOBqgBtJpCzWWz5179+mDgSVIkl0nyNJzMCrLaW6mCZ2y267UWgwPjx6aYQqGQ867p3CDcEypE6wZg21XSEHH9kpDKjDH4Km/UEjOy8IZuElkRGZHi39uvPquoCSK4GfoPFQYJ+lnwL890fFExqBIC3O+LpbNZHjTAXYcngkHaQegBbq0J9Af4/1swJDxt1Xc+aXz+81jglAVf7o7OYyZ6Ku/C0N4eM1yhMKPVQb4b/fT/ANZyJbRVU00Qh3ftJCgSfDQxDcWW+QzbKO4hNdU1xJCbhZso53SA2oMssL6BTBgQtJUM8+X+KWlrufz90uKGO5aHICG8nrFg87gnc0jskPTJSgCQVFrVyF6pBVQB+isn0NXxEIblcRRmkGoTyBeFZE2V7WbcUvmToeDLnpYNFufZTlSoUtdigevZWntUyfbhyxgM6DUcEOaYzJnHZ0sMw0isQLvNagPM56RCbCl1uZwxBviX1uZXzxe0lwqDBcY+3YRh/AQXzpmPXpVfjJ0fFB/FdUIZ/Q8X72kLys9Ll+fGRfkNukLJcuFOXXeoVTp6bKIOMTpikviXisumV7uzp+Ina6VnFv2wyBWmAYOw9aNB8NyW3S7aeW5UobA6FqJ2M+jBy+UgLewHP+xq9U2K/8yp0uo1tA9H8Vq1IAOdr4ZZHVOpZJaM+GSOizlIsOKxD8kJdLa5xQ02VM7UbhRKU3eCXTaLJK5j99KbIlDVqDx13NaXOcW4Pmt6dcpxBhi4b/Wv5H+QQxDCKerSLybBIdAT/495b0JfLgI6Xp110ZXDmzQ1s0xf1qrOhsWn+jfc+EkySFxnTzpQnSmbHP8VfxPYVSj1nlNQN1XbI3xkVqWTUMwa5DXZJmlD02BD5+ljI3+OYE41ag2WRjHNHPHapOGEK33Q9+ixmOJbCpyyCOD4Cfiau+ttamjmC02ZFDesc9X1TBZN4/XgeMJ17dqAgBfY/zDfoKyqUdBHP+BYMGf2p2AtPbznQqJcOEvLUWeogTI9RM4hdKk76DpU12biEq5w0+33FMZWGpt/sDdTih6y3OcyvxYJhShQCSn8cR+oHLStfMsd++l8XIyUIECfGAJO5MXz9rF9Rz69HiMluCcFX1fYrN30BRWUqEkSQVcSK+X03pJtF6J5DEiRd2s1nSXt9cXOljnhvlwnCINDlLod+TRDZaP3uMM6VlT5Uf/9FhHsADUx1et37P1mEx4gHmALKmHlN2bCOo4D6rlrCAENaymQZ6qDkQRJAjjqxBF+eF3g0n8qraCjRPItKPopdC7OnViIeN3P0i86dHUfAwGU+Lwdm2Ca57NyGmaXXsRh/UQl/iObRqLDqqedVWyRDz3+vdcM/iL6nGQVie5D4Ab/2ewP83StHE1kepZ+25Ap+N+h/fi6Deg0hutJsVbMPQDQ0QCVJ5sNLT9TQl/DTYF/Xx3iznbmGZpkSIXT2880JXdZuo+vrSYBr776/9gKhKGg9axU8nsoS4GEJ74L/5jpg5WpC1nj/Wywnr+eNm1IfSWo3Go6uh1npXktRsDjIxKYqR/Oci5Ji5/SQKk1nl4/ftJxa2XyRLr7kxu0VKofHdqlBM96hIzi5M8wjHEZhvdWgcT1Dr7JBT4jOCnCus5UAsBWxcSn6RYdxdOTmf6cPU/lzCC/U5vHupkH4dUWV5vYvFIBJFl5kgwanLrx+vQDgOo4JunmOZcW2WdGom2R92xGAT8BzTSjlHIjbADHRiJNRMX+opY1vLNectNLrHKjrDTDfWWfxl9ilWlvkpOwpvJcv2SyP3HsTmN26l1HZ6+jkyXt+XnNJD3O9L88kZVmniePKjPfEqSgSgS4JRsO/NwwP0SNyXWBITC0L4A1tjJo6T81LPAw/OOD0Dji8Ff3ghXUQHi6zrdK0d+IusOM1RliWjfwKcgzArOk3H7xk5eXMmEe4z271z+KjlNINe/0LA7hdjO5PGzKXnvnCL6mJ2SDUc754aBeHQOysZ8CnJCziAxfGFrLggO7wmFn+GL2E7r6DSFfyozeHdsQf309nbBEMB0/UqBERazYToILTRr3SWOCYFfRSgL3MJMWIMMe7FM3RFqK7+xZgr4fwG6YOI/ySuXs97KK6K6BtCF1cUttBHnim8y+tFXvuM87yOuJOM/tRPVoypJ9PqOnrLv84nPYBd9KN/Ne7XrsryA3NpEJvbPUQ3Urypi9Bspl397/sbW3mTJ20TVUKO3g1WGXgNs6povzyUVZiYaC7EKXIf4ZRC2eIkpifawDq5UIbuRXpN2wzb4nxIDFBrKmSHFjiJeVLQEY8NrWupAEvBX2nqMsjaeb7NR1CA3bpoXhDkPpX2mFn298ZJjYCEaWCqPBBuOYJqOT8b9NuqkSUVCO8fi/aARFgbKTxkPsPcVzxGNm1XLvsCIc6smvrebRSb1MVp3see7BQE5hjIQKlJee+y71309DqAoZ5UWSduiumhvrOhx4dd6SoW+yDOsPz1uNtsY5vZczUMdjiKwjZ4qRcpUPUbFge/LxntmMNcxhMNZ+3ShLBjX+fK9NLp9v1RUuzw8qkd+FYT1fk3KoY3sSqZ9Kd52ee5k6S814K37MkYMKUsyGgndnUGFliVz5acuRX3YZJoB+dJdrWpzmX0vnRuKht1pKC7gSEY1evN+HvEgtWZ3o6zp/XKjo931aNv94lfwUF/2/jSJLYZSEE2WF1EZNGMA6T3cL9sitlKbM8EFN++zVkUuNoZIFmtCmoVweBVR28HFNLzHrakTpBTttbmd900qwfJeqTkjWIPb0/xowW+qhRSnLyvctod8iD0bHgRgvUyULjI70gQ/tEYU3LHH68aoiATmOEfQ2N8tRgDV/5WB8fRCCuzQ5ezrmMNmZmdSCfQIp287NE4dVtSCEInSatpbWmmTLBpDiQvPIFqSqegsO3QGbQ+Vj9UD8zl6u2XTBjpgZD0nNgASwfVrxvVOdc4eyFXD5K/15KPEWHzrK4wOs9tOcQSl3R+iz0QTnY3a1anNDX6yLC4pY4yqb3k8HdkWxgxqWCZr5r9EowTDo5TpiMRy5ljENgXR6OA4QNC75WNADHvAQTv0p7w4ypqpKEOxaKNytFeh6XeODn6UpNiAdvqP3gHiaQkfG4aFYtO4CARr2gBk+RHqiKJHkFPFoQKHn4Oo0PIc2MXg7e5s7rckdMs6qaHHHRDZ9hFWaAiwE2Crmo3syrJ/wF3vfXvSdlGnrGZANV/Lk6uCX+X3jzKEaTaPhpqcKw33kqpcBYIOxtwQ5x4dyFgvPB3xkvmY7drvkRsrT+KRb+oyWf0Lu0E9ha10k/Jg7PJTVNAb5xmlB+jZU4lFv9Y7RkjRGzb5yzrT3kopoEu7gBvyur7eS72UMkBsPDP7MvWRMBPoSvgmYDXTpywaWDIJi53sKjU7pwJBGvPacsYryATKzSgQLVHRDOYdMCe9wZnBXH/cwZhdDmTADS/tTOhXCHyfbjWznd5dL3fv9cVCE/22Hb17JmnZYvku5pd2LYPo9L49KUUwbB1JmuTSyzXnP5UKRdSvVz5oG3Zsk0M2/xcC2hJ4SRkLZr08Ycwi8nH5N/UZHOPvZHHpngudZ7aMg5kUdWVtMq+coBHEoin5qMDMiHatQq1NIWl/AFX9TyrUxn92lsrqATU9ljlyUsRI69cVjTjrvUnL+S7W34mgSLFHhO2gd7xr+SD/eali7vlss01a7ATmZUsKjuVSoOAJ6DJJKafxy2U6BVw4FfTSFsXVRFyanjhOTJob2S0QTh8h2xIjQS9j6OfzxAm71qZ7rS89PvtbgTIZf4uOsvKdFsm9M+CcqOEk7jzOqk73H0bC4srv7iZntUVii5NoHbepvyJNltj1hXEiKpr7C1qyn9pEjS6+LF7WYLiNFjxNWg7Pt57HLkv8C06yV9b2xN2I7PXstuu7+oH5I0yiH5D2gLAxqGnJjL2VE6SaXaUGJpRkrV9dc+OMCKz1UnRMEmZQxP/JHq5k2pQPRTsxs010ddRmbgULDs+KOHw8+IuhRwSa2aUXDGMSRe8UUxi7ZSHSAoFXMNJ/P3tCrooiooXgLmdyXVK18jOiOalGjP38C1wQIUqyPWSMFAMK5ajlCIoBJTmQDnTm0rSbdPml+fXX4Kdb75opL7xXwaGdwOhFUuzkScOEteYIwYVNhc4iPONH1ACMXX8PnHnecQmj/Rc6uhMwwiyelZ6M3+BQv7AzAYpdqN6vPHYJ2ZTxdN3QT0jzzhPeN+vfq76V6capzPNqVVaE7pSjI6K5YK9/20cBAL3IzYmA6DzUvartEWwwpC4GSdgO7ju4m5KdOSK37OZCc6oOeY+cPfMcGI5Wb716kKhPMPGM2efCl8lJVkzCMTlelHMEGP9Rw24B5+kY+onnarke+ZpY51MBQ7NL2gxQNorthEDom1u1yrJnmHUhqvsTqpFpJmZ+P2N3lws0xBDAY4mXn8HdsAUQ2q4SHOcCVIgG86/932+ArkKStGdtw10z8Gb/VkgqoQxx6X2BhteA9TZfKLvkqAHQBjSX3DOa+SGtodmfZWNm4Nz4VfB0kSWkDPw1se2FCzbyDVKZM1DfDSfe+ez/wARQDjlcWJKp8BdahzZ97pYZKx4xKa6omo3hGPaMuitokh+qdNjGXRpkxz22UXsQX/Kjg7lbtT+XaHNFCSoz4eX8yIfskhXGrwfil+vJLeKOpHCNZxF7QZisk5y8Xn0tZGEUFgjeGw6M7QYNK0EF9jJbvDydusAAGkBosSTwkk8f6lgvJR0ElS5/JkKUsg4aIjcTJcTPscSmIZfHJdCAp8eMM2Sn1RWCxcMf1HglN42QfIMOC4ANaJCG80HrOP0wWUxkVAG5KCzXZ16sTrtYm5CV/FziRH1gjE3/RDEUCJ8GjASiRfyT3MyClAK1HQIS44bO+MZ2mC7h4B1DQAQiUMMenSUHogDnMz3lwJWmAr3PhrhgZhOSyKGkaIffWgb1JDicKGcxrOu9XsYUTKaGqDZ+c8OLXYX2K6nGCC1OYkc4K6WC8yduyMiqPKmezuISIQud3ezKk150p0IwYDIxfPjoJ/3TfOaMg9xA3IOLb4uEzefg/5noaUWdWyUesUu7P0QefHNwWqUvSohqMeYmbjwyuctqHoXOMnaxzUNFTxKvak+Ns2A/3w2jJ37c9s+MvZaFeoi9mlpVHO6mCN/lq6kyacASiU0Wu154vsx7Xf8SnARhsvbu0DcpGiyaqphirPHsc6ubU654IxUv5BNyxeG6Yp97/mgGit+24EXirtwx8+kqEtxeLKzYINeE05Mso1EZgqWo05Vwe5n82nbuJLUfSvOs4fgedEY+sy6tSSrDJAxGzJYdua7vv1d94y6sutI6qARzX1ixxc64lOcchRNUhRslcsBaCHEAqp6ciNXmQJXYwKVKEhZnK43CyUNEZeyHGpLo7I1LdOxaOjDjzzOXvVorxuZ68S/H0oJW49U0Q8SBQycF3NpI6mnzJ3nFl6ze5dOppo2kbiSct+r7ygIJqZmlknUeUvZ+V8MjdlYMBwfAOkbtYS2XanjPsZ88QAIDyynPho1T9HK64QuMVZLue/E7hkSFGLPFC+nvSQrJ6rQKa3T8kItX3mIi5caMAx1JSz+ANWNxLfNolYXRVn4iQi5oDA/NuJbB/vaVtPe1t4QDUgoez5b4hPCNICOnVAaDlk26V1n89CX7S+u/7WatE3H+MlEW1JSNmCfRV4QMYdo0g4hy38xEjQ1pmesqgTJbNgYjIPue+pXim2JlzONNjAaJYLgvCyVYRIPEfc1zZOd41dz11oTI1JtudcXgjbarylCKQxN2G4ZN4aJMLjsgD8btLthleley2DIpvIEGX49HyF9287zg3vO5qBvr3TEb7Ta0iTzoLqRLmxGOtsEywXR9kp9sDg6jLqZ6C7x6wa6qdPlVvrG9nok5BCI621Uxls9BGOGfZBZa53Us42ITylRX4N+YvJFaE/h+BLt8jg3ECVktB0/hkcxd4Zvp3xuhLbCgiQKgoyfzHNGl12Lt47tfXMZGbT7sBYUQuSkw3P3rSJvWixFaBDgn96RcyiQCa6eD+3V73QKJhN7pFFWUR+1/cbpbJRi0X/yA99gnr/BmacF2VI7zZ2z5f0KpcFRPRsrO9v5+WkWKRrOFj3hAEYcxxOJ+7qGz4DwnhhBLglXyyGlqrYd/D74ZvEKwXPU/G5QrPItp2SwOxBGc7kfQ4hksBNagoUuS8/nx09/1fHMZXsjohGfUrHo6EtpWOMpAeJ5t1NuS97ciyx0jAEVm88UpBBxgEIoshHKSrgDIDfPH80vK5ynJ6aJeCTN8RmZM73TTTbw4YFroAUT0QtENyyfsymCQpS8izirzL9dyicPqsCOZISF7Uj7GIBTNLClTCDcoqKkrAFuLZ6+YrUCfjei8IYRRE7wxGVLA+uGcfySKFCIF2d/VEzePjLNYUeglmeTRjB3u7oJ37pzxS1hhjVK/UVdLs02F2/zkEAiVwEKKLw7K6qv63/hnvr0DMzddUbB2BE6ohC6LM88z86SNydP/KChm2fH7oNG9IYnUxdgZzY6dFMihdYRwPEyJB51Chb7nbzQXr4da2W8TdMEztC9olI5vFBNUPjdt10+ymTASmKgM3miXh8fug/8KXSkyFKEdbSI6ioRjRvF8s993CQ9qE4KSdG4bA//QxWlI+ezA6pq+sv6jIYpdxw03MNhOS2H0e3cWqYg5nddmaDy1XTKrG5XkHie6yfw4hVJMU7YqxxgCcBJp7OZXVCJj23PIsfMUEitrISvbKsdiAS97k1cYWZYFW7XVoy/fA2B5OML0lCiuu7e4aP6R4lfctWEqN80hgyrvYtLFfiuIAYDu36u+HWDaYPpbYFJjxWpAfISOsgo6ZgZ1CJniPvvVIgroKIMiqlQ3sN75N/fGMWkWYbzWMUMsOcAbcdGtXkChMWGcyXdTjtXcBKvVnSm1PXSHm2VtD07ew7idwlccgQ0ZJzmoMevmZNNosI0XaUQPjd6P60mXoM3hFEG/Vxk2EFmzjiB3VO2s5nME9bwvW1goJKCzuIaMrsO4l0T0+5gI+gpuZNP3pdht7pZVzayKQzfcyJX8kIAwTSNxqbj3yR0MU0UDHyCTvCrSRaSNjFHkklX5aBdftTuCoPh9Xig6TYIzkqsjSJivfSPBNHJALfOmsOH7tcEGsHK1nElfo0ykEegUF/GpgvO2jQtMIwZbnqUN0WpadhUVaNQ0DL2ZI0AnutpAogWoDeCcTslohlgvaNuBVlViP//BMWyHoCr4xzzO3f7oj0iUUJseQQkev3EoR1rVlJ4WUxZzZZzt/utaL9eVigWLYV0iKMXYEe1NSB9MFpw4rtCSlflxb01r+7p1W/1sH4MZ9SSmvBthifFVWcO/FFR2kPhQRjDiaZXoThen0=" title="Mekko Graphics Chart">
            <a:extLst>
              <a:ext uri="{FF2B5EF4-FFF2-40B4-BE49-F238E27FC236}">
                <a16:creationId xmlns:a16="http://schemas.microsoft.com/office/drawing/2014/main" id="{1D9ED65B-A191-4CEA-A356-0468C5A2AC16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501607" y="4239260"/>
            <a:ext cx="7953827" cy="231394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1h9D1Z5GDtPW+wuCTrU5cbsTyeRnoM7v2+KYfNB8pPDHY3/N/nQDLg73FVUjs5JX80ZEMdZ5aXYVE2SrM7ljDixtoKhF4R5tzsuuZUVsHAfnOUmJYoXbjyORMu0rBOLwSL/gouLRVPGLdb2g9vLWoN8GMV13PWPSnrHZ1xEkoSNykYDfDL1+jY7dTKRR2CEzaEPGYUT5ZMznzlQBU+aTFMFEVhnmaSieQ6IPfvCDY/2ePvBR/O1r8gCunmEDmNZQgKhcyMG1hOvwk+pSFEaDMCZFpX/w0ZMe/cgDgCb6Zd+G5gmCH1vX9rivDHLktAMHXsSIJuLQtO4xyhSpU3qTX1a1qK4oVlGD8HRD86GAMSATe4ZcKOvOlt/bNa4hdpVHG/3RVeeB4/LooqX7uu8aAFfjSgweoLZJDaseUi2wQnFUUm+5BDjCztGhSWhZU498K0JMG8snoX48ETRUcwjrP91FuGuzxZ/VUTao9ywuGcwtJU3o1Kfi0Yc4xgCz2G20APg22lrvQQdRhSZhpa5pdixpX5aV7J2rWiW8WUJ4+D0ouWJgLdFc9c+BcxLGoL9PAgUg/y5ykOZlODdfpmDkLvQ3gfN/VtfvFzLkEm+JKziZ1stvB+bLnkXYVyZ+8cA9380VWhFIIQqR9turHlXMeL/91nX/Jq+nv9Lg9KoilDrUALnjldnihcom6BcO5ogPqc8FM8fqzF+9CNr42mfPHRL9HVomo35UvehFNtZrrqZ/E0kFLNUp1Q+Mre5eWIioE5+2O29yx8FFXKaacXqVoglNTWQRZJ1QO9IxaCi/QZgpNQ7ueywWfpIHEBg16yuZrg2R+2RagtoPu6Lu0rdoqRSVI7vMOIVxGmb7t7StpUGPXSfqbFHEa6p4UjuFBLUN/Q2sHAtCfYq2kxLEmVCKRpBLavMB6sx8bJb/KBQm8grftD9gynUMYrLHMX3H4w4x7rnskkCmMhhM8fXIiERBW6WJvrVnWuPt21Wf7TpLUyUseWDpic0gM5Is1yhJ6Za+QuyhBS1B1AxQeQ/P389BEBkLpUyshQkNn5TE2w4qb7sUoyRrcBcsl7j+RcKPKDt0Cxfd375wPZ99Z9qqW23kyg4o3agqZ8/JCJ3hC7s08c3mzdEsBOHYh+uuAkMmOUtKxq5eUjMwjs/3eyidP6S8q/fEP4kDhmHawJ0wkP4fEsnm2emH8EyXNEC220gmp+rfRfuANSJZFrNpOBO+Q8+e/qU3eDfjcWdD+dzrLST9+10tl4z1zI/BBZ6GYRxctHLXJkE4lxgRQBCzgl/o++u4nueVP8cBEdKGZIWjTnGl3bzhWdb6tE0fn2dMb1qUmuN63hHC6HycdJvavig8Ivg0yowU3aL82HZQLuv11Ci1Nf8Spqh4CeMd0hRLCf4+/Rc6JBe/XmBrGWwFo6jXkH+6w4fmqZ8UOflVhdv3dsSZU7ahy4YLFkIx0pcgYpblvWEvvaP1MyQ0wRPlg/iLGIrVa/18F6sDGlVipgGZESxN1T2D69PHIRvaU5KJ0E1OpbPt4OqhWhG3vT2737ku7S4dfNKxL4xX9DvbNLIL5bUPxYlFVT71fChWpNDifatvseMS6DGFJ1N3WMMWpvE+CXIi2WXTk5VHy1mw0Box0MlfPMiMZ5WOZTIsJkDqXOXIOE0GnZdRR+IU2GqmMUExhea1kZ8ktb4mqGS6q0M7xfw0zaEb1AdHBv6RIA82Edk4yr57kUbvO84PZzkYGr8PBIqFyX4CC+hAFi/qXhyewNQOADrnqV/56b7p6cF3MjyQhVZh/AOGoeRhYH9oldwwWKH1GoC4/NxwnfoR6EettFKWiGIpsKuArscdLfoP1YoMvpy8DEV0WTG+TtUxoZBFmpcM8HieXCKH+IevvO/OXViV52uUPPf3lsgnD773WuNKBrNgkQSg543ez7Fh7aVqLsG+ZNkzLSxVGEW1zBIvslQsO22gLwu5tarMYQLqQ7DdsxveRF8m0q04Zj5ixu0FUQ2Kph4qaYSfL7zZUPvQEm3FwyoBbSDfvR6IlO5ursDKFOheEFI3PfHl+HPv3b6L4fWhHdtNK9d9mzm76fU0CqWusdNyMaEFlgD87MbicGswcivrrDIocoqWsP65W9DOJ8uvLzITOaJyTaoY3rYtg7Yi8bx8wGZRXIU+obyf9HYfx9am1rdVVTJUrOSOmVerngKTBa0YH4Ir/yXccetk1dBZnOleCDY5/oXWpw8eRdTbyuTn2tFVye3j/12ByjjXOrDaEZWINIxXeFGL70jFF5+/aq3WbAOjhLIna6zTKamVZY3s5zn4ukMJ2o89Aq5VBHYJkpP46Ge7fBNpMvwN3bNJBuVdadBJz6xq6iD8ZSKGd1RmXTzzD3SbA+KO+h7dwqiLc9imJywZFzT6D1m0DLHNbRI5Mdo8HqkS/t+9rERN0QmcAmK920hOHDtdVj3ajYLHRbDRgW6q+n/kXG+ohJ7uhN2VEi5od+L6M8n3Qerh8t+bahW0ox7b8xw1wrlfE987KtGR5mbXRLZ/zP8erA8TrHSlN1fgPn9VkTkDYjvXTZAkoY8HDcfhPFlOjWJ0ZpIaTk9s7BkF+MW9JxXXETW6Pb6GIlbI1joMiW3YuQ0noM0Ifc3SnYh4J7QGPO8Azm/NNUcrDUZBb6fcHrKAsxJ3OdtZbkcH+xlNrr331GkNMr1tBAy1T65twW4VcYAxCL56mgIk60a4wdZhwvTTke8Ziutr3om5xQV6+sGdXxAcuNG+YjAPhDROdD4TJhA8iMUEznGzdanYhUj3d60Q4bfBEuckC3jk1OzkaSBeqQYw9cMpDt3n5WzeqEmnNCKf5e3WrZ/A6g2gb7DLHlVVhMOG8q64KSRDtwwbapzcoYb67aA5zJB6LyNE6REYZlzHiZjOcrzT6ytU2HcqcTuqm6JEQsd3qZ+EhjTlXKC/K6u4CFctgK+kdwtsiWa684KEm9iKYmKa/+GqqrQGO/hFdBz0XXU9PlOJMxP4oze6uyizHlIhKJXDi6/cCCtXbsRI3PN08i0wwp/IOJ5xwNFFOKN1TWCNOjV+emRaz7+YnglokDG1ghwwTBS0hDuq72EATE7Tzr8fEBpyAaCp2wFRRhPErRYPZPnqvNJ8pPLK9PYFYHP5q8JFja1Zv6gjN80NB0sC/bmuUF+Q26filz+BjLxqq5GPJHnW8JTnA+kHBT5Y2XOSnU7/3Vq3+X35FFRx6mN/O7CrfT8Ath8AckkAR+sUFkNGQxpuW01+XKpBa4GfpAV79TqNCcSHob7bAsMGogQ5oWhtqY3pw4kWLRrHbZa94YjPADzobs0n6tKH6mUMSMsBqS2+uOaITY9nbAe8BOX5oCsb9M0jjnG64eMgXHnwc6eJAi3Q97wwzbG0kVlfBdqdkKK777jWduOHXkyZeYlLd7kAe4wCTw3UdqbKPyJGIDIYnckyBsCkR+TDyVtzIerch9jJJNgfJ+0SP/6nKRh2jHFXfKPKcwdAJqMcbFVISa3yhcv1qcQ9FG2kKZzYbwT8oU0+qR8hfzfQ89h9hAIldzQfC8NGVH1VGHzWleTDtunrTG6PIVFNgURste9iiKnxTrUULJ+vCV+ZrUekQ6pyTjqAY0zKyX02G3gAoB12TLKusQXKvKoZp9015DSxeBhH8hEzaBtvf4dtc/FkodKy/Wpw1d0ZK1msa2xNKOV9CWp4iFlNvoSRaGLeR2q5AobUR2uetGeZWACFVE22cOZOPESVW3Y52PVFvpdXmng+Gdt0Ux7Nd4ocaSwTTSnLwGhEmM6xC8cnVXe9v30IyS2C2DZxSrlA8pDlBNtFETP1+3RJtMJfT2CNKPiirDOnTA61quxmiahH7MejTuZKwzNXlrfmFYOqk1ln9ZTrXA1jgwdvXvXq5sUwLA3rKzfyFbxS8R50FxEqrcKWVpYJc2s47pTuCE1Pj1CtA/9Ad5S/G3kmHthvlYOtEWGNdnH3EIM1sFMiCA1SzF16YEBYEWC7quIxsz4ti+cuTz6UECDIHuh6iEXhzakuGEMDpl2SwMn1mN8vDremZFbmAfsZGAsz6CpP/mSv+vKFI2ctXTHmK2eZpY/Pm/9JYitvSccwu+wFPROkGnLR7gbCJbkpv0Rz5SkUdB4KJzN+kfrg8KaKGWD7xqzXXOGcG3cwo9lhPzZiF8cLJiKdfsKuuTej0A/+fr1ZdRtbkE2yvSzDsEM26RdTb/lWsoXpK5ekW/aemcP9prTAzVafu0Kk7Hw7fp3OojOQIEfXP+lrOQMwzyNltq4sElnitjysyslEYoBlD94IiJzhJ9Y5zlc9Zyn+TIo5tlNFgWypnFx2d8yMP50iOI07ljp6UGudyD2AXp9G53GgCW43fkGJE2YojQFc1olF8ZFMJienOzGFSe7m62c7qPavI8sMgEUIhtDmGGH6ETFtJ54rIXQ0fOcVCxqneQG5uU6ltDrNCfM1UUx/sFO0JcQ5KhNkRFKdMf0ie9Nz3ehvnu3Je73uZ5ORomICfGLeM2BpFms+zvCBFiL5OA5jF1V2m4oGAtGmcZLXf97kYgl7AVCq51Jqu29wJTs3yh/7Ng/2usAAQ/y5Xse0GlAt0jUoIr6sEEFfzmnKxnoe7G/6g4mVgc0Lw9Z5KH/TTdMcU42zK0zt8kO0rlmYvEgvcHRcqK89n0KHDRd1QsEXeuCLmfmPEMTfNVCi0OYCcIlM89Idu6whw8eXU4RKxEg/M/eAR8V8sNQq8gvsCnXMD0T4RAxVMdFGRMRJ2VmDTi/o7peAsKegSol/ggAJR+zwfxIYqRtQO9gUaikNhSMe0DWQFj4Vr93EKe0OscfoPmhadA7pw11WZGiCu+12GFDqsVzYSBy8wXaysCF/XdeD5hvQNfb60Qe/18IkvdT668ffKOqjKMtiD0yTKNPUx5D0B3FWDAHoYrvatlNvQS/wi97QnCqxNbi/tSMdlR+5M8s77nk3ZZXbB4nsOUdRrtLAVa4jf4aX0Aek9opLpA7mubhJFjnW1k8qq+TR/dY/sA7BMLlnp3O+Z2Jpw91FfPV5i11a9Ro9jMTdunVd6OjKTEOmNBkbmYFHJpz1h7UitqEaqtUE+v2J6Bh8ClB5c64kBacwAF+glDMJPUXWNEFIUx/51xB6f71iHq4SEsa5Sp3DS5Cmr7vAzJbSbbC7/8jesNvRPJt9wiRhsQesX7D96GPr73Rhl2IiwVNC1d0mfcHqP/V5cqNnAMpHe+ZbvJefBPF8IwXx0QQJUTM4vbpa9wnC55g2M1zukJF00EWyuOKNYoZKOjennHXxEVofNpSK8/ExA0rQhId/LRAKNUV6mI7rVSdBq05BGBZCgFG7XfBx+xi8WXGhZe/BYLrClhgwa7ee10BLT9pM21b8ZAoy7xZEfOWSnQXp7rtlrh9QedVoL8Hu0mymZ1vBOpmNJIQk1JqI3ZBAU06TwCoyPMJyvbm4NhKxnvmdWSxvZc6abIVjALpQtXC9Yr0MODnBQViTVTCc2u11vAoVfMyyLTYV5yL5MJnZ8nfytG8UgV2fV+IPdMsQKjsM+zguQ+TEYFDK5eNah0WnpsymJx2C8wUqlxr0QRLNyMUmpsfLKUCggacbg1EvSjw2IN/RXBnPqr2rBleY/0lyVxT+xntQuCN+S+d/RLAgUVA/RG2EkgCs2RTQMf+A9V/8ssI+7Nw+63nxyPcC0/htoE6aauZwWftZVkaJvNCczS5X4paGEkdlFAqHOKJNdpIMPQxORTiqYBT05lo8PyU2NepvlsdlkUJ8h6WXFO2XXEPWVWvOWxuAB3dK7BqSwMoKOxp/2dJgCYoQLK1+7ftiZ9akQPT/kvIkif8DRSi/5+e4FmsXV1bH3aqTEI9PL6vNXs42L2HOvhFOkhjKb0Ub93+y7opmJ1bweyegDCOgoHTUqY1USGQoPCZxa3NMBTtrroEmAq7IyLGCmJn2DMOGhFzHIZvc+Al7ruoHk9Y2S0o61HWMlVSNx1MnQOFMGRtJAHT9D36zRYO0vEzx1yT9g8Fd6ZiyTMehwIQhLmr7Ed8CoVXmAtdDJaQXOymdotS2v4PgcR18KzXIyipvgmg/d0aSe49OElNwtUtAVxZhRsb7TlrUA2bOuTaT6Shh5/lYsIRD94AHHvmVJ0FPyuwSlhsvJmwa0O427QaYtBGPJBCBSzsvK0YNyhWXuk+3llnvlu/EbEGIxtEAL3N1qI/4HxJP+xzbcj6YcjJnROJa24tGURAzmhSgFZ3foeqgWCUym/8zguZHAe0a3ZNdgM5aeAVF2Jyu0X5THCUCV8l9dzq5EApM9F2mmEfPZER54NeIUqQyF5LRC6jnsYrl5nps+F/k1PRKL37L7esvr+PEhAY5Z0NYvtsDMSDrjTiv40k/5ixX9reGDohY5OxUqI81ryUUlLakKCnzgV3PR6c+nu6MjI1Y99AyCr07eprF4JOPV3MkD7NMISjV3RrgFMtdZpzJufylfyfrEeFdIHQaf9J8zodT0vJgh3BcQcxcWJ7HLM8FdO1eZheiPrcH4nsvTHdyIK6p4tgt68TSwha1rhj5aIRUl+x1CQFemmfIRSWOg1Q4KDNktVKZUUMEcfTFzj69w8YoR9p7fqxnah+EIEPNBd1dgq0NX71dT9kIYxugMq+wfxLNnQyDoGoJgSHtKaI/3IbX4T2nuA4IvMpJPTCGXIxOesvPrOf4QH7HDozuM3u+Qsvo93xp31nBykpVRf0suz0sQ6KbX6qPyGr51ncpspdtToEJBNTW/04Wk/jbFgzaAvifo9nN/j1vPnWjmLPIVa9jo+BtzpemXLzquvAd1Wh21XPVw7H9cBMlx3+2frVUxR2XzLPqqZGN1ej6ntRxI8Qi0QOg2iNo2CcrIfvkF17YahKGBc4/U+9xp3U7Twskp2VnZSXIJ3/cJFjh5VY1RkpPaHQSfmdVIHohP9vQkHeIDpcVoSQRBzYivgUvTNZiQxxQepDtZzoR4K72+V8PEBCuVHc6fcuDCD+z1s+GbRVQdrrz4d+RRfzFVK1x2CmvAm6P2cbuH9MAwbvav3hJZYDr5bpji097PV6jRf1n76aqHqxHyZQ3AMo3a6k7ZKU/3cCjIAJk8/f8X50zyI6KEEtfxL29NDEWBqoMOp9k7kkUpiBEz6vxdBgS+njdOTehdtGV/jXvK5xKjxaXmT4JRuL87rav7K+cQpX/Xoqf8Fn1cp3CoFqKKomIAqnsvzp6HZwMps2OmxwmUpiugfJzKSIsF6j8NyCAtka5ntdQs/WVBS7DQ99P4EyLfGNfjDhLakufhdPF3W3ZVBIE5qGpxiSokaM0fTxFhm70ETnVplGVwEpv8c/e0IVUC89h9LMe2eD4h+XQ3b+dNB8Cz+JIfiYSYRU9i/kX/jdmBcedLqzku+sJZlToPRZGxjrJVqMjFHV8rjqgxRRzHz94F5TIeBDOydaJVCFVYQE6ZL1Bn2XW+kdN2PMCDkH+Lx1bRVFI1DIfM06V5RUWz9qBF/0yeEPeKh6rZJg3HpQMSzHZUz3J7WPCZcirAvBVIM+uwvuJRBAZk6AoGyQ9L/MNC7CWFN2Omxh8xyHwvwPt9reu8/Nk+VoKKCDA3Z2b+uClO0c4qvWNFs50jM9d+fukwPTKAl7+UrXLSwOXgE5+IpsLmCP65eynfzqP8ABogPl45lqmLO1sZeBX+2Cq59Rhe1PeCuUM5V1q/39zn4WzqzDhowsBRT5c6RyMGZHcu4SeLkhcTLm7fEar2eJqBYUhOQmOx3MgoBbyj0xo8SO+swRykaCDoa29VayU2aOLDN+3vLKQRXaWvc76pToZRIlXeoJrSeJ5r15O9JsYkz9NMaHkkO/Q3zS3XqwrLObBbV0SkaAhHNkVd/1dauVEShtPcWY3n2hLX/Uf5fWj20nnXhN6kWI1GqWPxWz9CK/ci7pRGN4bGiZ+82rey+8aecFIbs0ueBnuXtTNctGb9UGDmgd1QM9oYWwdek7wPQT6Xv12eowmJaJ3SdMCNKdAeqV/CBOb9aA9v98xIrBR7HDb3w2B+N55kVzdFoTh7bh2nfjDWqiVKuFox40UEmaU5KRdjlqab/Z33isi8qyGWljuqSBcZ9vdWF949aXEbmsks3Xktq5mISPWe6+f5gHApHSjfFjw9QO1iI065aCxbpwJigUNneI4/uiEb4ANnm3K7zD9MKtZ7HG+Jb5c8MogVR5c0eAaXQIidKesuX39kSni8vMo5xP6zWVapboKrR/U8QLqwp41SqPQHwqqoQApyYOmDc0VMEM+QPTIcAjo87PJ4eo5mjGrYZaD/d//ggsFiO6iBZFpN36CR9kBQRsTTuxiwBRYvrWDuMZEbvAAxnHRLOkL7vvxwmeTRER7q98SuMo4ZAajicrWrWeQP7B0/x4ZQbqHsfyOie7h4dsy3h+O5xKJ1vqIystIpkbCsPObMLA2disQCuVExB3fEjsxTheg2P2saFYQZTorCfF4EspcHCijkW4Z02I4ptehNr8kfHG7/LVcZvib8Dcvp7UgSfaJ2GRyFj496RK0YRUMjP26Z1PhBQ1j29AbXz/nrQBnz4M6hS+FUbjRUvDz4TfzMWomeXgYDx/Yv5gBJuDTaXF/2HHEj4g9ZrhCpoZ/96845Zz0pn/q/9siHixkVRccYlvD5o1Bpeb2n7qxC+z2RP87CRP2aYe/DLTb6DjEwuiyK5aZ3wduGjyNbXQM/oYXOOHqtRDPSBFvTDvw0ztDAkwAdstp38jo6ManBjgP8LW2Z4jRxcya2zHSOKLKYUFPcozpkKEBTUCleBTWg9dJORhdcDK52sgKxU0Mr16Q3BLKnZCOftKHAUEEIoqMGTw21FJvhypKkKbjjV06rzeDjAf3wvBIltn5PjHcSldbvoEfrf4k75aXmv7sabrvjNtLd/V31DJtg0ngxpDnS1aQ7DjAA49UuAwt+qkanKF1+1ywLARvJLAzmWNBhyyX+EQyB351/7Xbk3bWfZp+daaILRHUIq8pLQIC0Z3dP0BMwaetnzUtZs7X6MZOQ+855ix6eLYKz2o90BO6YFE4NLgPi2pVZUU15BiyXOz99TglUUcL/QYq5sA3I1xseexEg0fxg0AxOUEzkkejV3oXnbfzc2GVtBeUn1CvV/pV7gPNgzmDkiS2LOb6jU67pAXoJfhSFFbKyYMJ11/9+WVnlbbYsm1iwtdm87uTXp1gU1HOwmVuX58lfsUCT/J2rc3riz1yTFvcc3PJRNdytZfIx8aZvtcx0qAusBSebk3IWLsdcDlpofwMk2uBuG7SBO9zvmhTWGbpDB7ah+8dPyoKTNbCGsOZ/+jiFG0OuCVh0yw0CGfO+C/Z9/LeLyIFtK7aoCYtqHtSX7+6olp19VWrHelvfOzdvkvQtuDbmPgNXlGBuZmyXJp149zlv5m8XS+oz4gmlNQf6PANV+xKiHPPEyCEixsvk97QdEPoi6pTKsMmSD/Qp6qWfuzHWoDM2hI5KLM0IVtA/vaLtb/OxlNeERVK8CnUoiXxwiNmQwe1HB6KSb0oy4VplKsK9kpeggpWUMBmBDfqHGVr0YzFalr+3cS85J2mNuBhFCTOsLbJj3gQJO7DF4XWWikUYpcwKTAdfhKokK6FvqTK/IvcBU8ldY1iSeoEUuHKnolzyGDFNjbcUGcvu8Hf/i1ZWKC271geUwjjPsSWDIwUM1VHqODICDmjANeR724JmfxsgCp4zIByIweTQDfrmlMldTf6s23Z8pVj3Zmrp7JRMyyO103CQU3JksY/xD+XpTUH2SE6INcDpV3ibiPRlx78nwxYx1jgNgzMqMYY5MHTzVKZ2nZdUPGHSJgiARrQ051OCQLHuLAfnZmguET9D0gukK4JC4a+HXJznSrnO9ujSUnKUffQAcUKsQvHGGrua03YeLnfEqFfgg9nefDlLprdDmdlae92eWsIgpY54qNyYkCp7RtF6Ayn14Eey/OkqHk9tnt/5XSdm5gBqT4jiKRUmwnXZt14FDzyCoa2LTxhiRrbnPXT0y0qPOhxaUSzIVecukVt9tbfdY897m1rdPVyZ/bZzP6qoXpntcINS3T3rsi2fdnnTOZM/R7y3kQgfIEmyqtPaT+jpvxVAYEb0IIOtLwlm8B8m15fMQQLZMFgS3kQcKJdbawTI6DIbEmhPz3eB6/9vJqiccQt5M9j3rNIgcf9KloH5/2DRkio/XcVqGM7UgkUeri+GGmKaQYJKHRhGKv/obKypVEC80BGjb5V9PepQSnGP3Srp6YnfVocmJJrQEOYv3J7g12GQEvMMvrIDe1qMD62vlgI+owHllX0q92TGRKLYKxTgeZ0bQEAwRKhKNLwXgjPwk4M4Zzg24XeN1pQHchI08KsVucBjW6vPDafS2pORkbu1riLhQUse9tAFc3j0gjX0MoY42tG6sUBZ/TVvbVcdtL7FcqQXzsBWjznLikr3qL9mX53SpGVQw+RCozOl8/oLb0kQqFCfJFI0SU2ehbZUIcysoDWyuqWPXsjfdxZz94zjJm2ivuEWuKASbiiK2SZo3JP9XXpbQF7vwfYRV1bs7VHPY8miqQtsRyXk+BU52w7UDO/dpswq/yJCvSRTO7JeyTalH8KRHr0tKf3A9Q7CUmY2zzGcwAYLGFxI6L3pMnrz1mRLYdwjZDGDxMs7dYn0bxxDcjZm/jkvqrTnagv6HL5SQuV/dWlUvf0UxuRUrRrbOCHIRwy/Mq3ah6seJ5HwRD6wUWieLocIWeiQiRXDmmwTKki5bbtsiNhTAgDXNM9Mv1AT+tf+vC6Hf3psw1maYGFra7PwETebaywoONndrnpswape35hWi21XoS8M+vzZJomJyuOb0WF7ewdF6pEy48nY2czfb/mFYGxmglNkJIr5DdctbtKGnrIsaXvs6kl6JA8iE5LV5z90q1YWNTFyY3Rob/MeSXP1Qa7aJbOnjckdgw2qIXBPzbCwwN90N5k9R5e37dZx3S/AGBXMShDN7yy31V0U23du42nUP8L3XDDsoyvNo6vCVNdrbA7QSma0RKwYgn1/Z0gQNb3Nu9ntepGGjzks59o0PzptunUIwkTNoU3yBZx3YbJRsS7b+sfpck1DRA9MuPynTNwY8ueLkkmWdBANJuSnacQdmppNY+ZstwIQWOw79vKr4quXcevyPHkm0oZTucRduUYpsNT1/equj4eoUCM+mCooVhnhQzCqfy9b/LairrV/u47i7iUUMbg0codJJ+JfCrh4zuoJ+e0Cn8Ipso31FXbZMc88MFzMtG9a/7N0yyz9hWLICpcRrirndAm7T9b10tgB2XFjYzNksOJ1RR5bUeQw1/GFeGq6rUukmVyhsVhp8MeodC4R5HNUyLhnPAopwlhZKtkl48ySdsBJ6+YV519S+c0j//I6q7LZdpHcXeRpDnc3zvGb1usti6byc3PafjrY9SyAefSKSTPBEq2TSiQoYn6dihK2H4dAUbWAVDBfaoIPOexo6enUy+BESN/Tu7uUiZpD/6bwoeKVTjdBpB9LezCznJwkvnwNWKfa7Sp25rJ+H9zRPCzeAGO1O/tqmrgEXWvlFyIiZkQtdM2cYf7S7wjeKhPLiaXmT3bDPXsaQDnC+9kJX5R12XsrxUGh9cY83SpeUAU0XiEGVS+vvK0MBEdLFXHAZs78ey9MO7QApT/0ybpZlYQphlnPjZjsVp0d7aWXz6CJMIWEnq7ofACQDvNn6vMaYBIF7f1sACnpZx3I4EAcKyTQqO+CDfm1pxu5hKNXWnT8kEK3BW6SkW64J7ZTyUOaTTkK/TuuLPenRqiiBKzO6DCVwxvLAu36E7C/itioma/N3odd3Lg0UJQ3ZYOhOFMD2EmZfSjyByIY0j8Tst0/EsvNC93eobMrZX23aM9uJH4iq1hV4rdO4D++gfDOiiPGQQClhbnS4Fl3SAZKGgcdR0T2AFn69HwdOhit8gW78JCBd29MESynJs32+HHiSo2zGKhPlbmiaC3jRJ2/5t9zs/L0s7yYxVvJdPtaQqjh2nXuDbnr7B6gO1vrdll/BRxUntZYBjF5guklNHedVJFhpt63m55bywrlEOASmlJoTedWtjPA5+wN7nQhjBOvMILF6TFORwyNc4bS9jZWlVoVl2IkVawLrZ+Ez3PbcZ0aDhn0CFfZzbgz7HzV6XX8Z5wbn9KnNvCeNLx99Anfu+acYUiWL1W1fODUips94yB5JOorAIh3z0ZlNoGJJI6ww2Nv1FZW6tF/y68JiJnZfXf+O7b7GJaHjLVkHgv+M2SSjO+bsfqaqgzRhftddl7O4rPVQeEPFGtEeKPi9oFoEs/KM55cAorCTab76Zz7pxeDQ3f7a0tPmxrOLCM0Vt4R0yEmBIwiXTrUIdvFI2qhJxsPR/jKh+nKzrxcnH2Ul9m5yrZgyLhf2T/E0kH6JiRyYwwfxVGPG6u2xHDK6tZyHnq/qzg9deu7salbzpP9tS2clFsD/lurd6oBNNQPzBzQbu/X6QfZe369V7jwokLM7ifyGE9s9knfo07xdZNjsbxnW84n4a1//CF6PqVHNm7XERg0RaJXWjixuafxI3T4FSdmood4ky8hizSz+WXDZgNjF+S2X3X+6hFFMHOREHLl2b8CFL08rs7j/sSzygvJdXo5cKw98si+ie4DLLdmXLSaRg6AHALIZ9PPEVmDrENbole/oxXao19RvLNLGeSPv/cRVIn5RABozuN2RDOEmlwjC6dDGCcOWerTAW28EwGh5gdtn+f2RwynY56YeIjSgeqMfNLLT5inIXGj9Zt4+45U5HqLE2mRqxl59XlaFu1paWhLDw2Xfozi0fM80x1GwN7ORzuztNk1a1yFeLuljn9UfDaUDghiNOJjwWbgc7VSVf7z171JvAiwGhRo0tuS8Hn3Y8oCgCr0i3EJUAA68Si6HspCEcpYXii1UmeJ7xkivvb5iBfUqCkPG/ke6cHHfv0i0F/jFQCpiTKrTKRelohXF7XtETs8cF6gjUmOZIfgZf6y0vWapbTBV1rXgPH7HAEfw7V9DKXH2E1nyq/6mwBJDWezYPKaCbXUu5T3yXcOxmzvzLtWV6I7D/tuNM8Vw+GRpLy/gPg9jC+y+oanF6ZzVjCbAbHaeBsWbw9LVqI1UOgftULVMonMsZIm31T+zcSuHVLKv3M+3iuXvI18ZfkbfbJMkMbPEYIu4pacNARYnevTOYPx2N/ApBp8xRnwMZoYURt3qUpMllfq+sElasKFVZfQz2X6s0jeS3TFRWk9oXoJlEqAupFaa/+7r50QKT3wSSADFl5xuH0cy2+D+/COd6CdD3wJcXEqBkjP0gGOO2p3Jog3QJ1bq3CstZ7JSrtQwQGQkem5IGxIF5D9hbZwjqBxDNabwhzeJoyw75M+d+vmBI+eSaqQE2NJXOsiZNcIPNmM2IA73fJxuabCnDiKtZxpMm4GjS62z13LD8seQcR27jLmoLr7kXAJct4FeSr4kLoIu3dQKn7jzl4DD9ohZePkwHKjHhKapMuQEbeD0XbNyFq8zvVUBNcu0D/hgA/kvdGggKOylFXLKm5ryX9bjaTgkLIST5yF6T5RxPpzeLnmCJYf/MtgH3JzyguVnAL7vxak8cv2sAJwCy+rkP+VihbJS/YSQD1qKH/UsBkYH+VpixNWzgHOWTgR+ngQ0VI/E52eGiSf1VKvVx1yeOrwoigK4U/H7vw/HEMbzAGrLMVDpzLqFzZTo3xMO8SFBI32bDfmQgcwR63PDxyvKqfgtGMD1KIDmaMQ0szdrdg4XwJ0cLadQZNtJDLy5QbeSQsl6fXMgRjspcY2F61yhTO8Lu54Qbp/MTYZwzOfkDjMzeSjE6lYpCng+hsmfOEd/XUYkpDNsg1QNHFWli6IdY+2l79r7d8Ve4TbaUQuyJJgzrpvzcYxLQFKr32tmc0LJfvY9S455J/DTsBTig/7HGn04ejMNK48Q8xB1ph8dktZdUVkuzsDuVfuAmaDFODyjY9IoYqVf0+0JdJC0Xv9Nv0b/3QYFi+iUrLAXgUl5fXPqKHgXu1PK4bLNUTLMR2OjLSmkpYElkMv4SDftXhY8S1Ierkx+Zuf1P9ekgIxHOw1pTYf3Xk8cV2q10Z/E/dzCZDOiEUoTHv/pqr7NukbuRK8uCuqNswKMybRw7kpMWmFLWijjCTmSeXsyO5UieT/WjkkXSTN5NbWNr/AUX/T2gaipXRUjyOtwHf2phD+XNMd728vY+fTZ4MZxwAPxRE2vv2jJ15VirQUCqsPVMXWI1UibMp/un+r8wNaFDylAzzoXKx41qIw5MwdCmLBZgpM04RbhSvEFKzDD7ciAjfzdbtAOEvZ2yKxBryGN3SYCS9B/QslYa9kt7wst4j2kb2BIUgRR+phJAGM+pkqCI8+BCnWYncQOoaRuEAr2sEOU5di92CJdNt6WN7ys9SQZR6F4p82OFDiZjLxnEceVLEyd6rSiJNLvD0rOcaaur7OLv+ILccXyc9uN4Ug7+OdzuaHEy7zv2s9UXpzWblH+nOfKKAUR9Q82AyLBeCLNF/E5bO6gQfktmtcHz9kIByiYYv6/zwGF/36X2YqD9g13sMxXDNQdWsIMuxqwYa/i1AACrtKNrItWkP/yZRsdnfw4fSizUxQ9hC1kXiU9GGam/srFMKr3Jd4TLdwepJZr6WeObuPd/V5DsZ7n6xC/XRXhq0X2tFu32C1UUkuIJ+HPCsSnZF4OgMLCyMyCOcfmcPL46Hl861zAhn3X2QCGWqso3RthaPtexvOYJXJP94Gl/Nfd8d61R2n9jgrRyDie7z9yMTDagiPqFzNH1wyVdSGicgkEE3Qv6BZJzCLPL92Rwz+QXpBBtINiXC0hftpwFdAooixwvnvvR07VdsfLQJITS5Z+lpilV8WNsmG7YRqvWQIHDEMdHJodhUiJv3I5Y98v/WTUvSqnncHP/L+gQ5B3+pvNl/FIC7C9cEiaKc2h7nV0lfBZZKPr8mMqSISVaMACUGekcfyYdonUj6zDV+OwR5AG1McPXVcZWAoqIImu+qfI7ObBhjVxh6gDZxxQGhP3GXImVcibbFuIkZcxyrffbA/P3097YJbsEjh8Y20BzN5UkWXmJk2rp5o5D083g0sfQKwbEdMqifsU5kBiRyc2Szcy3A24baqalGfS+HODPfXn2MLb+9u86VrZf0flLjEOGff8p39QxqIjCM8cHaOJ7j4IL+kFVpXT28S5dBrCTUbHtQCr3UK/YftdUFHyLXVq1tXEFv2fg4Dcf27E6yQ/1lhQmPs8wDROXHam9MdVj7BXhySc/0X7GaGTT+LRw0l9y3NcQH2EVDxAtA4DtspP6De/3z/NPtcZ6FU2y/rDqq0VNi6OrLHFKmRZ7n6viF9Pw0ns6IUf+4YWvW3l3lzj2gOganCpMHpwVV1J7kXVe3Aa7F3Mnsu+nNdTnrGlul6sM+IQ5oW70FxelZYhytudHGC+QUtnid7IKcqzWSfkRywbRpi0YKMUEmMeDDqhOTRxtlGLAgBxIqwCpVYQIKgdDW3smncYahDcIoUNfZtv9rc4u+NAY1+ZiSqCft3vH5fKQ80f2vJuk2VOwT0EIAWJkhyW1FjLSfy9TFrOLfHuC3A+S5Dsm0h1j+qh374WzWUpHkD7lVlvnI/YOkM9jWTe+W806USXXNccFtN6Bc9aJLwXiiafFQeH7BJnyBODi6hfq52vVw/QzE2Id6K9a6Skma8B4LIbK2JECuJwoMEE2k7yEiJbinuf48xPgG4Gp1T4gAoSHEGa3ccp4d+YGAEkJ5WLluGXyACQ+1s7MKlH/eumR9L6AiCs4+T2A3hyjRMXR7YrR4l0KWEGfX+Uuj8ZST9yeruGxxpTCnTBOX1rXxXCpc2Kmv+FFxUk+umWPIJ8OFUmTpnzK3NNhdSFaceGgxq+g/SsEU3p1M1ekDR6ETrO4OwuVb26yhKFzgY4kDdzA1Jrw/tpbADIyzB5AdrJOhH0m0oLCpkDmxNrUS/4yMgjU6KrhHTuaS/WT5KXNDp3qr49T7EOOmbpfLcpdyaeumIL/ptb4Ve1fBjWyKqdg4/+AhWrbew6BGaPfVMWJTdHoEL5mVWGAXQ//791JDLfhKeUeaZA+V0jtFCiZGtwb909XfljFrk+2Shl4rZGW2J9Sqw3pPvfARk77dBTCUaSKTTQgGCVGDPdKznxZ9MJ/Zwis/Rf3Yw+kivPtvi+xRFIrQfG+eXp6CRNvI43GE2ZvPSBG5+HvKgeR+lAsIOke3GgGvZSHrWarMMy74XKQQFrosnQtjBYLU42Htv25272OG1awsVOG9o/56mugAowtaWtCL5gAC025YDto3HDoRk4fRVRf83Fo0zhj6qVXBETLNfLXLv1/tSY/WWwWOG6v1ff7by/yqf5SGrSvFNjLSXSUKuTcirOw3D+oIAYgG60Soe34B27v2Ie1/xJjQqCVYtI6FbYJPL8z919ISEskD+8G19ftOeYOwcHk1fR81OThWkJgqjrx/8fa5+VL+kgUsAFaUdQYTvnBkxNNVxw+01F/LJEBFhDkZWy3zQNHuXkmvnR/Sufc5GM9SplCCJ4OL9vBWs+tTfj6EOWUsMDH09Pjvw/fQCQRLlDbTpsyvkVN8q/h1gsMDUaUBI/qhHQpCcbcqrWMgcGu0DCmVvC5XLXt+Y8QWpw3PK3WNCvJCKU4aCqBZTtUJTjHQWxN83yOjW2Z+y2GWzBZyS87WDAhOn1orZ3C59LP3y5A0NiAKOILdf3dX6DOa4hin1qJsiv1mDOXaO5geiUVmOQPrvvS1Wh9zKuvNM6D0juIw+QNJ/3XYk46UOSl+zwQf1CsvIGYRRXh9nf9yn6cF/l5BhSbAKnqYv4CjUNAU9TzoJinO9y6nLzw+ZGfxF+RNgQlHnDwkgXenSHF9IcArBGNXhH2qcRLS42kPYbSLss2BAIjtxOLdmGrwwQfzUPn8x1qSZjHt0e1+UJYwzFJJK01Wj8jUK9ZJ4Jl9vM/YlywaC/pLvghnszPQKQ7eYIgwIXqCQrl3t55V+Dhy96cUB7NXXJenl107g9afT2yOwuGpZOXuRM+vchEBGN1vefSg9tUT8G3dWSXYzAgy9DPLyay6+sF+DpycVO0d0aEIW6J7u0NujHk3zbJx22xNv3KS7c3B7960Akh08MeJJnzxiX6NI4JRjXxPP+CyrcvdDEptKCQ9492YmG4nB3LHOSo8QkW6qa8ibLG9dyilIN73YBmFmPbzfei6upKm983/CV7/dDPkTEwj3PFV+lsHieW7nd4PhyDX7OUDZ0kIDLojpPfi8LGdNXf/06iv/DCRIrxpiv/VxcgmsNc3iTL9G1UJtCbNAOd1zGWJahtpcvWiXIQU1ZRuUYNC0zxuIby3XdiTkOF9c3ODHlMV7VTwTisLV8XqtpCcd/kkT87v7bwsLwh07+7knDot806UOKVovuwcoUsxYB0+gDx+Dtm9EmGttWMpJndruow/bQGLGp8P2u56MizYG9hPdLpi5e87z5rX3dzBeKhDdS0690CMFvGwG4IeOMmZ8+f0KIZ9TBR9tCsJYe8agtAmyXvy9xvHG5sQ+IK04bXtFVbw6hB1FbjG91ja1mWSOsORoU+q2V1XG63AB8w2QDBaHX2CGaDobXGP92VwYjlRB1DmcYw/w+q+GZSR1q9FTqsY1AShGT7ddpArIpfSTtRyioNFN/xXvSw2CWZRDbIKBcupLOq8DCJ7+mxlgRVmOEnx8rnRV4a9HTTyNXLqR3oE7lEaoZHHmupF8Bntfy3rIPBXCzElCNl53EZ4pyxUL5sGo9jCrRsVaXK5xVERTIWqqEpeS8sxSNH+Cr6M1Y6NmDtvz5a3jDJn/ndamJLNW5ecA5MrblQh+jozUs4sNxELV0DZQBYLfYZMm2j1JWU3QlIV+8knHBY8y06wmOTFR1cKcXyEuMFKQMNepwsBAT96zgLtxW6bPlm1arby0XLOkaKkPyQjdMIaj2I76UK0QCqbZgPPEzTiVGocl03CYUn7PdZTUXrsX8kmYzrkLPqsT1kEP2HQ0zQQ8/DWbMoC9ANx2jXmEAw5weszcNZcHmBvgpDEL9cWoqf8CwuNIjVyiEhldakViW/fyLGQbRTjjTtl6BKmXDG9kDdeR/ymJ3oYuYTqSq8P414ifl9fdoz8NHxfdQTyugCpdJQcWAgr4nwPMkBG2gGMzhVnzvZXCy10W4Bee8U1DFBH5A75QVGNCDgmQWOPBbZ9Cw4F1sKRHXSP+q48bXs395xl9Y7J1ObxlxMReua9LSBgPK0A4r9f3aHK1ZtbaSQrmMhzIj+TtzjaFImDGBFa5DJDXmlxlmhbXHYcW4ne9gWPSuSj1EgqHotaqdu4V4I+nH5SOK6N9xacwI72at9tPJkVpZkuBLj6i7tGUtBftGIlE6SmWVVIcTJml7iUCdBbR6u24QWa6HqJXCOaH7rYeKPKpDcgv5Q/NW66C2egI2ixuSjITTFITldb3K2/REpZKx0xGuxXQqvdIPnObaH6j/OulpywQf3P7EWJeCiTq7yFqNkCnmv817jTBfaPfDI2JwhmZTuC9nGZNutdj18sFRVhXEdpTM7/WEvGJpaOyIzsNcNFm1b0qPcfKRCv/ZpU0p2t42hvpxoIWwEM+rC1AY4X4S3V2gda9AaORZ2zZ/ZSLGnmnGhxoPHj8Js7lLZ8svbtiMFn+cTdxt750JfiOZhNHm+JzF14VIw1Eqpd1TbmQiaifckbJceJotMcEdIMMUtaAaT/TihTbGpD6IZGuq/ZEZCd+aSs4aZdcHHmQCmgMqvkMGLgX4UTUD4eNQb6jBehrlTKtXVgwjTN/FXbDCcPKzNdu2JVmOId0mr5zIO7KRIgvR3vZr3xPfv80QWMh1U6dTXqQaGEfCD5P4l9zQMm03K47cH2QMkO2z0H1k/0DLuP/Nq44e9+a1hcaYuzBic0CpK1qJ54kAGx/xD3naCwd86597zArEl4WzsxewKUkrm7GZ83Vbnm5xIFKVlj5IzIFbqNFVjwd5+gM70AF53OXXu+70baqxn+sY5xgfTD+1I+DkPoZq2z9dp6qLqra8ngMiknJnQMLEVjBEKItSfg10rk3/nhmruRQ0DjnkRuAvvPkMzF8AS36T35Z+Etzbda+O/cl2EYGRDHON6wcPyxhwo4NPkkLSB7/g29cnSVYor/tlmATuzYASVlz0IQKieWUJde8ZeqZ/lxM+X8M2cTHxs7Evt/p7AB6EbMwRpRFcD/zK7YEufsBbfKWO0dFRYgEo2R3OqxNwJb2Y8khLnDq1lkMNVPsuUCbFiNtut6gbpnJrwkhg1OCpmuq13xnBLxv20gnuwUS7rF2wTKxCSqPqPE2mCWmCuYsk3J7yjXnmCOuut0XsthTPPqDUCb2JDP+VTszPi5TEwi4BktsozX5MC65aSIOjSTm2ZrJdIE0IQeUMAWirLRugIHA62zwQGryS7NsWXDHTAaEtzrAZdXtGPcg3hPPCzNx+yKxHu7c/oHYJisOCJ8/n8RAEprBcEQ7tOyGo/qTLDEwfGH3xL5XmNpq4NdjNcq1Z9/27RwpJhoNfFvx/gVelJmeraaqVSxURx8WAU2pxNLL/dLw+AMpxBTwDEha2b8rSYSAQKlXd1avB1XhnYm3hXGw8Fni1ZkF4oAhKX1xd/VA0eYxYs4Qxk5xsnYDb/3or4pEiBsAhxoFUewDi6Alh95p+Dx62qI3+e7uJRYt2lGUNeJpqacxRPXC8rRFetuta9tnrGA4GQgBuzCk2Xrx58/gN5JPj2+aGCAVEZsY+4Va4BytdsUg5JWIEcdtB8QtUUj/RklGHyk1yLAnjiAh2Y70ipevcQ9T0AY0O7QIOCJLJx+dDt4AGF6X3ZyX+FgyE/CMf9jhQ/LX+goKRTrBWoOYpaCfzs4/Q6JtwX9OgaJLHdGTfZytRc9C5BEhBPSedkRCw5Q8G/5Zm3JZ+nYSK81k0Dc1TKcvBwEGKVCOu1S4KoTCnibU13WAO7Nx01h7yKOWUp3y20mWXl2ZImoSHO/4vCJe8iE523XoIDDTAPB9Yq4PBJ98LUIA3V2NabFXm8XLjhGFuQ218OvzZ3FS7zf5sUwsUM9mz5mxdcjDvMZMzjNTP7cTTM4G4sfjt4DqMW3SLZljlKe+wlXPNKgbjZb0yHKBALnrvwdHPiQ1Iu4ghwDkvQg16DoVP5Xst31FEqI1V4rFMzdE0/fERhwAYrrU0LfmOA2bCj6S7+9p32WUqF6rU+GNJ704cVoZ5UurFRr6paQOJ+h0Raijcb+Sfbj52LqsDglEg0ea/5mTMHcmQ3KzZY8CyulARfavd++7pUdp0fhdc98vL+ptcECwHuVr5OBydGXVlYwepJjj3ZKvl8tAsGPZyknEs0ibNloWduE6EdR5fqr0O0rUeiTIveSshXdEzfykjFKaA0gdoelsh8uuAd54nQp3ay1OzPGwrAk9ApKbnuO74YwqpBvT9xL+P86fGJCLwHvLmu3fWESY1Cfybx9hei57UF3MHMOA+RCPr9vHupLNELm72JWT7hzjBQJWl2odKmqYDhJVYvbVYIOoSGiv89mWombTnbnmhtw/3BAmA7cPltroCZ2koQgZDC92xfDwzSsyQVmFmCy5HJfLX5BZmKZir/9LoaWHyKE+WXfQGb2kEL/oNrhwoMY3ESqAEKEAeUDHdZymfl++ttZawS1eYqU/s3Mvop1CQrkjT4c74nDYJxMv64yR5OQByX/Gg1f/0sC8CHQMKGzWbDdDClZgapYVhq6JR+SXaIQnsaiW1FHXDBKlM+k4L0W6VlsN4ubMOk/R5mRYLZk/6lQC3fWx3Otcths2Xy3lEh1F24XTVkwgYfik+qfAgglqDjJ1FznDxlmNwKpDt1OKxZ5hLYWb+Qx/k1gzgm4e/Ln5uyvYWFJ71eI8h3OH8NyumoRnf8lw0AOnfqL9Rf4CA0slzaU3VfC/5Onc/ZzzWkTYm5RX5+7wA+a0z484l+1s3zTggriI5daIoE4a1Rtlx1dvBU1pFw/CAaDSHt5PhqkNcem/2W5UjCDaDxq9R8NJdbkbRUruvbaCarFwbkDLKE4oFrAAh/EAZj7gfcsg2/o09d0yR7ug+ue7BPN4QigKAuSlfxMvcDhiHGfM882RYmhW1RYjL/fLESzrtAAqudbi2eXmhuetVaXFmiDHfP9wkZqxSTO7Ax7A/i9QXfy7SgiWkxTfZhUAMPmnoaIbozZhA094g1wmdiL5ZvvKWJKnNB4x8UqvhtNa2wUTMp2e8qMvFrCFJyBkxH47eWg97LmKosnFJI6ICV8t9jceNYuGH3Q/i15XsGn8LlTrvRqNrWOZ3tX5weHkKWO0OI70qCAZxxCxUc5aAx5SfqM1VyNTB8+v5gfBx3EoPjaUnlYxmnr4eMz2Sgb/9pzYsNTBevwg60ohcUTA3jUgWTZbOHK1RYeeNAw8eWpTNd0T8WJAoAdIZqR2QqPO9t+tMgAZucxDb8FC1Zj2tkd2g0J17wWSS3cZ+JH87RP26Srg8DRcAjZM6lumHQy4zVZXQTtHUVelUrev4qCmRFUdOheSeSaVXDzwlaGdtVP3fWqSdU6KXjLfJV3fQ5NdN9qjSTTNyFpwOIJ66OAh2yed9ljS9J8u/MgPL1DFxHMqmedibiVNBkkMbCnYkGWmV9esMEH0TWWqS9qlcFcfk3wCK7dKsBRFazwXIB/8budxrsTzgkSJ76folX3Tpi1VkARBta4GT0ueMCCEXiwNATzArMl81awfrsSs874sKpk/VMVrulRKgILPi2mfv9jskSEVTO/h2hld+BB1kSF3FSouUgQnBZJm3ggMTcMpqm4etCIZFhFpr0mw1pSuUW6xKfXD3tOxwq2oBIDtQpknkVV33s961gOy2VA1xMqzdm51cOCbawboQZHZZ8N6ibTLUVB8/BY2v+uTYI/ijtFVchye+uOx3U4pqtMJLinktWbpbrDYEwMeExat6jJVnokOuLKRizDWHfw8FdVkGzIvhB/AkcYmFfhn+Y3ozBhuLXti8fqCKHOBhncUfbx36BEhLfCdubDBQMjP3puNu+HH9nQT32FjgdWcU5seopdIZseCezeesQiYhw23/e/DruGqFn0HdHzXgFvd7yWQ3INMYVq9M8wrxul5s4yRJ/L8yo4gJbRemTLGZbALsXhl28VlX11caiBbMHziL2KOZSO0ODg4lR251nYX+hDQW2GzRp7NU52nd0lDnMjTs/V3X1hILxnraddqG0Z9Ii+FZ+Yg8I3GcEE6X6p3cvZda25ieBjcLdYIzXhMqh72HXmlCXH37lokq22WoS6zZL8aj6+QnThilyCUDhiwHmQ4SrrrwErmUD7kPUd0foLSP9rAyrUOZ/89PGs3lZ1VxdyA0AT9FZbKxMYi628LEhB015F7INTkp1dAPLKQjxali5wcteOeS24xtOTI+T3OR5qzLxDvnJqens6Q+tZgkMKvJGmM0Hb221m/MbTshsF/923FiRicqdnf2oKwakfDKPsXFCx807/3EzIsTAy6Q9HRedZmFGIsVph6XAsCHaRc6hLVbH2JnV3XrFfi/0O/JlLBxj3VZX/+QfW7dJITylmPuZ5HQNJQr0VBmGT+P9M4pX07Qybr4Zz4EsOQq11mwslBfR6v6drnDh9EYvYWcf8p5bCPfH6Y6Qp10ePl0exqkPIWjsfvL3p6+LZ4MJwi0L3yL1kwiLmU9aCE+bpuiZYJcOiKHpK7txeYuU9WFwmQu1DoH6Irn6bsjJ/GExayOFy6IfcXYZkQXGT5iycbmhQ+7ktWurrbbk4ers+PoUYlvisKTlXFge2l/dEnK3iLFAv81nK9Khjo655H4ZZu6GSHJANHCKyZUs0G2Maj9R0Hr6JkZc91wnVL3UAvXHXuCnqSFBOOX/dnpaHiO10P1bNTr0LyAPv/kWRrhiwswb1EzzZDrNDu9oJadHCS/ImTsnZ3+NRhe1SCy+n7lqDsN7XVMi5A738TyaAu5CI7gWHCSb2DYGlbYfHoRajof7IzPdA83+Qt24o9e3Cgi0TJ3D78jmx22ZLH2AnU8VG0ZThFCBXtjpPpHMaKneHUt9/Zwoyg9bdiMJUq3lDHy83p2xUALlQYb/pTcj5xUPC4HBgnKfVP+A9wGvzDbNugri/U8AeSR5v6rvgHoQjyILQcK3vonCiQ8l83wCt33VKhIkKx4vvkUtcXlaGMX7WMc/bVfhLoffNvQ5t4hrzGca8WvvaDhKf/1JDr8a30VHLqag++oQmPD/aS4yJwLzUjoLDxII2MfCqP8yat5sH+VSTHjFBfcRhEvbJ59yzNRxTUo+BXZA3oUv1MhpiiunIeW1ozc0SIGfNAjmHQPOVEy4bEDg8ZhAdb5iO1fNzhQBjPE1OUGK5kHNwSXHtpXLWVdWaWvGq9qUzv7DOJgirHhlbGHSOJl5bke1rxThbXGmKhz7m5SMVVB11QSnkj7/mZzfiQejU0/kQdA7kxT2xQ3A3GLAjPspJqk5bO9UnVo71iQ9zGBw9VS/vwHvJqjfJ9VY++cvdshsrEzen2fNI1iFLW4HvPXr8FW8qRaTQbScQ+wGfttR/pq6/MO0b6O9kVhwx4FY6CRg4NzqEqw9XPTH1hAiuLiCF/nFPOKz274QA3t9SAnrfa9usPcHKYBc0cofaHRvF0K3Rik4WYq6qc1/DFyFuhXC1oWozMxIV6eLsUdGihczaD78onFdQst00DgX9XCZMtxqJuQlc6de2rMHEOkevdU0URNPr6VuBinD9PS6mtUSy6lmhfQKSQ4UXBUeEpQH2I6rPLxKzyMzB08GRTL3xDQGa7TQsZ6iaioY9I+l6KhenuV4i2GQRONnH6RZRq8hWGQdMGYHWsanLwZNlNZjyf3bBneXsUfWQOCxRhv5WhW1BOieiHZWy8P+HO7pJthu4HBvXVNTbTDLA9zEGA0tFs7qn5ni9TEEFqueC08calF6JYoYVAyqFr6eskChu++Bq7suJJ9yZmYytl1qDCpvN3EiQjq8SPHM18oYpqSv7crpVvLYoYAUUyzwWykncy01qHxUMy9oDjZclxhh/82QU6+B4x+d2F24e2LmaWdt4tH7TddaAujIFBGCzPIzgtutbwD0FpSXH20kQA0Ld4KssOArM3s3U4l0ZO7UWfFvIJ0Phk9faEoezfVTqStxhOXgptNsiHOKN9NJ8yz38kv5khIT8b8H+pMLuY0fOiwTbnC92l6tJNXUrm9DUOxewkFth7K4r/AX5m0yOorvF8pR79YPRK0XrLIKYoS+VKslaNwYbhEdNBvGC4J94i4NDZ+s0XIYlME5eqxhKTqd8gQ8C1Qz82BQC9iRtMM5rWfbJsKDeNeYhc8LwZSDrhYZni9/1uVy5lBhz6bUto7ezsOSp+XW0X0gywAP+c3Inf0yMFbaw44+An9Gx3oEgCOGA1W6tf+Yb1DfPxpkKcFrkhgQ9bKOKUhX1/ZQpk7Ao1B7Lq4Fdwe3QVGUC566Cucx8F0c9SkJCyYrClpKKGVqg6zBurAF/QAD5dFsK3JJRcrlFtqRdvCnTe0JHvDGFCMcabSgCF9SHHAXFKFvb/LAh5BcUhGBd4Egh3WQXmUR447m47GtvxJTygaDHDh+MrxHUGqY9qx/p/JBvA6L89n9orKKLK3SzFotAdB6bX0cNLInwpk2zb3+5hcIHOykEqRIdl75lCO/yzW18hhnSRvnhenG3D6lfXAdyXenvyrfa0cOBBt9UY/v51lIuxj3yeZ9/dex/+FV+AEOcgZxdOS0C1UVxO976w2crmIk/O+PqGNu8/TAEEdVYFESSr4ahb6CcRMlZRFLC84SQBscNv3Ea7tuuA0T2Lfebrzfa0thyL8jxJd/omIrOg0Wxurq5Kb+8uyxykZVfVHTLQlaCgh0wzXni7+9pEiAr9gS1ilbK1PhgU5r12D4hIQK9UT8HhmcmRl0tFON0PqiiX+ZXTcHmBGMwoGk/tZKndY6WVeSxz7iT4H/dDpuZydd/3NsTIqn/Hw0cOTRMy3iCZgtJMWkMQ88RIseKIk1gyeekLag4VEbXdlKL4z7+q7Z/AkgIHbj4e/U9qZFvGmZTi9To+KlnB6t/OvKtbdToo1jr53SOMYzvFbhgs0dt1iy+ciuasJMnonNNK54Q2xSgi5IkiXfyfnM1XlJmAFeYSMseWz/89r3F+vkR2YKF9em0JSD9o9fsmfjgAn9IKAwKnkSNUDWFAXO/m+ySFo1ffK8fKlIHvU9MkQo3/Dd3Lu3hAeP/hkOuQb9at86yP0Jh9/tfPeHziKXF6e9K+x68C4n4ZCcM89jcdhd2YIbSGkhnZfq88IM4Uo8VyXx74wjAWf/JdFZ6C99AI8aUeOFD50naRPzR0Ej2TvWrVFRaCxrV2k00VmBPLgH2fSI2bSS2Fs35w1s2WFgu2nXtpmn35YsvTuSCLaAOymvNOVBSp8YyFEWZaOe0zaflWPQ8ElfNlcNMi+yFI9jmDftVv0uFIlDloDYTVhTAt0z4mx7Xyw7MJu4TUlaijkpiM+Wd26SABzabRoQ5wuWcavwCjKE6m45oHQT+hfZQ+qYcnlvU0jxGruO4he37ArFcLPonMAlubSs8QdeFPXREj/Vwrfdlh/HCWi4EqSeZ1aaEXOtR6qFgHP9l6FU0wgkOrQBK1TZMV19LEafuq4wXFr3CNuCvBDaEKzRatY/8cMggiy7gT8Uh/wwhXb5J7xjb7b210tPyF8ivdzxSrLDNT7T5mRUYD0UyEH9bauOXQQGNTOWzSJMEBUXxwPTZOA2luwP1Ei98D4SAWwc0PydU0ZCXQYg0udjVol0vRTWcBAf1btwcVxaqsS0JUNwPDYNMHCl5P6hvikXcBZ3XKbY/SSYEMY4hFUDF2P8XQxcGuk05Xu3ivPt1PD6kryGDHX0xTNblLTE0Ga5Hbf4wEYJZcgXCh/n/OVSzfQOozuld2k5I/HnyYOFdUiH2XP6lr4Iwhj7qHkDre+MOu3Kldbso/huR0Yatqek6DQqMXq5w36ZMaNHbyqaWRISkpfynIf7nK6/X+8x2KbAHR8SE2MDfNml+Th2IwBIviUWQZ90tURAAsYs5nTPjoWXc8uyazu7rF6l5bNVFFd3TfBTXctunuX8VnYvM5aRwEjh7nXvZ/Z8oBO8TBJjQr9huPlfGgqt0vMzPerxxLgS8wcVIgnmskP0F9KuRC0wkeuHDTE4RVMvecughSts7PNKidbVroktEWp0mxhtky2RwZU1LCaYZkO0z9A/qQgkodtx1dwTb/ZMFC9u9JDtaIPrEFKHqfeWY3qiux9OSPu9jOMloH+GzDFx8PmYJYpP34nrDhv/G0nRcjfFsofg4OnfWiDvO9irS2bCTyEUE5BBHBcJs9pNj4DFlEO5uulHSW4WNCMjbqwN24gytjYMDN9tW48adgJJ8xaKXnBB0skG98xqLl7SWNUvvRG+a/pS5BG/NZ0m+HyE3VOiXDPxcrEuqhbVaGYbds9KTzejFdRR8o6vcJGPcZESFpZ0sTEDn8LSiMfZbV6WCmhFJXunzVt6o3AQ1mNmer4hNUYjTmHBzk8nsbCOXcTij9+KHUGuWNU+SvdWajvt+3AdFUI5vk5o/fgo/7LwmUat51Fpt3DXZLUpsuCxKJyO/ZxJUKjl/OQRXLofaMtka9de7XA75ijtbvYQ+y8cBt7ad5rmwCQ01hjUFvRPKtGjBnbroDc/O+9P/KsVRTWJ9OWmR5XtJuq9tI9ise7t67CQCDxKjOhsM4E87biYBGf03UVexxQk3zU5+GsXJOBS+cVKfh8lfQygRBanGwbHIxCXpoyc0C5W0R9Qg0v91SEx6hnyLybEGSZh9RQiyKPhGFF53LmvL+yX4Rst4/WkhVtXBkUg2VyGWj6V18+m45E6GowGyL08rmY5XPFIVzJ+ujlOaJp/Wu2BkWwl86yH9rugvd2P9NAmtyOwP8QoDhVf+Q+GtKheDX9sdMaxwYD0rD7y3cDrTyJZpyZ1b0liRm4eiWyrDbzRmGxqvkoh8fyOvW5rUgHu82V44FkZqkBgulJBAs0P1RzAEuShkKZGiS/MFPC9IW2PlFMx5n69KF6sPwID1KujWjGQxvDVPcoFLbFRCSn1vepZNvdNCIPwXYFrz69klY6SJrIz8OMxpw1ENLatA9hrGEi4ZY3EHk0hkeNU2lvwaG2BgjRse3+EckltbLK4eytm0wlX/hglvvn0LgqyMtOIAJ7LXdczr2x2XakuKKlpm4hgzEPkmB6qdFVD5QA3te9FhB2MNsxVhkyHtXKA2kWEZGRh7Xb+LmYOn6GYe/Qkg/WPYz5mwuODLj4XuLRzlOSKAeJUpUnFt9Eeuvjjetjug3+sYQc/fukJ6tpAzQSwmZNq4DQ/Mhx3+R8snQE1igZXPcUE+P3JbVc6ohCJ0i49Hf2MfhyjoCXTnXSgEsIJvXDu1eDFLD6h0AmzmCMco5asJmB8DPj9gUb56etrWiIwqKhwbK4+V2l0ZakRw7VTZYOXO9UnBw3//jojaoqvrKzWmVL63BDS/u39Ukmoex4XgkOjQfW+zGAWGfcyMnGCxkYVmvzCvMo35onMcTWc1G+TGv3Nqo+6f0qmHxgLVurN3T55naBM7xqya89ZXKaBiX6M50FscmXYxEnEiZ1EHuN6atYeEBNVJDhFPSNTFKzwBy4svvavNihp8vlbnhcqZzsJ29lxZdR6NkI+sXAzySWhkBT/QV14lVv0hlNaPPbVLZYHNPSNnfa9MeCv9wGcPRSvIYyWI/f7ZexGoTySeZLFMNZUFjRYu9/gHUCqpviPcTNioyxAeNkxee20tYaW2ZyEYMRM7y2+eVPkY2Af/T9MIRfi0EZjviF14IZifJYLPtxmdIjZg0jq0VRicoLKfcRdTlvA3x0Z9IEgWvZZSBiP1FPL3I5XHrU2c8oj0E8lFsl34ICNooQN//bN2nXElsPOo4UWqcgRYrqSMeu9D/7nLoKTSeg0fJBYZ3kZyGA3M7Tm9c5agySrIpkWtL5JzDN3ztXbaRx+zulKfNrD8BOUCsexrWEELUl4ZysYB5OUzfVBkI8NV0vGfe8USui+Crb528bzQ6bomqVTN/MYNTHfxmOgtMMR1Fuzvldbaii2VTjRT/+9gjGmGU8PN1WJ+esPCgtJ08tT2WAGX39KgQZg29gi4N57yM0CIbcZ3I3VeFr2jp6KuwUy4X9Fp4OoN24Ew3ckaZmjpjTets39/4ntQuliwVR2aAW8D73yfVGDMrfb4HGOuHLl/Xnpd9XE3ZZMmWrOdE4lPQaeBv7W41EPt3B9Q+OVNxK/OgYIEkypDrgQuyY4kuNh8ad2vR0WV9eJQj6zUDX3/AeP58RshvMMOailKEf86XAlZH4WHGbYnHE13eP33MsdQpbNFTaVvDC6fkbDQLCsDP8neJupNdWlsi4egq8o58prEbI67pOvqkvaecTynGjozQVW75Cki5gS77eqfLOokgIg9Rw//xTUtn/N7zMKJcNBqlrC+eWEk1Vva8f3lFnRXpNrg+i+6ZYmO5oV9OhPfOMVmFVcBxBS4gkrszAOCWN3x7I6GMrlEpu0Z/hCipFE7rBsOHyAewnJ+U3gGCW7GAz2fAFVJRW/RHv2uSME50qn7D3kvUZIMJCFc0VUN1hDHazF7Yc52aeiCbTOB2ab5V+m5/X8ZK3a5M9slqYjcNNMqtM2cn961H43Saq4KiSsxZp16btEomxWBEW6efwRMV/axZvxfY1GmVWHcYGGl9CFm5JI/gFnh/ETj4W5ArgkNyL5dz4xLuCqg0nPJA1KmAK9S4K+jsyzIW7+iXbci2+GRE1mhjEnJTrcsTotp4beONhW5DuGV8L5OxuwttpWfHBvilugOmchmcpsVx/Ai6Dr/e8A+5C5p+hQysQJQLI+laILfONYys3b0P49IEUjbCKS8J+TDnHbg6T4qJDMQezDRxTeOneuwZkNqw/HKX712M+YiI0k4YIpEodSYc4jIKdzHPNhJPBqEuMVDequBzYShWSeefSP5fu/CxpNFsVL6WvZSgzoUIp6a7sV/UigsS646kKfDE+nVMbViclGQye1Q1WgxenmuO/0i31yzEtNeynQBuMmlWt+CUH/WcSG4VcKdAGMgZ61mnkFmeLwk4Xdoiw0s9bKETT6y5Wp9yilfHVor3mRb4xD/qXbFXETMVET3uArgeCg4X+OaSvmaMJ2LA3UbMVjTemxxv9sVC20tPawbXryKtSNnMyNJgdIePqabz2oaIYCsRX8iy08vQ/TKUNIz3gMN/qndquEdPH7MuakbWGx1D/CuLBWnF8epqbJJLSmloVHzNzNldP3lJLM8m6+miloq+Vs3t/6lJbK9/D15KAv7EbX3kw+u1zAa6miG+J7Isr5jmY5PlXpDtzePomsm3uZbZ9nz/7ADvvY1V10EQi2esFjxTWfX0BdObWN5Syyo/q8HL5eOOYpUZAG+LoaHZR3um97EovmueOoy1dMqs1eSq8/j0ft8AwTDRyiO4mRIC0epirt6fez/h5W49CXox9fKe12btIo+nBrS4WOR2XTkpuxA2LF7mGPRQYBIG94oQwR1rsiY2w7umwGt5ChkplZJ0Z2hf4V4Xdpsek98aELvWLST34fDBFpOS7+y2jOgNWmOnPnUUHUtKNFzplZw+P88+d7Cw5QRTQSU1tX0jAB3tcURcGU7wHSVIRJw45fiNv/ZpZjY3nBdtWmSEIpYvCvd0eL+20jRKT2h+zJfIUq96g+sFQu/6C+GfjkimhMUgynDre0PdNSoAMhSxDdtIrF5rodP2e3Ho6olIRA/oNrFzo7I6aa3bYpNgpKkZrn2GkvUVUZ528pgcginSo3R0sFH5+MDq7S1UWdcPIKsSmlAfT2i7/nyGMbQQaR+Q/BDlCP9nIecFEcgHo3x9XK9kFHTIhQGB+2UrkSOc6ckqcZstZxagh2hGWXdoIlHUQLB7oViXTRBQhp795HI/jPvA85TQZoXWwFt1Ec6Ph6VD+EdzQNNFVgAXgECejoldNVL7qQjT7T41zpqap0I/ADHsMiD5NCBt5hoRxcy844KwGPiVHvaOUu0RTgscqzE5f8pHy9yF1yEvCM0cxWehXJUMwWas9ncmbX1dNrzDlZPHA+THB/WsmYTNVpo6EKXJ0+fdhN/shbNU9CkMXXRIgrb2zy+sYytjro3ODTa3ZA+R3tksdT/Sf1dJNKTTuvq1HSVXmXnwqaNjVdlms8DuKPnU6oKZ3JXNOU4bZX7KgE0mBzbPsF8zi5KPeV5XWqFNtkhZi9NsQhBIweQfwnF0bd/iwF8VkZJ+yIl7W1tLa3bsBs46UjXmBOtvBiYbEqikH7cpFmkRnq8jMU+tfS4lAOupLckOltHFF5557h+9XSZvII8ClnosSXGRyIiJFoHsdXHQCgMEeN+jrlWVWEaZle3B8BFSOPtlj2+nGdplI+Y99igoWH8AWyGsbew5x1OVRncbmfSDEnrAhnntwLqP5V7e8ZMgHCPlosg+kZfxubLYtAOqe78jVAHPMzLK6RC53vFqKxrcxDrXwe66NjfuO/5nR1IXlIdtd49gIvMwdKkekBMFEgod6vrnr1ElPkSqkvO24oMVN0eKaJ8gA2x2TLO3AQpkFGGJtAQPAmG8ZAT273nVgbNT2UInl5PUTTZX65Y3VoBBcRB+cewb+DCiPsjBcMbIy0d0uSdvObxTb7319uv/5UYOehjhg5xk5NnB+Zxm9bsjEtkro60I6oJQyGklJfyUAOxJBPuJ5DiwhXd4FayU8NbZ9C/c2eVYWm6D0Kqwz+tS8ILwl0ktSEbo1Xnlk40DTi/HvIs6iNSMMSShzHH1JoyU6d11T48H3elX8vUVhBLyxyl9udXrOeDfbrvpDRj88JNpFnj7kU5zGtVpX8og+mPoqcd4GH276KI9HBT6V0R5LZB3s2ZFl9nLgV/odkF+AlODhgvJ8QEHmrMt/ky/qYWARp2l6hcih1niMvbZr41KkvYn1xNyMWrg3clNWol353FBdJh2aqKLOpE35zgz+C1JWtC2pX504AY4gzHdosnXDC8DMBeVGQcgn36eVhb6Y4M7UUqUSAgZMJ5Zdioa08B6AFR37HwoLSQ/o6sjag00CA2F5QcTQQcgmbLtB0FS6W4xKc6QtabzMgF/vReQxSD8lrbHxhu3YJyEHfZ7gjPg2YbvpI7KNUxQYeYa24plMXEIuhNtYvfeTsesRUiYMAA/UHRiim4kGq11Ek6Cdpa+Ncm8LIQ0+yf48MVKIavPZ5K+75oCHEeotuj6bBCfre7ZNwTaGxAZMCd1dqDyND8eqyRSClaKaY9qo/izh2Yk+qDdthJuIEbASOeBL5MgN/pic9GbT2j6acF8ijqe8932xfXjZeVqBeb89jY3LF6xRaMB/TobVHTFqMHPNtVDoPhMx55IG5+NM3CS7fD7+NT9rtEDNh6eAfojzre2i5lhW3SKW+ABv0HS9+QbllE93qHTR3yKvRGmoTqbqBwU6+hgGkl9y2hOaZ6CG4ka8QS5++00bwqxJvQK80OZeU1jrYWrwpwgMsPH51vhWwAy+lZYQ2Y0EnVvfPYf1nPMbi2YNSAGpHMhJtyURMsPQ1rmXY2cyDK67sGbtOJzmmG7LRdniZbqRWcHX2kZRSsPaLysvF7RAO7r9cSwv3CU2LDisABHD7sc1hiofev5tR27nS1mXYyq6kkY4STAnbVvsS+tVXKab0quREWwjxkTcCDgmuiSha8oOAgcu7cd5QLRu2vOdinqEE46yXjVH2SOLic53XpcEo+rApzAK+oGkedpqordZ9RNiROzkCGXEW5QR2O8Kt7IDwZDg71TNBaUsBvaVEky3ey7gj2q+IHqEIx0kXfiE2qSytdI7Qq8XJdho9MsVmsf5oNDU1mMNMUJLoA9qgfczndXfvFUvjMhEGAEnfEpP9UBcolwLqY4c9+thDbg9RsjePnk0Yc+zJy6hqEKWcFh9k93qjIMXXgvcWOhavdmPndrtMeBNDro+0Wp/MlQH+KWVwM9V9wqFGJQhOwwITbuWNklivwXm9XhLyddbJ5gfN+i5v9+vIWgC4Itqlp4Q9g2zYdHQCdVavEtVqXFlfIdsOMMPiL+kEWMgtIYHPyJwbelbH2smE+73vO60QmdnLoKjHWn0TAmcWyE+a1cf4sCHtzHycBn1l8a8zM2tVX0rlYZiiLjjqhTw5dKBujAMt3BlHtxMlfkEZgpC43rk0r62ut5Zd6DBJECHhwF5PAsl5Wb9+Vb9qj1cWKtdpSBqHLPmmko9QtKpU367BIWJjl81l70fk5diDf8X7wftJx8j3/izOip1bbj/9pHhKg/X36xZG6cza6sXekyJDK33hMJimVGn17soceROoAmI2FVOAx1iL/YfVm/IBxbs3S8MAAytlOmwsGTIxgaMwyfbuaV71+gJSFBwUt9+KNZixp5uaiNdCs2NZHlfYPb9IfXE5MmEPGBPrU9ouN/YE12Ntcvm2mP1DlKH31w3/ut1bUGFtMrnER1f3JZ0z+Lbz1XCRTQotge2inFujBhqj3G+IoaySsGYcKJRHNFMaEh+ka6u4OXNkqsEgNAPPzHPv2qjcD/sXzZt0joyoI7wxlTDUrkecZ3WWldL+yN+Ydl6DHEIltZfjY4mykg2Y9pG00xycKeeeNob5SMrVKmr3Mo9KkJcDMD1V1JiFjcgxdJV6MKtzxc3Tdld122Ljg/YnPVjIDcC5eVCycsn9GxY4B2NVQK5ayWTDDAq3cDclD8Q8odo52zSEp6Qny/ZdKTaXGgf+rK7Uz5+PHaj/Qgxr3Ye/MqdHqp/8XznbPXVD0yDSuo4azlKOuVVlMIfKjVMvagwJhUb9sgP3FOuAFJC1+4DZKY27S2ipiDsuvi+gtDG2Qz16gvibxMwMA4kritn535xryeL34Ys3QKOYIly9AX+UGoJhZxMnbgf83D5uQiqYWPPb4NgjvRaaGQRxEYZflS5YY4L9bFll2/SErOgRh3gigSXrCtYLZa4WTtC0WHXHimi9jwanhVKHytQ74Us7LKwjo+bKuRtarUsvP48x1E5RguXtNc2k64QGdW7B4SsVAEtvlsc9pu7PScuQT262ZASFmc6Y54cuLnNL3lb1Bqc7VjRtCiGsf4oGJMGQVlOzbqh0jWWeMVsJGVHH3BcHtxSp11wuZKAHs71yeJLg8roDb2Kfy3vtCkZ2aAgKYXGr30DqadgvNe7/KQEVvs5RmygU4hAgaRhtMiDMkJXr5lo3wQTyFH6B8d/Uqhv7/8iFgJofwRRE1Th5kAGrUBIeKdlyLQZD79URyKPcgx8WXMqVHsmZqfNvmYXHqxJEEjW77Ip9EkdMiK9ODvtOA36sxhzaU5ksyfDgQVxBn/RbvA98oI1NyzTq0gtUi8KbAxKgPDL7iVMoV2aSI1XC+0N4c9coMKurbLoJg9vzJKNlHMmw6QSuSIJcWWVlsqOeO2knKYjRZFKJ5+7MwpvjQFrKZ+0IMgn6VToTxNL7b2EuhYUNj+az7MQQy/V78vsimbpXqxT4aZPsh+hk/mwrcZKyRpcczOlo3NGsLPVVCA2JtKsOfebH9D4jnbBTeWOCPQm0q/5+ibrSyZ565/lCaYSBg+Tw4RMP2FNhZKgoHhH65yQNu4Ug1AW6Vc+QIMr/w0TmXk1IFdAew7Q0qyRy2hc3+o0fYXfqK9FZff8bWnbbY5cBCcyjMklGUM6gBsCddg2HbwqCGlwM9Z7Gqb++stA1ts40OTC2p/JQ5f8msU8vySlei6UsDNMZHBNBGc8eOv3vyQbk7XzdGO8l0f6vwDbbZ8mFxRI/STsItsancADMajpHNU0y/hAOaSeIxL7GV7dlfN3msSF7T/+ilQH9jW5l+m7/H4u7qcmGU4s3gVl5AxQ9sjDXDPY/IGfU1XNTbrUtzrFe6q+a4AwxfKXZovSmCf0H/Ce4QiZ23DaxZcajx4gGzehEWLYIDSqi4/BLch9iUxGLDI6M0gmD//vnU2o+Sz7rUrq2RXUO1QwRGo1LSoFMhI5cwiavN5WbinRuEhhycHAZFLmb7vnlAzRpKF/zWfomOlF8W/U8VEZx3q+KSDsqY04mIFJ8ocK3rBXrQnfdGI9P2J/BM/j1x18C4MsqtaRQ3INVDw7OqbfjNQqs0FPW3A+ucbThV3KSG+t2Fo50XCCGNgkCa27YCCtwBZ20Uos8SjrSSgm5F8deQoYl/t7CQf4HdmCyRK4YtGc1cftyB0feThuBLdhz3AIWZC5v9wmpLTK5x4p/PS1BjmZy6D/NYsXT5WZEXHJT+eRL9/LcXheERtcZFvKd1y2xMv1nBe47fWBqy764o4sw7P5nnwbfrLZgfFFyhU22YjcTRQnPgaO46E3/mlsmxu9xsJkadTynI7KmOj0pF+7xDfPk1CMOqbuibsyxbzmIhVWpbaKhdMSkcwfaCyx+EY8HjPlxpR0XPlmQjno4JqKFfzk7g/3oN9S8mXbMucKkS6ZMHqUbY3gaSu0xOrUJubd5ceGDgKMfhxFt0lPZ+ta3R+wtIo7nMrz2dpTh/2PrG3lNYuIxgM71Vw/VQC5dBMb5lcTBxu1s8cMXQ1UKUZE3HxhkfdY+/Okzo1D8W+rDsaONIQ/Xw2LZQwjQTDf0ByD/EiQLhW0d50b3X9LxK9DPgacdr6bivc2wynLK0pd9bYTQE3MC84IxrwDvC9WYprFV+kP6gSB0oxxyY6gTx7GnC008qb4G38ixYqAXmFj3fV/FaeINva3mOWMjArcHDeKUbFRddfizpF6HoTbfATD+gkSlFN9pCRVIpHnIyto6Vn3jEN6DLvekBbdniQru201Qy0JK7I8sb8vVCC6/KEe4YSt6U5hNbKoabwq124DMeyFJLSIf2tYCuX8zYdYdKS+Ny7qZJSKj6/Iovq3F/xr/jmKKeykZDoIDuKtwlbPxcC9FtMULtDS9i++vW4k38kaYtnjEC2+QdyibNn3O+zhej50QPd3SCEFiObxY8aimXnharCuMKZNwcADRwfxT42YiXGXeivveiNNGIj+cCoqSpzfICiKmpILYN/F/3uNxQbBbrDP8NWC+AwgXuafNw06Be6k0tSKijbzmgz4fHZcrcMVo64jRjR8DjVMAW0L6v/Q/P6SaS9f28IM7wbK+Yjh/OCQA0p6JEIudwgJyxrLU3A65GZ0E3GqiL6CQe5BIC32lXbgZDfRMIJLwAP+XE25+aLhNI+Gq33UPtvILot4Qxn7axHl1K7hOQjHPVoXRlT3jpK2RCu8nGFdPe/Tkzj9FXzKqXJ8xN9pKb1wFTdXIGx2Zm5QuYx7Gxf5Zi+Ou9mMe8FY1Orp9w/ZqQGcqpn0/54iKZxpJqoGBZPxvZSiycSoi5grKdUtQXyM/ZHHl1K7G2xE/1GpPFF+BR05CdHumZwTonLNCxh9T9slTKH7UWqlhXwS4aJnrzdjr+4c1w+YU1o5AFkrOTTBlptA89+pJRT2R48+gB6msh6bj06df8vSsk06bxBVcwkmYBksO1MazSWzaOucdzEm8Uh6os8iBDSDeai017uVWbezq+C5ziPs/qQ44wUCHPlOt9dhtm4vOa4QE1LuJT/bIR96ySbqvpPByEHZ11OKQpuUwqxGzpbuQJBVqayhn7hqIW5FluqZrJnkHIRmr07wcAyWYat0aOyw8muGJvgAWM4+K0lSg1SVEz97NQg+0xOYLyYTfkL0YoEoiu40E6/2mOEO69W7i2itKxlokx7m8M2DwEQFTlSYsg7k1Lz91hiydgxp0YXKybKDfH0RNPzqgNOKMQMvtk73E3QWMH+SWOIKRxypLRyiea2p2r3aijqgjsrmYA38tfgC9zwpz6qW0E9+FiaxPAB4Kj6XTkDATE9NAwDflRjx9PLhOuVQYzZ8117lzovlNMYcCFEjbkiXsVdQCB08DtLPPWoxZVj9Ez3MqHViClG48yx4ds2v3D8enc4s6Get7vAnnA66EmT+2sa7Oa1MLLQ/X7UzEbFSDFDtUJQYhKz46fET4PJP68ubXMm9IjBdvWJUkrixj2NL/FKESS9xbzh4qYR9StMG0AGHQzjX0HxjmwkmoqlIynTWbbIwwp2ZIY1fw9EbNqiEQruY4wk2+lqpslzHh6ioTwNztuZR8cA+jtIvaUfCnVl3QLRTCoGG5OgTfwslJaP3AXWI8fOxvuxSzET7R/gMauefOkHxtpDlXYtvfHzV0YTTiWpOhkuymZRoVQzjpVRUj8ju7B0VcyMt5F0mNkYQ75dSHgIBq/SeUbO2DUyPqMzaO/I39iqi+BDWmk6nG1+MUseGT0eHV4RZLj89QnEnZ6hKT2LnHaH4jo/ljsIgrDkjuONssv7j8H6+680QFuDRVd6yuFzckfp+pL7lw+GiUsTuYWhvYRh3PHwii/Ty8M0kppL8qEndWW/xiytOerIMwdMOfmFxmMjEe9MeUaTtxzkSt35G4x9Rn7LJVQ8lhkYuV8TbjYnm/cl9TQ+jmP5Dv+/CfQDWagX/H+WoIQp6o/zkW+JOhDRQhn6JFW/RgODHNBeafJBxGf5ZXelxjH5sgUpou8KtNhTsoPssn0Ffe87/cOuL1P9r0CX09/x96B1ooHqZwuZggU5BXKkXBbzTBhmJQuv6gC/CGDmZKiAUrEX4R2aysUtHqYje7aXDAIHzkiTUR/KAo9Y7I7swqHCawSHiE3o/iM8JuJySHL90h2n2sYPm7kSVewJAvdE/vFGIvzi5dVRzcjEBNq+kKD7vTIKHCOIXXikJNffipSgifX9N5Uj0oPGYc41H43iwS7r6J4ae6AnysfWgw5ffZRQFv8P6rRNLHgv7+GUer/T1hQJ4qGzf+JBnp+Qi7i5oic2ZbSLXs9fnwPf6CvfRXqjAIQRdxg5o/gVVijq3KaoZkaP1xra21atkzjrtLbl1k01Wvy6Fr+mz+RzazbCWAhMFcLmDFcoBrwkwll7aUb1YXSZJX/mfxFa9vSPreyH9E+Yhk0CHEV/fuqYIq0theggboASjt/wGxUjItLzL9bohybxXMDOS8oVNM3hrIU2tM8oYnOWsmBC5zwbxhc+hyn/yo8D/invMBU2S/L0Y5JM6lsOdHGE2XCupVKfFzc+sMV+GfMQjoR2MWGs0vzcvGNJhFNXHIDC9A0wNMBvJKiMbjYYyzwlSNf1PCsVMDcfMGnW8ZcqLxFJWa9Br4iZhmjO7zPsxoVH3WiaJ9jzlYRVMwIUXxkLRHZHdm0taScG9g+MKKtnVwO8GzaJKjiHutuzcL7NPR5U6Xqe1oEq6FeCIHeyuZ2+vKaCoX3ale/638xqhZDtWplsx6YAESJnUj+Kxforsh5k4R9kKL1MZOtf5MsHctnAFFunHJkoB84aGx7Kmmr5aOAAhkxddPdjUa3x7eTpzJJdUPgVrj6+1Dsv109wlhEaWLdxo+iSZRxTFAN66W4RonQmE+wg7kuLCSEud68Mit6Qv1OjUela1Lld3kHh34YOyvstm7r5W0JJOJfZhhlzkfQXspOc4V+bl31cSMkfQi21ejCxz75IUldnVh9ZrWvyfD5HGvBROZF6nrh16DDLsGbYzqJ/b+VNxPZMJ1v2/NKkhkBT/VCnzqO3ml17hMdYSu0aSpzGpNCYghbJy3tA/ugElci1O6mjI9/k1wWWgc8cQ8ZedJDgN5LvgKgcCUWPiufrzdrXzd/Uo9wL9xurKfMSSlNTF8JgFgI1FcB5+m8h1jPKCXUdhuHzlaCPRFoSbaIpE3C0NIjEueh1NQDMzG+hdroapp3CrukE2I/IkpdCaeacQBqgyCcqxlpZkNOKXk23HpKkMBBiAm5luBIMU0Hpb+8uU+gRg5G7C8XgRR3jhOl8mo4o0AfxhxmDu8SE0PnOmkvTkpi9SSQJ2Acvoy9mH56xgvAlXBMUkaICmh0X5Oy3PLk0WaxMDQYnv7ruyun+Vmy/+M8h6UrFZud/7YtyINx2I0RRYZvV2VFBdy4PPsL9ZhcziCDSkqriaL8mtDlk6zbLKetRTul1AQUuzForno8/ygn3S7AUcGcaDoNy+95fcvxY45OsCvEhgO1In0gIkL4l9QzUaO8k3Ir2uiGQqFDquW2l3cwHNxKfetVV4aGzwaHg8jMtgPIYhDjK3aWFPw2x8DhkcTvTxPQ8ce6Lf34WKUram/wa7sPp0VUUoHqEC8O2gOir9SxIJItZzAj7RNN8xkPzurWD1kmFX/PypW5iCbxm9Tvcb5Gm0Hmsd880iNbDoPFdTv84Rap3QU4HAHWSXiNDxfREtO7C+jK6UxRzfFxbKfNzm5ZB32BB8zzTbIYKZDtuk6hoDQc5AwheayzXykp9H/OvQdKLN+O3dAUjzJs8LFhQDT/4q0K1URKuykgLNJs7luTmm+hlvLnm+AJIgfBbvnCR4miRBnGFOEWSy/QrR2aQRSkej/tvKtd9gVnRi2w0TGG9j5EsvJLZ1t01Enfp+n0AlXf+mbGrz8lyVPBBAGJ/mUAk3R9bjdrBjFYy80Oyjl46Lw2Kdt0dG3iTZVIqu1Sh+SOE0IKo09UUsiag1U+gR4Z4GgtmE4HmOzY7fb3lR2iYMqJXY9fYarCHyEh9b0QPUdi9l8uAeYYj4hlCVexG/Tra5vpORpnR2nfksCchEx14VspbYdpExp98m9fENUCuSTi5QJcMnVmD19Z68SyHBlgalIjdqXYqg6mx2q2twULQwbugMEQiSaVrN4SwcUnUZBPmasv75Hle4JapVufUSLDXQDHlEmeAwRMTeFtjgv92cmftE79/6jTRhaf4CSxPVPTpgEzZHPA9//Y7GEvaoRonF4VKASXzfViE8pr10DcpfGXXoVhbQAh111hw8PprbNMJSqJ8+adccEBjEKMcX1Kxq9DSvYH7mMhIoLJjzNB+XtWOgejCzoTOvx6h6EqEw2+LOis3YuD059RBafiuHg5bRJKtXhqcdbK9Y08aWxJNc8AEHikF7hK9+Z0jGlvS6uKHU3cfDVl3kJiUjG9onMW/RiCcaUgCMf8UfDcXrKaOcaEd/5MnhUuNk4tRJbvih4tnZslgwiU7QG/oKBi4swwFmwVJ+hFTMF0c+0oJIxRgBfh2yThpmFz80mMbQ783JbhTGpa/YiPE+P+cHPjuWrm+4y20f27x3v5DoUO44agkMskFqkTpDLTpiKE+EiXnAC3rosgztjAs5IbnBMru3PusLNEX6dcKCDW4vZ3DpGoC4c6VfYSu9i1lVnswIURrSz9PkiwbDAgjSQFFnvM9vGb2S8CXPpanfF7Ct6j4KMJ3z6bHLWvrn3MJIpif0rcRbLkC2B+FfpVM8myY86sqJOlgAVs0+yePpQ9wIYmdP7t0LXD0gI2H/j43ynFWj+GVtROufdqCJQtyjs/oit7J6FI9A7ezNgb6JFuNO2xa7fx4TXQZHTQiwNxvgilzeHtgWgHxPqTNB8inqvr2m0soBt4lzvfw9qb/1xH18bZ/X2T5nPHwmcuKFbQNIth5hHRgnCpVjmnIfh/rG/G9UsYHikft0J1bjXwHYDamwI+ypMm7p0NALyT2ciJ23XZnD2DjbWl7bTLgBYfp5aiZJco23KOTZNpM4SefrIiYj8YlooSsSByXn3553em0WhnN6gdIrmyNn5x5WC9GxaMIE+b6Tgj/XzIEB0N/jUWCYn0jYIfjwFCMfxS4fDMB3QwWXGh4COJeCpsbzSZgAGVowGGI7wmq8WDQ3XBTF7nexEcH7e1smxyG78IFJIi+vrny74ahnjxmjVFT80Y1mzk3u2/2Xida183DZe/NleDZtE20XqJakgaVFwR80UfWT1Jm9TlPTz5fKz/mXncmDJIeDbkj03cTYQz6L0Yv6Nkqs37TH5kqk8lVBjUrZ8jd+CTBLa6dukzzfMD/sPzmmLqlY65YszOGO9B0tlXnJaOqzJuDqPtqFglAmawZUHuC19DbJu6TfEbIucGZGkhDedhbuhHxjjXrV5fOr9jCLABCcc3wtDysvo2L3+SePFXrfw1wCapSsgAI/lWHXq6UyDSVHLljcB+RlWrWJdvOWsEhR2d2u8dSPofOrLvQ0ekEmcY/xd0eD7gUM4CqnJOI30ZTUBZow1eB2a64FO1HjTl/HGA6VvILO6eF9wpvSMdYIXc7KkS5T/RzgjGyHrjnvUZ3xhCecphXlB6pCUcS+wepbSXasP8yEJ5OtI843a7gJJoNQdynKyAWzSXt+ER2GTd2ne/WU78iOOEqOYbq2WWqYaiJUsSOmaU667NotB3F7IsRQG53Q8Z7gUrOz0/ZDMQLqJmHUpLCU+Q4JyJNc+tEWVjLnaQ3x7A+66/pPwPl5tKqsrt0PcgbS8db8cJUVXCuzItbxFxK8h4KWBIIzHzJ5vRRgI7Qq6S1rpWm2iHj2WAALtT96Fw+87pW1lj6x5WZcrq/ccJIGa3wdhy1pnEUzQjKbQHDSVixu1s8z0WsiIzT1Ov1WtzS1LXpLyitd/gWgCDcYMyIUnwoXnkhU5GtQ7uOFjrhfAcbqvDJtN2S0PmZp+ckISiv4HqBS9mUEJgkej6TO5EH1f2KssFL55C1Cn0X7DHoe/g3Oer1oH97dpYo1L9VB257vvcRb/ZRuN7z16kl3GLfgvn1GITVEBJ1t/PAjLXsRGxz1KBmM3hd4Fm00vvY+KLL3q4Oeg7LPVYIhx7OXQaIzH1CDcldoZjvcj0GflLZxduRPshDT1bFmsUAVOxNMC3ySWzvaxz4cjlGVUL7sVGQM3MAuD8PUFF8vnCKHwExdIKk5vkwYAO5y5PLGWa0aL50tA/qAXlnzhO5hcbbIx1OB8u/uK2JxvoSwJiCu6VIEkU/dVTaBk7n1/zPpGD12/LmtLMzc60dwrKJmpq12naIcYxswvMrTMAlhi1rh9Is54hejJYlNDX8QKempJPSqH/Zw8V3fmfWHD2OBNo3pjRapoQHeqzPqX6J7Cv76SoxZ2Dd5ItxAwcUVSBJ/68MWv+ykbOIqFjDV0ACxmTzZaEO+w+IovAwp5xv5gGCcfuIAAvo7I+t9lrTngFyyQCDgsMeUxwehOsi3rqAXULr9KvP/HrgIWNH+SjPGm/u1i7JfH51UJzMPPXW4r9TnF4nHlJtjMZ6779WzbEORZPDmlgiocWMb6gYhawqlvITXFboL2PUIl1sktgV192ChHi1F3CNA7OU/9jrnupKMrAlivl6Wgzb6tN2gNIeQw5VU53D6aokxtkbfn22AwT9WYiIDrsnN07iYuUGl37bFY+oaeCTEYYge34yinTjB65/z6Fu/AMa0xU9OprU1egejmFHkTUGvlztuj2YPAC2wFMNiY+VIQJWfsRcLqvDX4HGG6ILCwBvqkS05mUpPpo4tkT/718EFNn+sw7QdF+0DCa4LPUM9POX3xUSm/3kGgylQBgkWK9JBSvLtNTCZeY8C7P04yV/9BNnvfitHhbY3NTWYVDRXDcM1PVmzhnoJSh0AKhgEkz2wxnivqeLHQwTGcDVGMqHNgfxeAqXS3clboAbpLSxjZDnV++2/0aJQZFZwaYM1ghhzixk93MDE7N9HjwIWWu1NbSH2us0K20Xw3IZRiGZ77ncyiIYUOYrM85JQ/LGDdtg6lZRYgBsiWkkXjuqmmYDd5IUsrVnvKo55tApNDtleEz/Tm+eWr9EhWGkMsAg7Jp+IJHTTQn1FcdLwEKsQSyU75je5tZcfw/P/laVTIlrtGMNDPoyex3Li114gcjQWPTILbK03AorL8ScokgaW1ZvGYuTjjhhB1Msoih9TmL1XJIXVyshVZMgqs9BgD/iOY3MCqqP7dVsUEpxCrFvdtH3QhXi9jTskFbYMBs4hKniXJQXkQ7Bmx3IlMsLKa6Zp0Wq/i9T1fMHNqw7/2wE1gQjGQ3xPdPL65VdcWqgim9zMNposKA5SuRYKv6YJR4FHHFOaM7OE38z2laMuFNgP+7Oz2JUibatXFevoVxz+/3i4aPyIDOHLmpus4927yAxEV0Al3MWoXKDgnCEmhTgoIH1YDLSCAhHprr7adDp5LGZSMN1c427BAdFAupzk/xjPPJqgGLfHdGDJq2cxxrKlRhunvjZNowUbA74zjhyYVQVaHYeTcF4MOMpGyB0qARMkGAm/ByiaDrFZu84UmDJg44KgJvtOakOk2jSSfJS1+wDzNt4yn3GDEslxieam05KeNrLwu3jKnFaAEuHU92357CCTCEJYjiwEj6pc3c5QGCvyee963Po/mFeY+HkgeuCmXQzB6RpXAB4mGbWM1b8RcUPjw08C09xx7+9NGzhCA+qdQphX4P2Gi0s+VsuDNPh8LA3vOwzg4ZdQuR1S39LiAbqSKgspcLA4dScH1BQVFCm2en5IV7qIFlxBr8oZ7j2LTSb+qiTEa3526fzy+uZAmJh+O2ov+wAJbC3eLgrZdwm0jH2K0u9IY2O0GSrBsc5HGHmSfj0IzAhTwqVbLHvy/bUpujHthsxX/Jd/TrVEzilINbd9PyW3/5vSCM9z+PGdnQNb7wKzds1vMcohmfZKssOB2qE2PIsTr0nTFw5zuJzHC0d6SlUNHaXo0kb8QTur397rIfn7uZW1MpIC2LJsJAJ8UvLiqnEwDS/0CRx3N8h+MePBIm2EKli2En/CJQy4fdR6CQq7jgxwFki6cKDrLd9Yoy9xVN4x+l3KD0HAwArjkOJJWm+/VSGHE8c//GKn/VCzl0HrLQB3izBaf5SOlJtXBwfbEQmoscXdcdbSZuz50XHsMZVdlBmt5ronGkKKV67u0uwY1QJTlkwD70rw7StCZ4dR+6bHO7iZagYmIcngNplZx+YYXgpwALe/up7PsgU2AGalCuqRAE4bnygOvEN/At0CdYyGey4SY8Exa8KMibbqQ7bhL/WgMpZzFWbWJAKwjZR7J1hq++51yWTRYiA2jkp46hMjlUZDKTr8nsgJiZPM8sOO+KKHsjroqbqsenwrp7YfwPANGAQoiOItDC6eq8nbSd/5MPJL4GIgf4r6Zajn4iRPvQQ9INWeNShoQf8tOq3XWqAA4Ymm2p3YeFRl2DMvWttLOqjTjBntW8KeJ5+UzHM3/LEyZoVOuEvs5K2bd1SVVXkV6ZZcaoFR3QozT93ND+rbxGrb7NwyTCrn9P9cFSC5fWXQ1S3MoXi5Ovvrh2XURDIDcb3sYyQHHxorYPR4NyhmajRAe+evpSJOtPmT0RSpVoEtqANSTwBuVZBLZ+HDCutfu/Q6cKZp0V1XzMkqNyKMkwMGgSc+xkBC+IK6TLj5t7LLhHCluPDS2Ksgzedgr8M7yNq1q5tOomxZj2tMGPoloJk3Dffr+LGk65c3b9rWYYf+EVQDs6+t2cGiXw9X3hxg7wqyalr5DdHYvLO3bRRHCz+PjplBEgGLyIpvld3KrkwyrnbAVgG3FE2mRB/9NJtKaJls2g5+XqYuB28H2Nc4KFbmC5R0WlaXg4G61+Z+bSFxrTXQPWF76HkX09eMmZ3GBndizgnMgzWv3o/rmEdI+NqOawnJDYMVnCAed7Sh30KkSewQGzCCiSgTroBxxJVnrXfSiubUc6v/zaNgl81xf57tqVFlXkFIAJqeGlqPlTbVUeSjDaDNzTyxqjL1RAW/BKgcWu2yE737h93U3JF1KYIxt8DnKyAuZyvOrD4uLpTiv/GVuSriweA1QrWpgsr7tUS/xYH1J3fYIfAjEP5KLetI9b1HC2RRdiGdBPGwpU+U/S1S4cezAIC3Gn0HZ933jgF12S4URsY70xeyIJZHt9kaq3fwBvUUo3Ix9IFydhgAdM+OchAXxhtaHTDkaKMGTPiJbiXMY9tvc34crawlFC3cv/sdlU5veU11eAFHEBXyO7gSWhhNZcZ6+aaM6hMH+bC+s6clPP0jck/h2YPBiFII5MGNSRbpC4EuCh0Zi/v2+U1sYrcGMHTkw0MtV36QLxSLXoqDeKCyxSWk82RYUk0pGMfL2aHlJVoBHyBYXfNJbXRC4yWhuvAwOxbkXhJXhK5Iw7PuIznb/3OWICgF7Ckta/z5MQ3rHeXozDXJxBtusssniOefmIz0EOIFiNb26k6B8hHtwNUy6RzGFlBdSnJFGiQL7UL3Hpc0GZUzdLKKYusCNnV+bEj+6sp/FdRUQy3LeApUPGFVXW3h9+6g/VW/ojp9pBIdEHy2a57YeOUQMjNPHEzRDmZXLnIcNgeVHG69FAb16cUqDhU/4hMtkkp9jRD2tzPbxEm/8P/fyLl5NYlCbAUVRQYHQ9Z3yCkHD8Ua8GviXxykoFCi7kli3wXyyCWLrVI91BegFROGHxi1lS4pQEsYHbG24+YWNVMdLJ6C6HPh3/GEFAUiiWsVS9znAvvyw/MbEe17Q2XNV21xfBG+aYszlznEfiAAtv/ombLiXzHnmbB3xdX6khX8qlItCm9IdMUVA4uY7KZiErCYROLXRH6FsbDUOfMQ2R4rAvpmW6565n4/VXhMnHnWzacLj4LTtq3YYZMPXlCLlum9+J4RPgx2UZWgOeqcRRrDD1SmlX/UA7bLZ1uY97cLJSoup5mcPKfr5YFpA5plciCx6OIg6pKmQBJis2d7K2+g8LFInpnv3ByN72+yrgXYrxVpGrfM29ng821hcj7LBrKFWRzmHLOyIZQ0JtNflkqjKJRVyX9cM66RiJccSEIbqcOzfUss8VeNhtZ6DmRu17coWOpqaeE8zH8wGgrpfmHvqmYwHhjl8j9k2N6lcms1Ceh+Eoh8Ll9rsdF90gZMijPondaYMVom2NoXeh5wJ+AlFuGof9tiCiyo6qEQZAekY9SF8mvyt7gLHhGCoAgoR8tqqrtkW9K3inthD9UrEmcTCOe02MUd3f6xfw4QccjtBdknVGdODzMLPv7lMq7H++09JfJbFxWE+wJw15+NEGyoZjD5arH+aZfxfw8+wbFh6NT2xLpOaasr4TSQPUbK5u+ckhSjiwQHL6hUdIlO5wbGqY0e0bjpnZM9QPRnzfXoe2W5dVc1LCVjUGr22IYiXSCXbKnQEhMnD4lEPaSRIyhnPGDScyzHwgxiNaMEIysmiaj4piwVDxDW6hHAzU3jUe7OMGCJeJmUk+rHoHUz7NkBqbSerCMZQo9hHda6/VJxUDE6B9UzMcbsV/zc+WRIkzajp+CRcugniLW9qTIcLHadJN/3iKPDViiUbNy1Kcd8cqHlalp1CK3966eeIgATU/yPGEuDHazEJGvunJHFLWUwyk72cztG5B7Y5gkl+G3GWHTw5SqUEL5fmR3BbMcRUEJNVvknGVpa3mJTj9bXsmmtv+0CkDez71WyiynmIkVpuuoo8EWnRKROc7pehOOpEBq4VjpZ4A/mgR1bgiVBln4nJDa/0hHmh/dXPkJzvvgvYVJJSwbnaA/JzWRp2hqR5qn3KyaIIuIO1Vbdx06K1eNfzeixQJrKAengDMimBpURp2e6HwQioIfyexKm4NuT7OrGpbMn3FqJ4kpk2JKtJXr0PMCHozAAGJNT6lB29As5XDVeunlIndLDzyrXchdA2ZSZJNxjlUv5z8YhrLtXcmoVaA8oZk+yhNBL8+y1HcQspsit/E0JSQB4Yvx0gmC/e3ED2tPPzye6qA5kKoX7jY00Ma7rzkoSb6kFwq2N4jPlygluA935Y35HkprGcsyHUgp0/0xK5VoTbjCLlENAjo+QxI6tFo4ubDD8+jqsbiKIUtYRC5zRhKYpjgM4k+fqw2tYChPnxuBvOcnKkpXn2ojdbFQ0WcDm28TWJsG9MwMRZL3frL1FI4+4HMtip11+tFpz0Tt/VvMZEqBOveF+yTaChdKnKrcbHNDmUhZX4iiLob7qn5bQOjSclalgF6HsJyxgzWcpkCSrGQqXuXKIk3vrcg2yTAguicpJ61eNSXib5M/kqiZO3YJLhHU59jiwNNZbD3guMJFvr7r1Y5lNtxDVmR2gRJsK3HdlvfzuQGh8EvWN4djCC1wZDKycIUI7O1Xu58Q4AvzikeJhUC1BpgdVnzqlV8fAq81DQfUh8okAgBVUp3eCBZ30oRuRq6qD8X7qrI+SnGOHxNdcEXrMLzeze6FJocnwHIhpNOiuTeUdr4zYRhsnx3+jHhiwDOcxr/s4mfKphhdJ9I+94egUSvy262ZIugMUy8yutLDI+sNv+j9QX8ksxoCqo1vfFoo+Ij9aCKPob7Ey28WHjGyDoP82KkHrjvvl21qtVPGBP9fRG8kdc8sllLqMInaLdl2cv8KIxfHUbA7EZ3Iwq5R5ecpexeogOViS82PAcHtJiAj5zcrvciYaWfL6V6ZemjyKtPPWvL9iW/dJwEbGC3YKemU7LyBWec20UyhMfuViwsVv4ciHN385E3cLdUz3Cb1ycNIQq4iAhEIs34H2OzF5CPjLi0rRP6QXXe8SX0oYsF+UIneiQO3pZEIjVzO35ciIzMhPSFfHDnO8ahW4TOL4gtwMj+2JILdQCJxshPKEwCsrwuBRYZgHz2b7Y2yS7fOyWi3JBFG5sZil+NUuGu4qOAo26khNQCb5zoY9DCIn2W27Cu0oJ7/w5qI/Ee7OkEOhJKWLi8FQoQ4SVgbvkVGJ0eMNRpri53GB/CKSq/UAOvYjYG/EvLVdldOaJiwGX981dFu9QVLFy21r5XYySqq7p261y27DL+8ETNNsot4gqWbKxW3dMkFTly0y7TnUiLNqZ/PdFW1dTVD7EeOwFYXIVZeJ0d2Hqyl9aAAAoP9lhzM6keikVR637PYg1wdV5v6ncPoO51jZzmFIgwtedN5xo0XDe9SntXYMkclPJ3yBixK9E6QmPcYfJf3nbt1oWb2AdUkyXsDgXLrgNOksDnkG8i6xpaVj3ZdipKwMPQwvySzdgRQKCBRHwgGXsxQxmXtLGpDepaMgi7/7hNbOYB/y6hg5uDvx5v4eaNtcrUG29XSzX7gSVLTdS8uKzUqtifOct3XVi62Zcewau3cGOmlP8eTe4nvIzcv5nludzgCn01EKD+yvoGH4Bt9iwpiQlY9UO1G6cSdx8T9Bg1nOPqezH+gR/8DuQMS3qQskKO3ZQ8R/rzhxd449dkyNwqd6UDJDAD4HFfVeSqmgfORLywiLLgBelBnwnqMt2gRvGtQd/KrGow//5aua6eHMRUrXrUCzbaQ/ZAGGbpfcwoTbm7NGhbTyEGpxdPVOz5U0+nXDrBGUmtkNEEQwCL31P7e5oyVcG3QMqBvAxFMx8hu3vkbg7dvF+1oWz87JQgTu/4DLnj/EdBno00vm97vLsetZudPYJZABvdOsBbuyWeqfAhk5HjQrKqBfKfuEysRpMNxzgvTuKM39Ksy3iunmSClTfrStaUQiVmNSKC7e0UfCdiiilf6ORK59mq1J+l/kPSycR91OV39ihjvIy0WwIFopEVQo8WdHy5aHGUX+b60MzTL+1W33+VWW7WImeeBbhGca88uA8W8aCSA7wIHn9vXsHin9HvLrBoNAUxAR0rpzS889RL6uKkfKbADHsJRICVMgKiL9atDXFrNY90wxM2O8UoEm1t6U3eFChxqygR9g0wRAXdH4X/3fIiJCElQLujHUriMbm3ZWY+ooOchIpjPWbDf5ghdISazxae4DIvs5Yijtk+AW62GCnAHn9widnSa3xQyYnQLOkhUvT7pEOae7y+XTeMT4YgeEiHDa6a1WDipEplz+gLp4c675tDFO8hRHKDmTZCQDFi0k8Q3nNJZ2myaQtlT2HEtVPsTipux6hX4+J6915z/0RlxHal4SUrAf5xbOtmJG7VVjXDUckzXf4DQEl9cdE7xv/zXgexSG7tFN4xL+diyS3juHqg/NCw8g5nwLjojImxn+UdAHfbmGw0iNIDX5JFTa5de9NqpoShu8TuczbutOcL9WnEgc/Di6xCV8t4pX9FP4G2jvdpqfxctuRKItUd/Oayo0yiMGBu8lF4kJKZTVuQQbWxvCI3Wpp1nqIm+Vee4h6K1BS3WYejeva0KtjO/TA4GmdCmS1SBCbhjlBa5YV8MtEpN+KBCWNp5o/GB7TBqlxAtURkaPA5mk0DKFYDtVspgkSw7DEzM5jt3PY784Q1fGgjGupE3aLizuxGTmFq0Je2SeMoune1InjzY8h9xcIPlEfXAwmG12lvCCWc93R+Mmk6KuNguL2nQgOESw7gxCKxaSdG/UclCdwQL61UM4h2f6XgTkrgoxER4wYYbpO18sqAakx+027IkAfY4cTYwE9tEAzz8tQYpOLG6JpGJkZFXAS6WmFeqJCFXTHNhqA6+cuJe0tlcupDvrI1/EURYE6/0CTt4hqTstk1bgp2vs/R2TV5A42eFznNSHPKo9zFNun1vEEgVrZgxAA9YyfBUz85VpqB8zXYvHknYSFwWYAvID8azmHrXrXKhr8b+hw7SkQ+mJSnxYiqZxX097hQZ3P/vglHH3boqhaFEVhAmQn6Pzb3sUzt/4moJMkBLoJtHg+dYniuR1WtNrOhXcU0jeAlSj7bPLBEPkR/ajl5+KcEIn5oT1t+NA3I=" title="Mekko Graphics Chart">
            <a:extLst>
              <a:ext uri="{FF2B5EF4-FFF2-40B4-BE49-F238E27FC236}">
                <a16:creationId xmlns:a16="http://schemas.microsoft.com/office/drawing/2014/main" id="{CE0CF0A5-FDFD-4C95-99F8-720C12A801C0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501607" y="1941732"/>
            <a:ext cx="7953827" cy="2313940"/>
          </a:xfrm>
          <a:prstGeom prst="rect">
            <a:avLst/>
          </a:prstGeom>
          <a:blipFill>
            <a:blip r:embed="rId7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btfpLayoutConfig" hidden="1">
            <a:extLst>
              <a:ext uri="{FF2B5EF4-FFF2-40B4-BE49-F238E27FC236}">
                <a16:creationId xmlns:a16="http://schemas.microsoft.com/office/drawing/2014/main" id="{345A7BD8-9EBE-4DF9-9DEC-E5C0FAF35050}"/>
              </a:ext>
            </a:extLst>
          </p:cNvPr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213333096614618 columns_1_132213333096614618 </a:t>
            </a:r>
          </a:p>
        </p:txBody>
      </p:sp>
    </p:spTree>
    <p:extLst>
      <p:ext uri="{BB962C8B-B14F-4D97-AF65-F5344CB8AC3E}">
        <p14:creationId xmlns:p14="http://schemas.microsoft.com/office/powerpoint/2010/main" val="19353643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24659-97CE-4DBC-8A90-274D9084DE3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Autofit/>
          </a:bodyPr>
          <a:lstStyle/>
          <a:p>
            <a:r>
              <a:rPr lang="en-US" dirty="0"/>
              <a:t>3. Analyze Long-Term Change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F0B1848-BF22-4DC8-93E4-49DC5E04E32D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457200" y="1219200"/>
            <a:ext cx="8229600" cy="685800"/>
          </a:xfrm>
        </p:spPr>
        <p:txBody>
          <a:bodyPr>
            <a:normAutofit/>
          </a:bodyPr>
          <a:lstStyle/>
          <a:p>
            <a:r>
              <a:rPr lang="en-US" sz="1800" dirty="0"/>
              <a:t>Make comparisons between time periods and use bar comparison lines to highlight differences.</a:t>
            </a:r>
          </a:p>
        </p:txBody>
      </p:sp>
      <p:sp>
        <p:nvSpPr>
          <p:cNvPr id="9" name="Rectangle 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1h9D1Z5GDtPW+wuCTrU5cbsTyeRnoM7v2+KYfNB8pPDHY3/N/nQDLg73FVUjs5JX80ZEMdZ5aXYVE2SrM7ljDixtoKhF4R5tzsuuZUVsHAWdLKh7xm5uWG1f4TmokDB7NTYv/hKLbtlWHEDUK6hVwxy1YK/ZVMFsiXt2hcJBz38TzJSfxKkS7On0E+G69NwSOATQjyWk0joYwNzcQr+KO6UC7kbJKmYiuIx2yc8x3dbAmH2waFWKpziT6mJTg3SiGRdh3mnRL+w3KbAxEsUDjDVIDWsd0xy5Y0rg8Dw5YRZ9zbnHY1Lb60exjHggukKU7z7YR6Wt5+X5r+RD513sbj5XYtIAFBFXKe5pqybPQsWvL8ja+QenU5kfvYk25afgV5pBlXKAsLy5pfAPkNNn1XcfXQV1MZzq4iHvTSH/W35ICBtMrdJ0CE9pHE0XbLj/5jrUTJLi4b4PVB3yoVbDWrPtlQOiATuaI/n/KvZu/awsU2C5VOaHm/9f5nUDARsdE4JTwibRsk1yCx1F1TehoK+dMrFfm+fWRodZn464HpQ3yR3ekPj9huKIRtUq4n5DgfjZZXKNRRAARbFhRfJB8fXHu6UmUhPvsP4IHZTaA3o4jutqDpo7c1Pg6hFqsLSykBQlfqPSX2WmWWTBNVuImXPBjhEl2zV8CqKcknsnnyPLSU9rc2zbvTiwaQFOEvGbQQdnfJvlVk874TV0Q/YybIjrDSayvRlYqxazqPUPkUUep8EmyvNtK7uCFlTB+ux9639Pm7GRqDNBXCpgyNUZM2UwuSC5oS8JWE0vL4s8h3aZF7CgiOEcVXFpZHSn3Sl5bk5RdHVSXXXZI+z5v9icSMfJMy+gb5hQKbXOtbcCRu/6oXK1whfA8MxDdqRxqUO86j7ztKbLfoIefwOEgRU5jWURHAG0Kohd5tNs4iBmuaWT5Xungdc6m6RjrgIuWz3S8AfGPLFNocG0uxheUqUWs41JyDjsAPHibdjv6f3p8qXUHfhOf9Znj6WusAH2kImFeTM8dnl5ziNcN4fV+jXPJJaazYOy8KEAHoZP6YGiY19V/TjRfiKoTi8tFB1cHR1BxAIiWrhtw8CPYKqDznP6TPQX5p+zdFJcXomYQl2QSA57GKSVegCu2Cv3UHlwg3dfa6/LKUbymheUMxdnxX+BwyRtsg3isI0ltEimJSUEdWjzIzDYO6cxUc5pzrDntAM+2+PrxsLMVs8I1/QFVdWaFXb1G6E6M5Z/ejaAVGu4OwRyZws4AmFm3ffZ2upQzB+MyhxtjiJHuiUU3aDaCBjZGnRthRvocq3zt64x0vJ9p2Kl+QOVBkIiK8iwNDNkiLhFUSEw4X+vC4JJTvgMehGmOhmCk4Skd/cH+V/akmDdyPz5N7vqpHDApHVoBdzUtFTeeJdnHBvmfYQS0VAujx/8boRZjCjCPLeTBvL/tyQzSHwDXOI8gdlVbz+wdZxCSCfXYVHdhCjGxTSTsISaecoQJK2wgI4vXmBMQrF3FLyd0GMGNDIQg4KXGSvy7x1+Jr3g2qeI23KlU99/rPqXXrNIxJdnHWqD1MkBU+P5Dtgrp50Ijcr1JLQpe1J4XyRTnl26ahPYcbQwjku3BROcB7F7Og3GYoqrsdjU658crLVICnYHdwf7CEXLU0z7aKIEiPIW248OmsI/SLVTP2dYXFPi6GvkvYAeO0TBpobAyjL1j7AEo4UpsJ1+fIawLtGpdi4oQm35InOnwjqNs+4Fo7ME/1TWvvE5qJKXDrzma3/X7S4hCG7jTHvcidPT8yJUioZxL3ESHDqRKz+b4IjdtwBXN4dK3RANwGEnCmjsPSu/TN2h2dSQ6a+mPsWJWAEDl2F7x53Me4005XGrfuJgPnkw17DrJy3KZSSQ9wtoFGtps7plGda9aTsIBAUcnb29vjTCDxqActeV8qS4PVkZ1f/XV9fqaMK0/L1vMQBQH58ngZvrbYn47txpRTgipoTKmkxPqtSJCeEldef126Ul6ElCVUaSHR4UeXnFrDh++/QwUa+MInc+Mihb86iz/U/cvNwCCQYAakz81YYBd8IKpjdjPsDSvE0RuqXj29mb7k5ko8ZgHPpEzjrZTY02Bho5RUrOTCj3gm2CgRfwPwEAtOrB17FLyGd2HJ7AZsXoahnyhhaT94xPn0aL6y5q0ViMWtvqfMgj7IvcE8LdNmBzS4oMbuUBJpp0HGRj5WE3xO6Btb5liFl0nut7+CWUCfnfB6wODscz47fz2aSpQpHrpzjW9Nnvo4m6mk29NZxJ/dFWIBjsRAaDzHKRXwLsdpkXKRx8VcagftXrgNe6CN2wv5R1KOyBS3CuwIy8M/Pntfsq3DdOqcpTLz5UZwvZxreCw1SBYUUy6M5DKzcPyCltTs84uar4St8Bns32rD15qydYNw0sFK4nd7hIIGvCaurkI/LzQIbCahVlRROqJoy3/WcRriMIy3LA92lrL4g71IzRuC9IsqUI66fF21ff+an1TqWs6bu8e8mKzxqZ4cXX66BVZm1Y/X1mheTn8CCOFSWagQC2wn4pZ5921x/ESB6lOJv5j0aDa7MxtZXHLoih55o83LZrO/3hWp9oJ81j6g0DqeH1RsWombM1lG+yLBzuNHjhAFf8Qm+eeQl6f0j+VF5Z4JJ3IHrCuz5YF8HbjYUETx56Cw6nyTwClC6y87DaDBxNewCfBSN3BDSqvc5ChgXhMJOfRnGUuv5wJI/MqFWMdmv2cGdhQgOnC6owPlO+28jaM2bQ2RO3OSj9/h4ax1NQCbi7XXWBrA2H0fVxbBl4hVpqPAwRWpbaZLWZYYOVO5BPJtaIsE+thhCnYAkRH5GYiSz99OuQdtIB1jphZKQLzuS02AEyCN8g7CDxaCb7aeG2opxewgPYNygkUS/Iqws2sGzFR8irXAjzhv+7FP/LBJzboCf5dXi1CNfK3aOkbCbXMscay1oXhNvE6vPT5NdgIwIpNLqSok885VSiU/9JqAXlpQHPwUmI7GCXSXrs6mLEAPy3aEq1TLBPvqWWOy33VdHMNYhcjQJF+gbqpAc8zIEJp7Uu2PhY6dD/DpFyVaKx8ggW4ibBhupx3q6G8TlwhYq884+GpzZ9i9tf/WEjVr310LyZQXL6X0cjkqhT/rjSq3dVw2tvRLNo38ZRkIN6dF7hkv9Z7NBMInNxRRuF9+Fgvcbrc9KhudDH0gpwdXd+NEXaWVBU49L9dSQ5w4yrvhEsocw2WB9THuf1EfPNdB5qA1Nd1x788WL5R7JzNxBj7eGNtYyzFCIwCT+dfR2iggu/8NhoaFEuL7vmqK/tmR/sLy5RPJOtTvw9H7aBOihkJyiqKFoeE00R9plJ5xxySH5TPheHtXj0Ti/p3SxPD7npx+WUQjYQyyfYjruyihdGv0pl19DoSbnCnmC28A8NBRQMU21lBh3PKRkZ0/gs0IQAb5XDBvL+RyUD5LNTiSRtxcNxfGXfPwq4wM5bEutu2d6k+V/o1Y2MKEdhhP+Uz205vN5ZrAMlXqqhYNroURnpzKWMRtJkHPW8mXBkHkty/w/v2sddReVjPP8So/kQVjD0DJbzDbm3n5lCdyPnS4ezScrCQyGjz1q/Ff1R/u+anyWjGzO4scKejksTNqKkueYFU38IZFjE/gZBcf7irQp0nTL9wC9EQT2yiFqzYAW9S8yCEPSFbSMiJ18X8U6w3BlofYaCX+Ks0/Wqx8nHKmRLqudo0rslhebMO9pUKqwTjbtcpd4I3YPZnCcINtsqmdNJxYWfAuZra0DIj6NdZpghdN7/ua4InR1BhSlpfTvojFWfzYbSMhUXxZM0+7cU2N/4HHJIfUqWSbldmR9VwVJTa87ye3oeePu8jk/mn6B6Mn+JMJockW2ubkPBDl7lFHBsGWBSROxxDUnxjb6sDIFwrzFaOy+3OMlNYkhSn6KEN2tL8C5SSiCtO9ZgzdankhnLjHYv/VTN1gtMzzu11LTF01hCcnKoyVurFBMO6nIk+G7eklUdsSuj/u0ZdojgmsalCA12b38GIREU4zSSuAsT2QgLW4Gug64O0nTgz2/Sjv+OqucygFWbjoG8wMKVxAPMfm8I3ZP32ibsNermntn9klKf+qGJ6oiKb4l0cDODY3rrwN30lx6+ji4ZLNYFJja/dsXy3dE1OvRRz/n0AhQXvpPQT1t3DTcg0N3UL8UawNvZ2iol5WkyoEwSnQHfcIUYg7q0XtydANt0pErrZUGAm4k5oBdme6Zujr5Y7LFg95sSrKbrObLJK/j9rdC64/la42CoR1T3KnFIa0nkg5+eyfLIhdhY1NucD/GxUawxO9fMMVUX6FPZVcbl8v+au3r5zRRzi5j7XE/cNieHg73HIF6Fae6LFH2dKGQx2K7jknMukNDJwuSKmB3D3UHrpHaRghGdig3J3Pb+b4sOpJAcnhoW21JBjDfqfHOBQA58n035El0sBhKYt6OA1447XtEVc+SzXzGlfrRRTXJV828nsoX5ubh4HjfXuVyIIjdkWIi0TM78DAyyzM2Cy+r+Yt11uj1p+u5PyADSs9kApzkUEcmgJHaiX34lw3DAwq/eRrn7+rLmD1JUCaAoogNjkNmRdvz6KyXbShX4kpLSIDh22n6d4GssPDzz3xiQ53HBsfItMi67Q91qCFSYelELaIxF3K1LBQFQeOpnTX9/CYcEq9AMgMUHdldSrQunnIGZswpSACk1qdVfqkjfELl+F89KXOX96RPn0Q1r+wuKvdDdiSRb4klrY5D4PSvx7HjXkCjIA+7PpKTwqDsfOmqrTk+tFcCiRVqraH5zNJ3CNtM6htx1fghEK8rVQSJ3xXjPuVmNPxJ4kfMAk8YzDq7rUABlwDgB8fZi5t7BZq0MD43AVZnzEQZ16lPeiNulM9Q9jKVGMYdBYvYZbOCYC14a7zHpveL8IhA2tXekn0Fs/ziMPQqEMn7nFwDxEfcTY8N5klAQ2IXw70VwKjDc1pFkVMlX9esH7wcv5vORX1jgA8BMcCGBkRBHWb8QNl9VxyitTZQw//fSIXWCZjw/ka5uWACdj4noHiBmcT4QnYxmYOQ5Wz0QwrOaAVRaUhOUhRCh0GnjNZLYHqNd2nZtxbNFdBFECYhwDnDf/jR7rcnFc/WoJSeHDKGTQlIG7W51OmQq12aR2/YqOHEdOFk4zfkHkqsAGHq8/RslJaLn2ZcBNF/tdwiMAeZsn7U26/bLP8TfB5DSFsp8bqTs4Qay8VTMgWMIWn1fkOYzySVIuyC/nDrzoEzNozxSGRKEcdyaHcBid+h035GzSESsJsjPwn0hHlpe3hAg+IuBj6xzaPMSaHZQYnb0eZb9v/skOmJlacKXVafx/jv82hjzx1AUk+RPk+JfWGSVwcz0dNK3B+Km0rIt8zSbIq1jURYSsDUvCaarNsF24TZYxLnO6paQHnoPkfJKcUOAeovimuL3n7bU5MFhx9neUKxYri45ZS6LCEId9eJ91DOtFdBhG6lArcMwwmo1askUkmSRknzFsFf+om1nKKwkKdyLLekbrkzrs+kVJWgrSo+TmVkMzBl/KpEHDamIkH551rIyhtYHpP/C1lI4ByIdDVmfihu9xoJGip4lBAPaZPVxcC8QO4NQeXQPSanUv41sOUPglj3tMLf5xpyoWdYSKE/olc9uQf9nuKwsUabk9WGbru2TlpOAEY/QMig4ET1tg3rgPGJa4fpB5OMTBEs66WNKMJkOPxKWTaD+OsloSNgQ802RpTklBKEVgGB+B+bdXS5kEboaTgqsD6o27+ryyzsndxpRnWZ9WKPk33y/hOsHuJSlIJQAzC32iozf1vhIC/A9fKP0gERu1qrR57sAE8CGUqZPSdwI4m5mQtEBIp/HxMtbMJDKOWIn5SvujZg/HXXxjfxvLbFoGho+QL+xGWq3n0NK1YUBk92yHdjGjPB8IF8ccgZLqQ8LxtcKmXAWeHZk9Dzd+eRVD9T8em1pOg+5KIv74BFScMc11swjpxQGfF6UyQ9c8kzz+a1649K09H3g0qpu020d+3srBS1m9OF8sdoxfa5AlTN+3ZvE4op2n01rBfv00JGMH/PBv6g2YibmO/4Er8Ck5Ax4z54T52aMd+r3qQHtaPPLBA+9U2HkHGurYti0a5RE9zyFDB0q3rRtDKMu+DvpFHZXGgfbjZ6l1OZLxkpruoVdBHtuIpOHlXR+5qKvjRwEO0s709Z9/Nc5Pp+hZh561XLkFe8aeFrS/KcTIWc3+uP8gsXTQV1yK8ikfFUAuJApEs+W4TWw2GeAhavwhGhlZaxJmJlyp7BzMAHcZoNsy4rwDuDTvVbTHYiwphlXgdCDuR5EuFUwZFC9nH6iqaOmRBl15Xo43MBKPxww7otYcIGEitEUhRE7TktZzmmdFefHoX3CvH2QOW2jQgJrY4H96j0I3TAlUFCfItJPZyn/xbo9WnjTnK9FHf9EFweel3ZbNEiAzWBamKTDb64EaoDrOTDJHdUlOGFrN02W+V5TvBDO4sYNa/LWlMZZIIVUpyEf41v1XkpC24Gb/xHYL2PR90J98mGoVEgQ+T1jlO2c5Jo/pfa9K70WqNbZxqSJtVrsgdS96eqXDkXMjWfDYEMKIEZMACL3CTxBq2FQjjopgWmKZTAOuRVhzAgXro+dw/5YHCM4S6HS1u8mglMhvs/6vCnl1VRSMHw7Tx5DIAloMqqAqse8SNHKGlFLZ/L6d+SUfbK7euvlKe74JVaA6wj/edhYEx5EE7IhePoENi+OVS1eNY/XIrmG1f99cZr8Tj6W00q8hZjXyU2B6dXvURw+tZFRpmbpjfk0vC+FIM6Cls1v3cH8iqVJYO5kCCWz7HMiRLECJoEb2dBTJ9wm/ctW3V6TXF1lk8VMtbnxcJ6QJ+KtsnWaPkMmzkU4B4Bul4Q6pXcMO+5GslT3RG0Z8Z7Yqt4rnKgp/fgp3ZbqtRzN+RHXc0Nh3M3eQptda+WUpEugTbc4r5C3b6h/i+XDdB7fu98EDHf2exJ67BZL9ijS3lOACEEkQ7otM3bRsae77M8lghE/mbc2ROGTqXk4kN8zHjRWn7IyH/xoW+GL+t6NQBW1TL7XQU4vlPZd4D52MUnxyyiUjfFc5XEcBCPYKd57hkP4w13XKHe+zDWJuhV7nPhD0y8eQOmt8emGizgzBbPlOj3pXwaTKmqY7hOY6LtljNXopQDXaX4CNbkFW69TuyEnlHwmLN8f66XJnFICGip52hTuk0qwwzu5HHyt7XyVY0HyXO9el5fVSOW3ngytCDWYQq08nhqv9pV7I8lSRAeFwmaIMzocoZ+SV/Txi+BUWA2kBeKW+Trt1KpMv+dGAfdOsSVJsWr6aPpIqUdsx0JR0yEuB5bk2zUozFCK5bEOISEdmiFoRI/+btLkdIqXzw2a8uszngAP1pu+VpPGG1kj6bNqTe0BBrZhQG9zohjC6rWENKUWMZjCYF2cVE+yOYOJUjhymAOF6eyRoTUVTSzmQHDEaf9cYLmgel7+ywsQjJfSPh4Wa81sZHGeIIJni76kqNgeYDU9HGbWhcw2t6BcgjjzlIZUAmGzLOHJsj86VaGMpU1KcazkNIDdU5yThLtWnYoK4FuFtkGVXRaiYoTVOvffn1A4yqjp2mGHISbWMSS3n/1lem73jIQuiuZqTZmOXt9QJqxSw8+bflMY2GwKKttXujyTvamHoztWqJmLcuAjUQchb9w1D9mm5kLmxz1vL8f4CSBf1QrW4/s8Und44KU6bdZ88WkMsgtWeKXkJpA5Ha+3qmVXsFJOmuiHip23d1TSxDwY45AFS7T6Hs24vMtMwaSq5KrZZtB+7hW6SBWbPPGnQ/yeQwzbuG+cvLIm+JSjddRKYIpkwj/4EbC0Uc0ev0igQvpl01cNTBjjdtMNobs6amoDjBbsEPSfP8W4aXEiKyQqhmrovsFDiPxXcmAsOduAV52GK9qAEAWIOnweJ/pONxGYyzfjFYKQq7OApRUf2s6hTngxdzqp7SHNrvBZWftUHUYORfvt3JkrGgSpcrbU+IlbYShmvoZMfyDc62UYF1HE/5xVsQN1AjtxcSwQqn8ycaAoeDTv2X8gOj1+0FNnKM7+6qj6JXPwMMrKWcZ0pVNqH7ypnYI+wAiX4FHMz5IrhEkPw0ThVBUXxgpoN+tExtVedhYcugE6lZn8ZclIbOxaVL/9LTBh8j9+wcuaJj66TfXwnkdHXB4pddI8qJnt0loJgwS5fJaLsYJTPrBsNLTQuJZFfAfQQ1CUJQ73jGJCCIcbMrDlRv/MxDCuk8KBQTXAZoj22xYgPZ+W0ZAh2H/Pa6+Itb0yxBmhOSRAvLnl4uE3BywnwoPIvoY5xNS7oUA2nLuFAwxCzhnHH6X4fIh6gJRacFi32rg+vWoDgOCTi1AzZsspsnmJNjLHmIUt/Zf6ENkspy1gOM1jsUtGLlfiyb4SWiU79YnOki5vYswTkDezNmKI68NNPW+3KrixD/pQ/IjBnXpXR8gd3SPFR2LAo+711ek24VZciVDtyORCcpKLW3iokFUmlJ+L3U1jz0h99z1qkCR4oByrMXmIovT0WonnAmFGE6JMm9TaeRjMXcxiJP1gGZ7Rp+oDEP9nHqhGnIwJhKMPHF1qs36Ci5mY1yCouDKyzsiTvdOaqRWKGRR/7WKmWKA+4oq32DMG2e1zJgMU+cIx/3tA7hrOKyaNkPoTCql2uOkQmU53WhjXeNJ/Go+OyeuLpxWWfk73WwqE62HrfjnMTQzqV6KQyif5swuK5B6yqqenCL0lCvG2thKVMSjdoPlehXf8pd7zO6RbiJ6sdcaDxfcKxowpN0cy2J/YVHonPv9IWbnimhFf8OGoZrjR2FhgFvge2YnaocVhf0/B5LuFASsUJs2KbX9YOPeqYroDnZHSzOopWyWwP6Sk4Gpc431ook9KoDrTM8sS1Gbqj0J9ljN8hjAyuRgimDFImcVl+lDnbi+2CbWTmqaG9pEfHnNdzJbGwsIhlOv38k+TYa5OYsgRYm9CXjsvOAxc4B6xa5ddkcU+y7d20mCbp0yhLBDYu0Qzhzdz+9LoP0OzXxHY69Hdtx1AvSCO8Jf397rcVr/Z2b7GJNv4TzU9ZTm+2FBPd/F0PFdly9vJcy86xj/D0O20tkpLfntbYznNRDCWKGO2+cLQqCvYYEyuuORsD5iIg890jKGNBn7yL9rFLufYj0E7xLK3kYZZL/FFv/dB7S0V+icLvnrQCCAcAZQSCDbFiPWHp6jXMTyOyHNT8UQNkCyHNTtKMyPweDPFi8wiU6IGUK3f0rPlCkWmmfSj11vf33zzOnftPRrN4hXxRnH8tn3/Seh9E9ofssY8Rhk6xqaLlq0GqlMN/uxPn1kqA2ejiGb/1vrNBnesF0B+7O6UpAHxxWi59tsMSjnacFNQwBld8OZ4RK5VKZaP8tHt01OJUBhBXPFtuwVrXsCQjLgcxqrN8CnKzsN+fyK9G7mPjznrRTfLb5fMtOPVwA6yhFEez71NlYuhzPjgIhzro+MkDxzylX7qWB5bEy4XiqAXgLUato9+gALqEOXQvxTqp0pJUlW0WhOsg4jjOAq1KrXZqlHkLoKnIw1CsQ9vzgJJKcCQeo3qHcFDpii/MWlcliMcSpoARWnrSWOpLH+nptMik+ArxkPhYl0+7eUmbkCCi8M1aJxsZqUYldNLsfVxpkdZ7nkNKkS+4QVBQqrKnD30TzG2yOcCytlfi+7l16LztHwRBwq/4zlzlRup6tRS5NitaORs8vf5NOx5YTo2YMSLMymyDiBpqJKxOzrYLgFS4w0nX77Pdhm5G+IACJZ7kg2HSFqD3HJ0JSHnGSuGBPpyA5ZDRgzCRp0PpwVd6dyvi9KXRNoZQv+XUDSAQBULyT1Bd6YwzD/2Qols5s8Kin+LWgXCnijWIWIJSO/FbnH/G/6BD6CnXzPwoqj1XI9TB4V0/r3jCzdUfzQN+CqoaGQWcw0XhzrUO17w85YQftPQNrNTvoopqMPAYWjIB0rSR7Y8BzB9aOGxLvOFJO6XOGhkhSpylQFj8DDtYRL9z69K6hPes7JuA7gI22KW9A3mciHUhBp01als3LXIOOIZkR5L8OqPwYHrGK4hZ3llAWiCXjTMGrfYoiLVIhT2Hte2zUTBHHzbitfiX7CXvZqsf8obf4+e/eh0cFFyeE4doEy8/f9VvvH50ACLXqDWhxNy3bCL7dUOvNXSO3JLMQhrK2QtuT32zgNNZnV/7WC64dONsuItDIVDHh3aMR9A1uqlMiaf50O5+gQy6LHsJA4/idq+dkIjh3DmtOmiyoMwkHLpXNdDNk5XqR0hdT4BInyAvAFAWItWzpZiTFw6knzmq6VduZhm1SNHuJGpLOuocZagb0D/c479FEQgOP4W3ZAvuGIAn0CV0I2CJyF+I9oHTI9QwENscVhWDA4JoLwTOgRe5aYu1LHzF8XiGbHVGLGDViVm01igK3XWYxEk4nRnT4hS5ZiufhCBfiCKapbPPMYLazR3BHWSiFi3m5JPHdxrpvb5MN82wTK8oBqJwwcjXUlNg37R/R/itYDodrDrZiadDmlzpIfamQzVvZU90l0fl7zf2zvhB+s2Htdw2fS7WDTPattIhxkd4z9Pq2mrqGp6HhCTj31foPcw/s6dALH24k00g3RUZ4Bl0/dUI7HcgI61s5Eihw/hZiT5BB+DR1+n1K6ENuwssZjAZllV7EIS5LoIRGTb5ztkcHdhVIufoQqR/SrnPMIBBqgDhPZ6ov4t//hkIMs5hhPUqMefv9Hx2LqHpF/eHxdidPNjENJC0CRn9bv4CqMfEDk78gcpYcAEQAFYfos15cOKMFHAxnSB8Uzbw5iMvh9rgYT7ClZKAMnareFJ3aa3209aDAY7uJsu65oWHhrMnE8k2Jdp6C1h9a1TvSYykL7Gp6nmKOriu76NaQ6bbuoBCzCt7h28NrWXEZG817JzSGp3V3j7IotSI+ZFHxF0Nfu0o8WNleSDdniR32/Xx69uxJj8uVER9gyXr3kFnh6/jEodBOTCaimYQfvIlFdNrQX9XGkLevlolP9Jba9+eg5DhZKRvTSaIwm9dj3CJLmv9sLzuionfAjlfOB02hVYK12MXCdtyqLbu1mCZaKAeqgqZ6I+1KJbO3wulNDSlmzgiuxWE7kPwkGuJC1KHGnbz6bQQrcKCWKSJIzU6U0h3k2SLuINWcsFMGjfqXZTkw2lb9igT4/Xd3E/NAP3wGWwnnlmME+IX+cItfy2Aq40dHEoEXXlmjDnSC4EgToAvR1C4fSfbXGzgQe+nVlc+nwOz294clWsIvnuW6SwL/hj8K0KkQF9b5ufZdWV0UI3OTKi4LYlk59B2nRdpRdETVn0ih2UdNNWnXEwbA++BgSOxtI8RbuG7laDp+jy+U1nWTJOmCJic307+iD4Irosw1LEzHFbOj8lvOYkCp549yq+lSryXl1ArocsYpnXcV9zpmkZWCz0a4UXEAICrLQXFl21jcR7sWa4woHfjDWDfl2nJAXtdfLjXlW6AMX7EDoFYp7GN8yoymHw3ccx4BFtXyxRtjrpzwFMMibDiqcu/QVcDroWefu4pgA6JFnp/iylzbHRqszvpsZ8mh1peg29f5JgF8H0d7Gia7uYCs0uAAv9xkpPptlmJy8uJPBdpRqinGIV/TG0SGkmPambJLCPg+6iO1eTq2/CfXC8Cium0K7dn2aKxiU5YFpmhgmTm7crSZu5HobnUCA+bfllB9FnBsmlHCy8vnKOZWiOOHNmm6Rn9/rlybR+/L9WBS5PM3SWJCGVCzE6nG2CPGfuU1xndgDlW1IMup14L2dqsVJwfXFkaDcDE207GB0hkoM6kfhMj8YFwGD/iw9vEeaPjw2sSkMX9fNOaP+RvnPXHuNI4Ww8Dv0IkRiYLFqhPyAXYK7U1ACHs8NL/56LlsRaW5wBJmEwiEjNd/+J3lFfVBvyzduJQLrHbENK9qPGlSjgV5xBScg62Bx6g4d3jI6LFVIrwBjP2wl0F9kMPbgB9bidVMTqBIkGwUGruGDySk4DeSeJ/PxnErDikETIp60t8Gn0PrDstDZsMScL1sxLQnDRQ4jZAWnQ9W39X0MUc8b9BAjEc3nTdMVGcGQOPLCUIdXN/MUeyRcSZs2nmdeDiexKjKrV7MBkpxCIkhKHx7Suwq6UvjScyRmnXvbRNSb7AGPTFwtl4pqQaifuyRf0fFXCCfoLdmttzAzn5no8m9tmQlRmT55n9Hb/GbRl3rmm00izuB5mYqqE8fjsKqax74Rr23hnmgc63zBGJGm8oZtgSA6CI6DZpxvLYkHXWPYoXON6znY3dlNAjKL/x/6q2VFV/bngNtNWDDFJYy84x9qv0DC9QbJ0EcMcLNh99XBsv2EMvCRuMFdtt3Yqsr2v2NR2G1qbD9SauWKopzCk/mN8q9ls6vvowoVYA4Al2Q/3Il763iNWr08upqcMj5hOq5E0rx6pda6lr5aDRl01TvMzyA6vdDZYYXXduox8+XTVCGqpYqk29wmNP2CqCfRRykoDUy7+13a5A7IA/MBy4yRgfMQXXj2xvSgPQQGnquia6vnnD2E6CfzetWX+a40kpJYm2Sm8Nj1oUAcO7f7iKL06wiW4fmwEU29w9weGykbBKN44rDhmq+UwOITlh0LGaCLwBjT2zg6+lwIojxy35kwcHL+ShhgU/RUxV1SIbnoojJpLrdfOchjgLc7dsC77OlPkjA+FQq1SmlucaXDuriGNFv3IYx0F0D8VwTP0BtSSf5PhfnKMFMR4h+TrVBUQI2HUgMU5pajWN64Aa31gBgp6/7EkMBtfMI+2O6n9BN0yxaTWZgQ/khkfA85aNOJzmmUHPqlCpR2AdpKDB4UspP61Wqylc/PZTvk7OthOqNhapsjqoYxWRepgZz2HWWSwb5ynoxxL+grIBESj/yJwYZgz+awcU7cAHBSm51VWgA3H8/fkPJ+EMyEfdopr6d3A6/1TAn6IGM1jI6JVeEiRtPB6FT9/RwZ2EttAgVdXzs9rm0VTHyWVuNsu8hF7o/tWq23Pt31N2ae6JXkC8fj7GK9Vlvhisrcleo8/6OiTbMwetJD8QFEIPCydlMzVDwKcmLXcy1hDbHjVX+mUlrgWwZMnVi1iK1hfklCvMjhRQ8EcRHj3i8C+OCUHgzY0gxCfclidca9p/YCqhbMMk2rJreJpNis43iyoUrGMl7H4p32ma45WyY31kNaDi3Epz9mQUBWbf7YC1XzA76NycFB1hqUwNO3kOgxcBSUKENb/G7ZVyujmfAv8fiAjRzrduXzIvEOiyJaTuZYRb4e7ZIQD9cDWCxUQJcSQnMXt7gER9L84NbDCWJPRt+F/RS+wgmeDXhYji94qwlsHmzVXARu9zTOZtrIieRO+tFG9p9c7pRjvytLaxVSR6xh3e/wTeJwcQ5xJ77BywRUARh8gmbWByk7USyEYMCagJobPsyX5mJDNSocsh1cmpHB6iY0Tuq7K93yabEEoCM2fDjc5IbKBy0z+EIQ/M2mwR5Yfp3EXYXXfZsqRYFSFY3aRUuBVmSXvDYL9qM+n81zRZ778p1OF5HlRg9/FYQ7vKlYCVjIp6cWGpaDG1xqcw8KFmTRTVakGAxgb5UJ7keAlUTSL5G9Yrx2YrEPVGuwLY4m6b06VZfRNvscq/R3ieNKUy8H0ZrwXWGTRPhEIuWpLsRmiN2MRlamgS/CYrNgUrw5YfvijMAhrOm/PxHP1p/bGO2Fu2ikicTBxT0W6/L/fHNQihfUdvmnrwryiFAsDASx6p63/33zlkPACHeIyHCcQjdUcf5SpelQcynkp7MtB9/q1W8kQy5ZNqPsLlW8CQ3bS/a9mCX9WhyJMGCBS+z3RzEieUBnjnOgHr+ekMChN5oO4Cij6fweujYeIByMIRZg/gyl9zeGM+DbLEsdmiuQMjchaR/yav0Vhsx7U9OWAQpBk5mpaJ0yKtyF5TViYwS5NBCOVcfX/+p7Eo5HCLMDmuh83I+7mOSf5nl35DEezGEYUPRlfkq04pTgUow7fyc0K3Vqj6H5hjlv8WYiaeHvQCRwmpsioSe6aBqh61Q2Q28MqWMej19eohHUZwIM1C4MeBHZqo+SIr5mgQkmkWvLud5F77GjCYVlgEicyC6G8wsgvxrHHSYqB6f97e6RSs0i1u2NnZWm1NEMqLYVjgsJEi8PMth+XjfueqdJxJCrs25mcngr/Vz9ZLaZoz+VAkPVMpFQ7Ik6d8aPBBbgFXzNWuoDVEtk0u6HGK1wSsNn9192pqLwBI0L1dNgbm6lh/RNKL/8n671NwD+S7Z8PZeqLTox+e0pb3rlbAHd+KUVzmPJafRDQJ4qkr6t8SEfzUjJhksAvtYOisGiebn34AvMeDuu/InZfQOii1KcUSrLHuP/WeLFpeWlOCU3BMLT6OqHzaa73GIXCSMZwDQR/3xoZhBKEuLWgXOEVsnY7RK7Sg57fKcEit3/dxbm75v8lbpmJvtYiAPHJileeJaZwLlm0gr1N14MKi0ZLbn0KLUOnU5YTQuN28YISupoZAqXyRKg9PPzmgS119TApvh+Gkb6Ao2x2hVZsrMH+g6mUO1kH8VPEaDPnH8wNjvrwrgqT7bGpGKEbD1itbMUEVYkELV7ofVNFJNiukiCZsENnACTxFxF7x2T285MymXTWzu9uucArVjs5W8Y89JzYXnpPWd1tLaKAJSKOAiGIKbXnTpzfwvFGBlr4rfuNIRXm58Q3A3s9vli1WEWgo/vfy6pDJHq7L8jmOxSv7BJYdspmykN+k/AWaV59Yiy0RtnPKdUS5jWcYi+zMHXVB08IUe44VHfz//EEJ4fjQJlMrCTQiEZyZCy3jtoQIuT+6d9X0Jnrx1qGzAqWoe1yoh0nRXrpZWXIcrCnQ+uRHmfLyVSqBvlBH2TGDyw275IpH1eqwYbSuAjk4uDluLQiFazyruXXm7K2iwc5v98CzHczIttK8POqMY34Th0M+/u5gGBBM3B9M+sK70scuxnTFodbKFxafCP8dhqt/40aHf/1mLqUoB/ihufBEDS4YgB+Z81ETGPC0v8HbbitlEVaIgvRDHgEVbW/OLDbq19qW4zopNZ3dGZxYgYXkm9cBJttWtYCKEZvP3bI5VVxRDWb6Dkd3GE4hMJjs7lNlwIQRczszEwrVZ8TKbq3VCOK6vwdM8LqIehYdLvwW4uz09CJyYUjMYeQdGRSu7gyDLDt5hDm+KPumwTU1/nL9BcstgSc6uogF7XTtWpC3xlvFDcV83K4jOAg73TEAwpNqQfSr4sxoTsBYZD5MO0Xy+fzWp9luzvjjuU1Vq3xaVP1DofrLWGNGeoTIihB9frj156snJQ2RNXSU1kWRki6BOWPVvNEWRhPp9M+s6SZsqNXDUQjhIvwMto2qfVU16mMPLtUbJ+bUBTIu//T8f2rRHGst05eOSdp+ZAJeQZtoNfYXQxzM8fbfyryNO1htY4/YgzY93lCXroYt0NCrM8oDiclU7VHKh0hg08Lb4OMYEyeRitDLPE4lHNUl2ug0ug7vZe6LexFo5ZrLwE7NnGIE6w2rxbpbufFU8X4JiUebsktERkTDhKSWmVXyDAY1xmux2zV/tJw69RO3Ieca6hCfAASGCT0O6X4bcTFfhb/eCxtuNsX5tPWLEWSmAiTrjzCCnsnheM1upauIn9DIYd0dghYHWL8pJvRecQJ7n95rAjweNWx06CxgLnVW3nbTnGgSdR7Bpc9GQ0z8zkuiQN6Kjux8AAMdPMCS0oaw9IR3s0vKkv0gDn1mt+LwGMqRuMbHsZQl8Q+nVqDHqQ3NBm8qDcso75zg+ZhNA1YcvVrokocWPhwc75QdiW3bMO9su2+3Gzth73dJslScEcY23LAtmlFvkP49nKrpgiZuUIQHr2faXcAwKEyYj0TVaCQbA9y+zlWF7puABs5PwIjz1vPsXMLZN5mrluZCg1cbBLdCUu8HdcZ54XwdlL7xI7ZeLxqghkK8tM5dzZ3p1gcvhOgXuPJhmIYvI2PTTdu4lWyJOxZ7glkG25vDPtrqdxXXwbNcnEc9LKYQgDowi48Aord3BdpjkUNQIGQbVIgm41f/cOsJO9fyXO3hlvLLlQh8Dk40fm/migbM6hJSItkgL7XJ8ZJocgpGiwnZ0HcoTtck/fLpXwtkTS2dxwKMta4IgJAcELw2fQ5yWAMI/flkjhcfy0HguM+0pwUFOJlbfu1D3+4vk76CL8fQIMU+8Rit4XeOxdNDsIHJFu0mhs1t4xVX2dOgNhFpqCQNwskDmqTzflceQyogUJ3cc9HmQMFEtslDBPzEgIbn6uIZp37KMH/vYLjkOBM56uEO816U1UkgIt8pKTht0iz6h62+pOUBSDyOun1PRlj/HXaSMNpntYBAP4ydAcXS1vI/nYVGqSRuRxSsyf7FZ7mZiNYL+PGkm1TFssTw+iT85Tv354xCmRjdByRiW9uaAHQXprzCJNfe8OmslR5jDI86g+c5RB9DNim3xZQC2WI9zQpp/AV60Oa+1rc8QqRSErKXc5RofR302PW7uvFoG25roO472o8MT5LR3rT6tNGl72y2aSno7peqnzAslIWDQ8B9KS3aGeJRHtbxDpJMNSVdAIMuTUBD/58OREyMVLEhoNo3NBHcc7WdwE0BMjozHp/jELW4fDNybH9rATPamVzIhDXRRYrwDCPVjX/fzBzmktqQlrP1vx9g53vEozwPkMgXgJoik3z1xuC0eoonDvapQnSSWd2g0TUXGUFeE3QiiGyaKKLQXDkrPIEC5C4C8V2HSSH5QcAJNry5OpY06pwuhF5nbHN6+JsnyS/HMFSJASpJjnAluQECUOTdWsvRBDY2EvOKDlYBrqCE1KXg2KNe1rfI4Bc7HuERVIHmhNjUHqNWuUvnn2m9x5OBzgFO8mms9hQG7Mt1FLZqLKSerJyBQ/pvU1ArWpTiXj52cWsVrnv5eIvev4mjl5rG1ePD8Zztp5JMPcr+IFWd63rAWVqrXU50aqDRB5k2Yvedn6bXzWiuSAAJF7vtxrnx7yZDDmYWktpECsFW3+G7cYuVJMwfUhueEot9KetlccLCWSozwSRkxFmtlkes75nG0rugbDS7UGlGSkDWhwFfin46jLXUBhVKnM64rosuDDxUQRxUEVd/TfQCKPVZthHS1yEmR0iWQBpBEtDlenilVwS2LUDhlw/4B6gRtzUD6/8otHPPtfrHWsTlCiNd7hpyrdOG/GoxiMbeZjcUTFVbmU1aiP7G+H+kHPwOOxDK4irGJUWy/rlUYi86hVSv+XEzgZGQfhEfJhTNrR2t82g6FPIt3wf5WtN5SPwM0faMmc8iSlLbt6xM7elKrM4olR/DNXKK/xIZvzTU8S/OGuemtCYZMHJaHkGVzNxbAOVfsdd1SctA4pAM1U3QpEwrZx0qe2MOBzvm81dyG7+iZTHvzJczIfCjRRrRgs3cH1rZI/z09Ole7BXaJyFsCJDV9qPDwMGPKPG5F4r0lga/PsWelIebHCl49WE+jfPbt3zelDhuNu7CEefUYCWPrQkf8hrlIDyq96uO7m0mfBVjpR19xWZ1K9K8/YOo2qozlfFAthcVqX/gHLnFvRPaX3RKmD96lGv1P+EeUscE0Ri+yo6IKLEToWJCe9lJf1YJR+OcSEsoVqmnL3FaXcVso5tcLTSTx427Fpl1pmPL5mNkl3WTaOZUK5jm5HLEN7vkHatEoQbKjt+yrdCoXuJjiF7qJyRYejRLWZNo0Yt7ikG75WgMjbMMYZPK0YxsVS+czz7i9GpE2/0qYJdSwysXTQ9d5M0VnhDSOQm8kIr891TbYVZ2XUhz6uClWiq/uppE156qBaJKr7Tb9mlqu5XK2t+s9G53Eub87v4enjD4mXz/GEtaoeZuDUdY3YiZlrKRnM16Scdrc5cUE1emzdlh8ICxyC2VQ/H0MG1XRSNvJ3YQbcSBTCy0kKFLz0iRyQHrlHiYEvDo5qfTq/Cmr39t6cmv8t8lfVyuB0ACHm6hMhzs8ZTdYdxmXNP7joxWU+3x8wKPeFLHp5BwYmjpoJA11tL+qtv2qCbQVBK4w86TplDIjqITgg1f3HKXhYi15s5122cy9p9uFM1wpjsteSH+V7P4MAA/BsvcQaGtcusxkYnPrd3j+/JktCA+5pqmqw4zLk/nH7R76axOYUfA0flIhCw0Kv+WCVmOEO4Ja6eKy5N4SA3brXGV8b3fL85Xu9hquGFxsZv82OtJp+cLGIC1FfdYt/qs/GjSBGu9ga6HGpS4tCg/5pzKFDGVkm8orNDfKSq67SA8KVw2FgK0P1TNRJrFfxMtLnunf/RUaSxcy0u+pE8786mx/z8S5e2GEZf2iF36jMO/NenhYrAi4wwNtI4nH6/FCS/35jGNE2S1rBzxh6dLp7yvL00l1s0aXWRw3PZZ7iHIcIvKQqXXVjqryF08momNSbcuB3UXrozBA5pCSDmc5Qv4OC+LbsIk5KWcvqllGhf1UapbcQfpO2YLYf4wxEPKqL+icql6fBbE8DBVsNUtSBKE04MOT20BeiiKK4/0IvwTgCiy2dcCxtX/RV3EqQM7iQeUj4LxMUGBod5Npa3cC6aGZx+tid2O/UPHdGJaG1gey1WU+8gVw1B6QhbCVZLbpYueW7ewIP6DtUXtytO0Hh6ot0/F/lyoWiSdgJrp42aLcEjLRVEW3yHOILcHMThRyBgDLSGEhthGPtNgRece3IRYwwJMik/GjNCafEraVXA9cwdUAtZt1MnmLNhgWlUhK4ybjsfR+Cgj9eHyZfCqGUV+/eCxSld2ykjop2YF2Am3emjywQtFOfj/dWcbr7NnfDBFl5OPNsgeH74Vv1XeI4I4YuBinBZJIB6T1ssM9UA1QWLO2atUXOHZDtf52VU4M+5yAitAefN0r2/yu5JKd9r/wuYpptyknKEfwAl/ENMCK4rvxk78tm3MRPLO+yBnAwwznmtpBq64w8qpnrYLXpmfyFuhsgMU1M/wT6azfcUuWfXf4i1FhanW0rnovVCtdxJUlGPmAc6PQuSKnk7Kg+Gz2b9FGE1hP4e8qrGHKRhueSpWtUmI/mPMGqI796wsWL0Xte7G31ZFQHcGpIqPkYyDS72iF8WPdp+Wf39KwZV0Hz3sIO0bhlyrtxmpYavqIXIsCSp9U8NksG9Qmu4P+4aZR9Ny50DuE5QxUCOQuJYLtQSTyYeHNIUlBEcVMp30H6tYSGsL4lNN1/ipED8OxCUF3cKNVdUse+MGH9se5CvZ/8dWXrOBQ/Ozs0Wx6NK/zVB6xpXcf5mMOjXveNu4n5SwqV7PStbkl3t2MGVF4yrpTq91Dj1HBcS1Mk1u08zd4+P0ooFfeKOLk/zAwu3sHpXLqlrKXxeXNLyoSy1cW0qDxP/BQwzm4PLksfv02r8uI0L9qfnpgz2Jls0TGqcA8qNOMYVZjszgtKF2WYKR4Gl+C7cXffxjJaz7BVyG251UiqrXZArAt9cUr7bkDqvirXiJrhPuERvjjavG96EIxtKZYcpYCi4MDzvtj4O1XvMQGYzRPDzjHoMFxUH3mx1Leh2hdsaMWuAcPKbiKoWYt8dYgBeOeKvo5p+PFh98fo15HABFL0HKFCAzyTjuV/rVc/03NzRdljXlAfECFgY1o4HB5wXbHnPmiW2W76JWmqT/hF6meKXZPoNLwVTmHWpHyYS30k9K7Y9HgWmrub+SackLZPN3uB5+JhH7TidPSArKkYqM6gpWAJGWtsPxHNE9jCa1Aa4hlCoErWgovhnXQbLUL49lpL1Vmjvo79OoYC6sfyqRrjRq3c8K5nFihSfjZ/AlsfmaMMJMBx2ELOzvTBKesHwJzmGtpTQ7qjuqnYW8jLyYiIn1VcuDq7VGiQ5LWkhOUg/EnHYq1YiNkQ9y2JBGXEkjcewqPIFAdSM2PwsO0iu+E4gro/nDb8O9pVkX/VBDcRrLSAxsK/pRgRFl6pZGx/L96TQfOEKZUG4Z9Z84CoFaDenuPLF+c6ikhV6L86nM+ghKVJ7gBVpEKp4BBi2cb/nZgq+lWI2hm8dTZ811KKIqnCJTtiH+h+xq3SrND7Rb5gqfP3wM768XflAs4gDwYeSbowyVSAYFJOkBhJu2oOQusbw2KK9s3YJ3y0OvBL6UGs6lPmbIa1e7ZZ8bXwXTVNEWX5LBug6z3lwhNBaseW0qmmaiiOr0E10YmVDM6PZsk0PQGbkt4dlwWGkPatBlHK7uEruWml5XH3hXUDDXa8r/vu0qzOmjN08kbcX2N+sdmA7AnYHQs4vqDIKoGvyhxDlBuskbyuENHJTi9/G1ci8tsJVK6XKjZWYYb+5jpPahggBmCWbZCxhOeJ9JLJn1sMXhXp2FCyJiNxndM3SWexOBI4MLusB3T46inZ3YlEM1iYGwP2zrsDO1Yr5N/uErD8tLGnv5kTZExNuZJt40rA/6nSya9RSLcAkwKIgWRT4tYoFtHaR50pHfW3kmHCn/SrVHDwnrIQvwoBXxVAuCcUouEny6VXe7nCzSZIX0dKSZmHQm3l/UQYkyEDs6MOQpK8L8QgTWlG2/yG/sEobHOxV6YQGUl6DK4GxxZ0fpQ+y7ovY2e1Mj1xf1eCtJC/UhOvOGIa83ixEavrLvLx0HN3zQgOr63hQyJyEws7Jg5PULMbjSSqJnow7uvxLmqr2q6Q+LdTRus2XGy/9hFnOHVwpcshEmB645hSi/U/jyZUXI+z7DFBLuplWsXCCoBVkq5bYjuRmwj6LvFgq810TMYV6uHMlq0mxQDtCOn5CfK8AQN2qcp4rcMYlFv0aV9jccVFC6r+a59tnsBIBDmHlGQac4jkM40h6z0Rb4xgFLAYiM/Ywq2cAyjEsnt7hYvaJJAjSttqSnlixngG4/4y6TE/0yYdy205DuZM638yPXuHGg3sEzdfxfycqVPj1EvGJS3D/nyhSZVdGVNp89dvXkEDWjQHs47cnoXXE0Bci4HQ07tQazilex2mQNofelz/Lli8XcQAWeVW8BiHu34rFoQU5lU8DC9Js6BuDxi78hDFRRwXOyrOX+NT9HybF7LT6Ze1x06I2SPPeR5LjxNeoQeuMtdxfQcCSvtT54fcgvEBKfnXIHo2GKN673tN+tBlei1j7IaSP8pxzEKyXCctJUGIgrKQu7uRmwHZuImsWGQnTLk5lRcWHPRAAJ9HZ/SFcItlotSJ0ePxPVGJ2jxmkyoZC7JT16O0jRb42fsPphbV6085YhLKOf6Ltbl30Kf6gO0oNwR4/uHUP++X3XN4UzjaM3MFwzQfBENnCEX2JFiziDeby7Oezgtoo4VG55VGP2SmFdNU8Q2ByF+4WIuPfr0Qdmpu++fOK2iSpgto/UbwSM1E3lPvQ225V+Peonuk+2/VvVEhBzgr4i9HP3mFOeRBgMEchUStonSPGcnnBmLI+Ti1W+lsAIVoORjD8Qj55KgPHS6es1vPoh8bhrc+J8FhjGGikFNb/FJPnAtmyPn+Qv2+HgGIMuA85/GlEFe9KfOvEF87KeHjh2onICaJnWzHO2q64rvIzNWvzg86DHosZ6LCNc+7ppN7KzzcxwIV3wE+/3tIEGQCeLsJzgefoanBz3JdOqlxRiKc7XMhvXq21gT2LZOCdBrHawD+d++bkzwHBucDL01KtWI2ARJUm30Axf2yktRIXkKJItf1uG5utfA4EgDu5chEDm3OQTD7W016B6NK7as1ZmWT0FwyXpOw3K9HGUxN3P3czclXgBcWn1/lAalw/7AbbN3+XJ4G5gKA9gBVlTSIbk/LHyE/k5ElVGek6PU7p50Dq/wUNWrbLjjFU+8yv3a5qerIkSSlLK/EDs6ZPVvlTB/vO7LzGgFuqm9KTvU8oxs7RlXJ1eQ8R83V8kak0ZA48lFoAjTmtfm8ITYbxcdnPsJo672U0mQNM/asuar38EutgNUDdK8c29nbCQ8+qPglcUhFc/Cec/BZvMUZ+T/o5E9FCyuhfuwduSJzT0ZX8yvGS3a8tto9fwi1NggA3ehe0qQrRoyRjKHl8cQGqj7aPn6BnWvfTqLcXcSgdzVcOGOo1F0MmuJKnORsqu5H7s7Gvc9KhlgDY2euaSgKFWkIpQGsNt8U+k/6f7SDI8vVJCtYGZth5tUP3s78jV5epX63++BKQZPvwdxvoibGbc/gS2IXH/9nZZCqkZ4CSvzRBw9468PGOXvBhkyb5hsyU//lnyfiR36yfANRdr+UaxYiu3VCiL6jyP6CWqFRVyNqWT5vFdgo88wO7vYOso3epOyCEZ/md2EX+5b2hrkQctNXGSBj2j9dBjgGql+q5NI7P5A4Fpv+UQeRiMjju12ljte6I6LvHVkibroal/DJlO8fOCx5BZOpQEhuSEiWLeVqkgAKRHm7slNnPWzgSAu/Gc0bal0F3yq0qfXk8eCbdQEn0ktK+zbCGN1xQz765y29Jr0C+ASs0KhHT9h6TN6IzaHAHYf/zTz2f7DmxZgp0vYURiuOLCVUNFMwWIew+DjLeRz9YNi5ssg3PZhKwzdkYtrFQ5mo0tI7FQbsXbIR2h8ODHe3gIBjuEGLhxUUmOFSRsxuXpH5sy83GIFC5WFUdLtSroINwuAKlzKGAXbJQWwg96CyjlYHiKN4/ESx8g2Y1ziTeiZjSwGA8IdVhGKU9CNCgewYAVRvh284kVgPJfLweUMo3S0Wh1dhY5z6aQNteQxRb1Te5pZmGIwIBz6+tlbgtafATY9cKsI2csDXgETLT9+NvJtnsPhyqOWftCe+P1hqrPkVARevoR7T/RZ/nwrkaccPl8iYYEq8FOWhsepVJ4JNkXVFiXP3ZnBjVW01SLXFMQ/L42nCBs4b2WC0XPMBe9oXOLnO2OmZmGyNMrx60YkYbJIy76KDGuKk9OCeTHc9rTKJOW3OzWT5Ot5OCpnpkDv/+q9zzVxb19ik7Xz8mrzoay1dqItPPRsIvJHpN96mvsrn0afpI96z5ae8xcjW8iA5XnT725QIlNRPnTYBIURJiAoqwyV2ksbLVtcGgPSlCSVyjcvlfpBSLdKQ8xbSuikCSQ390OQQuUy4GfsMYRGOquH/0xTl9LM4/Bu0rl46ReeDiq8DXvlrxgYpBvsJflgUyBVy3Ty4V5blRX2EF2HAftbhJ71un3GOVpF5RwXyZ9/sQ53KA8ezchoVndxDI6cCNoqlO6YUZy7zf1MM/0Y6TtxV8QExdMLJDL8WG4qqkDWaS+YnPPyao0HfQ1xJgXXslVusZ92TOYe3i4MV2JGnGQpOZAgpKDMvBKrXftKzGpmEs36Hpp0UL01WjjFz3jbv/QkNqAaaQqItpUJw6eP4/TjVl50XMliuXFS5MyeNXKy3sUo/TqY56mcPXbU6A8gCoZBkqHMqIJXlixy4VN/OhVW1xRKIEQjFMtA5KkdyuYPQ+jS342x43pbkiXYtVM/kdkMEwyyDc44rm2lPZvF1Bv9AmX10uYZPsvxuYkQrep11YwIPOBYKJ4oKh2HkPN1A4qI+T1waTHA+Evr+gutTGfcOgz000pEOlUyznceepag3GRVWKXjwaQ/QlotG8iYD0NHnUF8b93MjFeWYOnEncrKgtayceIVaXS52HTxD5lfFLl3TNnzPogMBeDlHJSWXai4esmz7wV6i68OOoxCJEZJKj45rWBwG4E2W2qhpqkCmdskKctLKx1xfTshIs0/Jy4qCQIUvOcXEYVMRyaNCVhsfSQI3IB2yaVyxASAp0P+VQztVxmAkdFRULVdiRPR7IpRzQW5BgvZU7pgKAAJDRBj8u8PLs1jBgCsH7bp5SOLVqhZ5MyIj7mchESP8dIGqkP13wUqN1gJuV6kw/wWb7dgaZfNaWYjfKf3afLFspzO184B//mY2jCXlIs9+BrdyDjSTxWdmcfJ54N7+uvA5Mi2R1EVDNP0QlB+ZIwczwmgcT6HSWc6nANqY5nRi3KOkcxBEK+InY3TJv3fJyLISfYq1oHJ1FlPKTG4Tx6azy5AkkNjOz1uT7jNowjwcG32U9x5voOKaT7nV7sDY15R3vkTySX10qjAaS7vRXPAohcGgs+xyl9P6gP+TRpvjnlPDvUHjtcna1g6S1BgN9luO7iU0QCEYR2wLBpAbj6j0OM0RKCsZNgpyfE8NtuGu8FdhWxI8sNLh0zrIu7LAaVfyfkFsUOPFqqLfJWPfS0kl7shYhZB2+cmv7wl1PNFv7Ep2bnEQgln2aEuprLwsXa9don4tUWchhfJBH7GBr+7CWkjELr7aEYcgUrgqAjBx+ChJX+Bx+t/Ao1/okqwW0YJ9msebFgCa0YOhLlSCMIWEBPHjmUPH1pGJ7QUA7mke17SQTAzxpHLrubAYybIpjtpmSO7LA7/vrJLueuIMfv1Vr8Q4A+9W/+lBYIbBXRUcJdA48wJmPNmGuGFHL03gytxN4/RafS/uijTkqpHiOUGDxG35zSAbju4AcM5rkQ+WWR04uifv1OCornOLA8culnlgTrx7rdJJhlKn5uXh9hIHnxrGwsMaLxGwkBYK64s+aezyEI6RK6fDV+Le8r2BNWrfq/YlfffJ9bC8g0juYOjVdTyOQekOwPMmO15KviXU3e2c97QF8Dpyhczytd4LR3/i8p9MNjIbGMvfEQbAUd/rCn0sw4iGfc+xnhEtvQPKWJUhjJECFheEQwpf51246J5b4CuaN3BYbd6m14MXmGPpCtGc7uPH2IY618TDSFR2ZL0tPo1I06eeZCpup1RjlSucH814moKWE9YCkVDeVEMet5C1vdlQWX/JmJS6FXBYKEfuiE6k5RjtFW4RmA8jBF7N2HaMSjUwq7mZqkIS71kWMYkWv+5jMurTpdmuA7hUhGtUlXaceM7Yp6tIGfPGktSMAhJrH2sIsZJhJXiVgGNYTDkg2kdCBht3sMcqTEPw/6hCodr/oUe45PRvTH47KXFmFCNelcCsWgeGefcoyyEa6yS9PCqoHvRj8GhxCqQNiGOUk/2f6Dkyfg6pxcOX68rw8JpLsKyy5jF8IBD3AmXQtboIUDH/jOIZ+C6R5lod4kyYB11KcTu4EL2dCfhPuLpJJbr5EOrGt9ILS5TAeVtnLy6ZiOevIWkBddzSjA2ZW6YGJ/Fr6HBwI6LJGlUXoiaMUn5MWGnh+r7BEOuKD55IERcSZFpKKgX7oYf0SvoP1KFNkutmZbimqYLj+q+gnbVoW/VCvJsk74fN/RJndrNpYsaoWSQxtY/xDcbWM4hvm23zmj26YFGCN8fAKOS4xLKgU6n/jiu6fn42MCuKgwtXoderSmRvQsjuImKG1PXij+gsBpUDEYXj8ieVw09be4YwoAdGUHIU7ytjhH0nZb69hqc4UQRL5tex53F4FEznWhuMnkjmrWRgw4h6di09umfH9NuOqmeTJrleXl6ikWmnBy16bQnLsgsIQGTCTkOZxQiHl6kJLa42gzgI5ZdLqm1LW6TWExGyFBOQkYAX6UApbHV4fs8Eg0M7EGQtiJ3wYL4BGlXSJdLHU2EI9E7WS0RxhcPnnXJEPiOWUhaEs8L7YfGd6Xg3Kforu+NiXhrwq7cxlOyl81zgq9F9GI4u3D4uPIAanwvWS3irstFEEnUyCXtBhK4lIpb/eg9wte3MGHZB3orkNc2IyxWkAyYMBpTYMNNnj9hiV0FejsQ5KmutjPnEI0/S8AIJ7Cx6jtGfR+s2JJzrPYLurWOfLWQGNbzgpzEkpxX595BYOZ18VgAiNktsfRWWKaEdwtY1SqEb+cDa8zGaLQkDckOxgbyYjkoUzQzMefTt899WsjY/NMmNbgHNdRvqOBd85xMSLGPEQJ7mEdXDTytxpa9Hmal8b7LyxAK/s/yADweSh+n3bbaHG1qOEVUmCgLhzQiTNF6ApgRn/Y1IjvVfMNdFLQx+VySg4X4unZ20R9y3KH/+h7VNjZnlSMrbqWhxmxJvPOUOzHM5VBpbecf5fqwe7GkUlVFnOdjkaNbitTLu04AvvqBNjcXuo9BTl6SzsUu8xpdbsGMZyFt4THmisiDkIB25vbjSk6gynRurD5MbaDHYpD4t0fy6m2lTSZ3wutYF4XvFW0gwf57KJjjPqx95M7JmFd8ccbpnF1yfGzJaaHdqhMgq7/kEF3Ma5+tLyFONjWbtV1c2yKVAf+q38tDqRTCjcEwMj5klxBAf7bODjGYlNVxLNTvGXYKfqHTt1AHw3cfW3I4shGWrXdvCMGVe6WUy3Za8/TcSSi4wWw/7P0oYNvHvRV59XLsbNQgDpDS5AsqpYb8M+IpZiSDwYD7txgOSpLRivAI5gn4yoygK6/lcD2+J8lowntWXkJMwChTc4MJUxwJnUfArn/sT7Jvj+8jT+lRkeie3SKZ3ScJofjZqJgchz0dWHRCVmDfdqkgTepenOygmFeOxEIy9nhTjBjv9sym2dLUq8bqefir4r9rCVQPAmVdYkkpQLh81d1pPuvHJfmrpYqtIjnCjMa7Cl6gOhLIURJxkL5UcIQS2vTKA8N4y0UF9T+ijy8KxEZcgieQSQ9Ex1a7aAtnsu00YSSrv/lYDQ2wX13DXB/+Dp5arC+5LM+zmzt4X0HtN4Nks99B0RUNL73qaTO2GdYroJJMNX7piwULpA9uCIxWNc8eKaV5vuh55WvIpLCDKl1slpY22abbkpm7Lv/t3hFMjR9EXQ2FAwznhmmQwmUtHVE+PiLsaJNp0iido0mi6ruZinh4ZtgCZJ6bfUnIJNztm67MCjzv/2p1DQr3VinjWsb+rFXrYrnaLUQBAaYzu88LSiqAnx0NYs2+g2QIdUpvPcaLOmk4wve1sLBB5qjLHJJs4NAUWW48H3FZDyUpIioicdXciPZ8FSWyQST0P133LnL7aqNHZ4g9iN6WPU7BYFWqFpQABZ5nbKCcNXebz1TyF1yEOhrFD88NmS+cLE1mZgIPfgtMI0qnXF81Aom8i1ukWzWdRYSGbPu4QF8nb2y4dcV5eTgQ1D2Mr6rtBEhkPDlVmIknpx1oe+TJqqKk6HsJ/FSX07yw4O1JnK6tZ0x7VxuV+za62EDAuw75u6vQcg8jrBHqSLX4TaSBVe/cospFwS1l+yx1Rpazj6AOmPuGK56COLhwPkMAK6LpPViOepHUHBEHny0CYMBsmPsHflCg65azU6zwu7Oy1ZW9idiraba4gAAIO2CUozeo+ChVLO0skXtoIqsCFnhjnH2OK2/FM1u+hKjQVje5AP/B2JxbDPW6zbpxZazRuwMcsAOiyNTFBy7oaNo1+i8UEcAnOVhrhESDc+1zRfcQ0tTp0nuZu01uSRItg+kIYNfgQIy4UoiFh3csRoupzwI+ZrrpXQJef/jJmjQisiKTx7UlR7N3WwclRIC5tcr/U3ysC1rIgptOAg4eozRdHFc3rm2X3KlqzerB7P42VuJ+AIc/R/POGXlvfiGcyqKNtTNcgp62hONaFcNBD6eYH1TVVjHZ9bBtCdjFgwCPqqMIxFDTY9x8hcfe6cAxeMsBijlxvzs7l2SFoxEBIeOt6fCJcK/1UmNcBETIRDULjiXiJXQd1/bDjcI+sOyGwfVBOoZ1u0h7ZbrlzzSrdEdBhLWt3+DXl3K5plHmrdcp9SUf5OeEQMZdvbQjR6db5Xi+Wlx4Y0RfCqIYMJKRilqy35ktRbv6Ep4/3vixrThQ2OdLhqOzE00TkCne9o9ha0owW+5CzXn1NpXXCzx0E+rrKsxm0nAl8b9YLvqXm55tEVivs8SFqptAYizE8U8cCapfMxN/Zig+USPX3iArUw7VKRWJttC0rQ2zZ0Rl/qXWZ+DhPUPpinv5KeSHtpirteMNpY6kRv9A8a1/PwoI8gB4aGnTtjVE2fN351Ep5hAR18Nvn3HEyYvCM5+mvhUG03yMNNUkbHpnCOTn4mlF34sk6ehov+lVuq5JzrL8WeUDe+D/0aqZRR1DkGf2jnjppAnNadG7dxGLL0FzX0Fhv6JHQxtta8R3wX1XGGFqOTNabyuf6IAbvFThaAPDZ5Os0eIwP5jkS2UawiQiFJBdxgRpb5thrXR2GAuKwMBR9BAhui7RMwD+ZDhzeTxzHAGNW3utzMXJIcTx0rwUnN1o0GVnFYCW6HH3McQK++ohnpadp6rj1GqHYpJD5ky0qamc9ap7VF08mGJ8Mj9B0PX/oE99r+rh4cffecF5Agle2SAMCCEzSMErMFSO2EqJRCQQ34jc10MFbyxToKj84wmfuB2z59vhqYJy6hp+XdjO190irclo7EnAGXoyA62RshppozRwzGnLJmHki/9w9qSfvjPj9PKQR4gtdgeVu1YR8vqkHTOXai2Ze0+EduwaEPuPJluUeSGY0j2h+of1jNbhWYksdWdy4pnmXeBEX7T8lZxE9IJ1s3+IFMlzAe+ADXK2Z7W60Kcv8yWdHBTwJyW+LpyXdJvZAzpEyGkLetnp6hWaoM9XvzokK3eyPbZfHQbRaY84EgmqM5P7Dt0cCNiRUbgkuPJs/fbtjWEimu9ZiRDObQjqeyIWkU3DiSAkqcDrdQYU5Q9Iz/g+WvmQ6Z8A+zjUTfS42QHSJdlpmM3B3FyBotvSEMa8JpKxUf8nDpP18MvwVDNC9JJSn3bLtGgrjsPFppWD0bI4UfTRo20PNClMhM1ZoLNaFhZLes5C1mcfZS+q1lY6CO5dDVbCqdlO10pZangzHXbzSAIvmOVUtQswoI2n8GxjuDs3XCI9uMDvEEl4+awXxxLsvg9MgzZjQ5lU5Sle1Ip+/Sj6FnBNzznGOSl/ZptqStO8bXpr5MMJSYqf1PoVgBqf7VYkZEdxbffKrXhbRRwn2YnNVaCBR0QkKqvaOOR33e8gsmRwu8dTIuaGlyTBERePInFG52xLNuVBnAQVS5Pu65QZEd1UHzRRFaKqttECmXefqX6iOx/ZmDJaU9I6nMZQm1UlmlUdjc2I1GDENnms2dlpjk1tsid/0QGnBxnvHTNNW3b4bWvzYqnpwcYdzshcBXX854sfhmjtm84scAI5QMKkMrS9p0XkDHsH0c+rlb9dGQSyihfrbWZDZBNccP3rtbDUPLIHqipBEku+ttG8xLr6m9ah65r5svwr3aZ6sVVAEj976IK5InQkKz0QKLv/PYMU945tdq9eWOqwPZJNGWbparpJoa98Su4Ng1EhjBVBLKfQY/eaII8kL1n6Cnh4qwRy5zpltKPahIUwRDFbiNKkk+btixZV8+SYIgkeD/A5/m/bWvgfwAV6AMqnIk1txPRsy4x7Rah9W0368V5Cu3hflHVhhP/5gHihRaEvZQf7QtwZLDBhCVFocpCHOOsxL/9y9Bwg7DpOu00m6J+yyPJDt3KVFIQfHpKTCWatT1FWNiBT3pcOSIDw7T0itQCfpEZyMuJaapZA81QDEgdi4Ny1Gr/qSp1aoEUxp5t2qhg88drEd+GBphyD6BFQq4GCA1U2Awui1VhX7hcv2ytSPZx+7dtuRxnrJ84aOLvyRfu+E52rDOXmKbMTlqtL/rV3zqwOzLiIIwvRotm5AwAo1H11FhFDhArnBqL65Ybj7PeNsKnZqWyvrQiuPma+/r/xbfoWALXU7yuwXOf9tXK4cY4Ty1kmYcN4G4omG96xLy+9HQUPUdXkS+QnYF8aBnUmaDUwXYHVL30nmRGnLBKQlU5mXsFrFJfR8aGVU49Vn8hKMFXFMat6UPWs98nHCzciqckc/ailKYCGAWQls9IaOC8g8VhKrFHHLqfeBqahGG0IXIrqTQTw4Z5p6u4Jj28UkdAryqfV/kmMrVOGwNjZQ/zpc43kB7F9FRRB4H8U8uSm/rgONxHr/enRPL2qGvKAcUCfNyUQxg174OjfFAHcaEpwxVZw9n4YhV8IKLSF3avqkZ/Q0AQ05GBO9HVnckGLD27Qq6Oi1mRRapWe2USYGB8/jXzFXhu9AZLNzCu5QSIqG1omyyS90/7tvk2Vwot5vCNJ0WEAwS4dOpkuVbP85SdOi0kFzPE+kHVdIHaYCD23uN1uJZkcVOO4Hfb2SPx+mhL3+WMThugdD5iFCvNQWbMISBtVNbtrEOP2uT7Y149k3X93KCgq2YVJ4Yf9ciBxhUT5oyKGVsJXGzU+8O3QuKZemqJ5JiGzXcn9ZQ13GHPS53jqTZ1lPdCnChPc+sck2uHcJ6Bq8EsE1ILKK5Z4oE55JTMjhZj0ket1RnfaDwex6YPyUcE89oxU6gSpq/6FkxVH/jhFjabztrPaMQuYVHSRzxgu7PK/cy4YvTLf54+BYTCKCH7IYRSUKTq8TeXF2DNI8rNBBQKI2q86T4nxadKYkPRMSGH/RhEyoIVhJkIHJ0WnvImeFmDDiupXjpwR+qrDuLgnl8/ltS2D3bJ+xIxbu+//zNe9mVB+/vJHGqxoZawJ8e7C+AoCxPODbKKNcebnDsCdwHYge8XGeZADJW9TCZszRNSEO8W/jmrl9ujuEUJPhYd+Jdgq8hd+lKSbunrcd9rY9lFivbZYh+R4DpNU7CBwIhIe359xU+shvFhic/zocJY+G9wTnM8Z5CU5gSPoZKKypJj2U8qCSRI3RJXojgFc4RDa325MWI508juaZSAg2I9Koh5E6MdcC5vJ2Bm3ioc2OtrhgefRWYaFUBvXkA5FQSGtxe612veXn6hmSmzXbRPWLJxQYvGP2Auo19PVGmSPn5VgJ+MAzAyfO8KF7BBLECL1slgUZTykl9RshHZ64sG7W6+K9L7pdvkdON0xGR3E63FzXwsuJJ6XHlOAEk4lI1fjqL0BwPGfh0WsaN0XR5UGm+nwfSdLidhEQYzR0cxNjxtRrGEKug0raVEdJnFIYSxp1fFYUAr4Risc5FhVfCUUBv/JMJkRL4pGh28GYYZ4r/C3BrmmM7sOb6Dc9KznMkD5ZpXhCwhgFnP664jqZwtA/Nt4gFDUXu+E2EnLTdCj3JFfP5kJmEwoPUW1RtwzpGU0WTSdPPqaASXycK+luDh7ojbF8H5ol++T69IOQA3gkICv+GttfAfAeVz2gOTsFoamrRFkiPkK4H/Y5tS3wg+627N+7KSrrtKSXr0JZi4xLp8pWO3h/GNl4EA0YDo9hYmld3moLB8WwiGuaaWzcibwptmTAqvYuICufV97TbhgsXS7WhXAiHZuFcDGSL/tflqgBQGBNlHOavuW5Hu2ZUr+2T609Bb+QI7R11+73yn2f6mSP3ircSXxgHRklWF1R2Qnk0Wh8qP8ESLqRL5cTIlLfOBTtNWG1d3/zpewgVSjDXNd5ln3ABzf/OmwGHhkEGAak2fsnwUrlr3OZFBevssewSmCVaCx+VGqaYm/1ILX9eckHdFcdtSHYg+0EPpXIbloX2SDMR6LjZoGMPGdVQfVHDnsuFklplC+XsNR5OsAKij0Gs8SkuTHsCw1NICuXNWwEZYmcF/2pCdIjlfD6aq6+sfgLWYDbQOIhJvjEAFnX4b6VwEv7dgsuxmCTHT9EUqaU12VN939GQzHU/13ocLFzln1kfARCNu7Tj3I73xXyMmKwNodaLcDle1IBzGVu2/W58VJanqCfoBi1d8lzFLf81aj8u3L4dJKA0IxXkpcZUMW/a2nsQhHKf0PMhmLSkLf9GO8I1XQjzlv0cN50bjiUhaIvZlPFxU7mOm6DBzT0t5tbas34+qCohbI2zRS7pVnznK00BSowRfpK10VvVWXT7DvjPNd7juNQ/kNNtlrlsTp+dSk6FXsw8j0WYmXZlWPnmCyQCSikKNPEUOZ3kK/FZPo1u8PPkDWDv/+C3+m/WoEeClm8HQXhIP97rs4xFaekrsj2AQ0KzGYGi/AtsL+tr/C8qaGHpG2el9o/r8dDqJLk8pntPSD0A94mvLCqsypRqjFLLzZLQfvYQAVJAvLcvqmASpLO0CleePxMTgkb4Yur7sv4duq3iZPCak84ouk56cJVvfYiBQMXoT78J+q2t2WXgnU8xHfgdmA7diA77cI4aEyKL7FrjI++VeByuMJ8Y6n16b65tNPsEAqg4vSg8fuDeGbO85szBFBIDhYD9StsiMdrHv6x18v4aRC3Nx8ABaG5g0PygX862zbrV2ZpAY/NHRpJu4zcYTpzxzHzT2uw93buWFad4lMJ6NAQw4AHpPtMASuTMD8S3EmR+JcuhTGzR5lbG6m2+SkokDV2IJB25YeU4wKRHwASUoGBZgNGrFHlD+zZ1lz8dXh2OKAKcJvB1WJ9kfdAx2vaYtvGunFExUaBJwf2UH/8V+P1VeuIeYO/OVBDw3bok7pNPDlBvgv7kqLXtr0E9zQQWdcVfJokb0BkaDUgNUAB6iqw9jZBbF3cU1mJakxEBFN3FLSebkRTZ9nlkobc2LZ/dQTNg4wVxnHXC7WpPG/A5n6rdQ5CLLB+9KOBFqwdlgjwlgTxP9FVZQ7fxJd4dpxukk/5RVM1mNJNdyqzFEQHvxftpQb+a82EKYHOPVy2yBUTXIwjNE+x12ylOA+iqemPk/Dy20A3Kvc1SqG+CDLk/uvVBmoq5NrRJIEj0wYw9rld82Xm4SUNXnJWbh53Qa7bza+GfeiLmvkTYnkeavbn3SWLfY+EPCdmvKqSRSlgJnKMyFFWunY1lp/CDDMM6Efqr8+ulrUOKBXQSy9Zi7/5/aL5uxPkiaeMNvIiDtPzAquZ/HW8zm564ig7yPl87LQLLbN0t6fkET9l2wajqcp7gxCXD1HUY3UYLxhWedSgds5c+2OvgAjDtt3MbLxniVHklvktdoqvnG/91fqFHJViDnZdLsx7hPtjI/OoNcW4VvH+S2UijQwy84n7XM4rKm1DsEYxOnrIc2y3qau88dqvADMFtrNZFr/jJn2blE17DBF1okiEL0uiwNa4Yhz9NumFncLNQJW0GBjJMYCQIBSSnpha0DTKX6T0S5KvS3t6Oa3jUDU9mzDS+fa5mfxsptDav2Tyk9+3WrKkHF95m0bs+/YPeZOu4m6Y2sUofpVnQZXmyOk3FZKYwAj9i+qN6Y4APgxp7jmKhPW7qKTIGWuVI2/YzxGuLJDeL0j+l8s6CbnBdCesowNgbDuMNo+1gOkgZNvjeL8AEcKj+Oh8o7tvhb8CZKmV1hsChgphZqZhhBQ53ZHBI+4JLw4mBg4W3SH5r+jNgX/gsCcOVFPkxpE+g9xr/M9hFAl+uaGyDW9kaZ4BJsBnz+Dm6LBP4TU3ms6AdgRnhoKVa3hl7G8sHj2h1vxFT9hq9DlgfuPNM/1wqloPnW9PMH30fqt6Pom6wvxpalgop2qWuMTVHeUOmjkqf9cBUPP5XXCAv0S6fa8dCddyjmSmYM7h5BsBm543msWPhUmw6kOTHrZgaPIyBngHbZEqC3RqECqNkz5vMsBNUGJdleqBAgHQ2REYPF0886BHDjmZ5iFjuvBnKraNJ10JkAUePVs6kFUPYAeIYDrY5BDQQFIpfMXEqrtjfbrqPe5STImJRZsLhKDKtRKDYDg5/TV2kB0WR3WC5bALnTFQfiG1boWy+I3wEHmOKfLJRZ3xVePWej69fn/DBgAzcLCK5sSZ3L2n/NtGbWQYVuHtNZ//mUUb/4RN8AxJEh3UCTnwejjfTttk9r2R7HAwdebuXXxKpT7a4cuJk+H6nsKx77Z/VWxWszL3NEBDBh7eytfFO7X5YA50V3X4RXM+/eLDhZiMeqOJ2Sleu3KgWzWLLZgYiUO2Q6fq1hp1H4pREBhWCIV5ICcyRTM3ayGjWq3SBaiht8k6DAa/L2RlzNeH/88uup04mp3Aq9TQTA0rmJyrOKUrVVGDjfwrtuJBW5BixKskPpsiTCn0RI/P24cO/OLmGuujnA3HP4A8nSmnXXhOiIVWzvgdwrrVhCP4m+41mMB08bJHfpNNiOgyrNbX6mB8aXhSA7oaFzQKV0rMlOFDfmR4vJO338CWY1WMMxKY+ZE3ZW9nLd9NHJaKmT/dcK/Oj3u0K++wVYEcwYdVECWOeG+ZKuazqTtiwfSv3MvLYFpCMIkqczJB1KlGLgMuMEA9TDE11bV/cxQo1XiPI5FwkDvY6dV7q/qv3axrLqQg7SfbFqW7BGukq8QryYbzW/lWF/TcvsH3Y1elur6WYslH/KLlUS1h4yMs1tH821AQxN7nGHWmpOo5cwfaGx/6RuwL58qwVWSubR+8ox+j4iBFe/4JmERDULpKLnQuQ/iCDA2+dsx+1kMBeIJlWRimMV0TSFdz2SSelWpI3tmgSLLoIhG1yyye4M1yfGD+BFAXFcrs/0f4jsxrp1bB6o8Jj4WCrtXttu58KbAGZ7ydRuFOAtg2odz4hE+nSKTAjUoIKci8lDPDy70/SqQDf2hPG2HiCKZWS1hJacTMSUXFlvjvh7tM6qyv0xRbZVLHIfgAozxZbxmYRDt9O+sGiYbfY6VemQAKfv0tgnBXMtHnhADTnuA+upX0PWCX8UEWb2ys+yJMrtRTg/XIc0VR0IBOIiQozypy89BYC8zWK3w3rsSRgUs0YWawbflIupX71cc2gYjO+BIxzQAra4Z1H+t/fAENds+UJ3Sw9hlGQBShtzpreFS1ycNo1LsWm2FjGpcS/ovtK35YsZanSGxMZW5FVUqdcDZmTutCwqGG1L2DnA5s29U0TuhIiJogSYalmyupAqzg+1NJLHWizRBUntn/wUMRo+uIwIpINYw12r7w0dOoV+n3+xqm2kUQrDL5qXlvfMYIgcwXyMvG1rhQJmoiypLpYg0fTuvFQfGp/uafQAx86i7EquvqwWTV9jR0NF6sVmsDsLgw0jXKRzJwCK5dev+s8C06rojMAJTl6qieh7JuuRwwmvhLILZQFpMkerTpt0yk1JwkkYYQwOj9atx9n6AdVAnt7ncVGYsdffcKcdkR9Ikeopz6uHRCOn9Vrd3iF7zRC1WbhtXAciiGmf0m2bQCKxi+nI4WBXIFdSZMctwBsRrqrerREBctdM1nZhOv4w0SxzBEV17C7KNgSGiBZKUGcjky/HJ4lzvNAkJ837jHUb20DLkXu7n/hFF/Y+Dt5CzStdCMvIAvNheRtx+Bj9YTLf9FMGTMAM1luZPX2Ua+B9pMsbpXFiTHeSeQnv9KbJYtTGX4+xT0oq+lyr/A3szX90kTftizUH8mkjL18Rb1pUIjUbqYr16SCeLLc290DWM3uQ09O26w1ioZ/2mJh/L3e1vJ+8NoPf2O2tVLs+CJNXYlsFTA+ZWBD0NzCFqsP3NKOy0GFA+0TC7RvT7Ex8c8ZVy7oVVkKEAm1UoD0OtZmFhYg6XxJ4UzEs8AG03UjQJxTJuerenJB/wHQPZ9kI63SEceXotKZbfey1aT+5Vzwv48zettYEW6otGJJyiD9iysNJxuVJHVxc1h8CWpG8VA/KuOB8cLx6RmH//pJCAPZofhbBqstlE/SAE6CqrZW4OkloV6EHkTEmBYBnIHCPEmR9gg8KMg86u7EEsCy0pfmPUpKPrG4E0AKDLFmWesfKHSLUf6pLJRbTSkECMuXIUbUrJnBt3/0Fr2kE6iHSg10LhNNEzEd1fT4rEf+kakYJJHCZw1XdX0A2CMYEyIA8XsesJyM852Q5FysnCp3Ne1z8IxJP190ANkwNx4jIkWL3yI8XTBMZqOe+E4tTw0h2EhqZ+fiei21jSxTxZlDPcJZevQBbqB3BrlUWdS9b3s92UulBOOrWivBpH4WD5xd4dsqB1C164r0AReh/rkXolP9wvrEDXbhEWQjCsBIXYbBTNqxBEKax++OSxY1iaUU0KUvzRbY2QVT0iT1SdaqbAhKRqqVfBO8omgw7npdJn0fuLuzIssWH6BxZQT8kOvpAlM8VG+3spxrJ52dqc5Y+kVqeEWprgTzQDWV4b5mW55EjpTM1piTvUFLncIDnQrZG2NJCKoT/v6xW0HlJJXGx/d21YpL4ey1axzR9LXkwbL31sMrRwxbgHZv23QzlRKLlIBXpG1sdq1kgR912t1pmFqkZegFoii3RkGwj1oS1mwzx8yCp7Ks58f5nBhDJzr5CE1ze4NH51tOeg5V+lueaegj8FMAAqzmB7x8CIVaBlD7bAKH5Dj5NN3fTm+nW/zgze+ui+UHtubjWmMtGeWVnVzrgPQfcJsGljWx+gW1hnTqUE80FBYnS9+bQsSGYWi5iNA8naLVFh7jtIskUBljN3jHGAVfyJMc6x7nbhws+LHpgby0lkzIA1pltaqL3Lq3KTv2M4m7EX6xafv2jFtQsPfNcMdBA82LPPafjwzH+X+qHfSOFiYBOhXk5EAMqvQeI6zMuhUIv3vQM9k5vwOh7xodna5k0HZ7weC2lrKOZQJ1cbV/34gg91OEykPig+g594b0y8GljUHcZsfkiotrgu4QWqeiisJ9BwUlb1Y4C4ZyKSn9uwZ83UiNwjN1Hr0ayFH4a0BQd5IaegUyNYFo2YzgR+BJulnvoynqCLKViBfdVl43TGsMek+zqduqA40rjWhGhJVgsXedijkR8BlvC6eodnUqjsOY2xWuy/TodzGmpG7P1GphOV8Uzb7Q45Q17flSrO3PbLI+Mlfom0np5S9Leb9KdO/XV3Irv1XQYhqZ/0Z1jhfO/cFGQ0x97PNKITOtB6BJa1XaOw8vDe+XOkumWuLBt6LvWSqPntaqQpLzobJmE6d0xO3kHe831x97nMrdeW/jwiwZO68mPvEblkAK3eWhCppO8RUHc0i29rWUwzrxD24HZcP1efRqh/KvF2sXlLgeGvYEq3rllxQuiSrGocGNxWfIaVhm2S6Z1dztwQ4JoRBx7EVDHKhlwHfjwHKWNJkiUF5GEGeGZm6O5TTFFgYd1Wk4dyVJrCY2R4Sh2dYcRMS6DYviXw1ED4HyTqxWf1JOnHlra9rKr21A9SBZ93qVBYEzAe2/3008eDBEvRESzVqmUzSm9uY82G3VgawzY8N2tbJWAJvcep55IFu4PSmawSY7Sgy3rLjr934pp1SWgrDUraLNen3WExB34REPNrXWu3rvQrLtsJK8DsjBJDIuuYBt8GGOv/8/wt5ZosH73u0KgV39lq4PRC3XzydCXyeO1ppdKmD5zqzD8zrAepNHvoe8GW/QJa5KIqhCG2Q/fjayW5NmkZtBADYGSGx23YC6USWQ3V9m3O2s5193JiqjOT7OjSSUipoxqCMB0zv7XFXdgiQw1IlLmMO1v8wqq9i2UD6khnwQNqEIJB9FMj0SQg4RxyMg+PD7xav/QThooRQnbEmLJIO3kvWdT65UuG+hMK8pRhKx12Fig14WseQP7oDMIgvcAO6u9l+2EAhnSSE0J4Hvx8r6+GAsNJI5Bx3SXlgrUA/frotAXjGg75h0s616FkbfSOA/Y8HlY9aWxUiFV5mLMb5a/GDr/VCE7e3WFQaKt/gu/fNcc+K1/RXIn+mrte1/RIxdRxlcvvBFTRUpRzi0sa7HNrFGwJQFKdWni4+IQEkrcfGY0CXnGWxMxgIYa2PZToquikAIO5kF6vRsM6RZMCBFq1C0kcdBa4ADdqtfkZ17XZtS2SP+LK1NjKlveYbMUYC/IsEgLe8iP5AGAnmB4YFNxZAjGenlLOvVaBuyHc0Wo1oxbmYtyThe35uTOUnPkI0OII1CRqcbAUq3NmXFCQzxYlGM/PaUpYjqoR4/X0BvAHUNsJ+bsrYXqMV58+GnVaIF0/kBlW10Z4saFN9q634PmBRvTI0z9wX8NcWs8Xh+omfYdWrHJFD05ulOPw0P0JWZNS+hBqDyPtvOYswqgxRYL8mcD+edwqbMVEit+bVaQXAyz1kM2wJPAt3xpLoyoPMw2XXc2LujksETvslHnlpxOPfOa75Y94ceIdREJJsgAHhuNFCivsZldz6OK2wTGf7/DvN+FVIKLNO6cEHXvZWZZJxgB6r7+yGKDMziZMex2AWCt5IYsHKobmdWSmLqqsbJXXB1Nt2i1bjcHlB/SbM7t01cgLOkIdekbsY/d+EzokNzYoPtwz5FBqLDyxPGpKm1wzVb/oP7fK+JxJP1aZi4A0KvuoBuT2uEzhrAKSlJSX3yKFXDF/sowbiOWE0BjEoF+elJ2YKtIuMy1JuBgKTyZ+/phKCtdnSO4G4NovM1zbD+nNnyefV081zGiCUqKH9agDoVf26OzazR1BRCh+c3M4rSoVU7EISq+N67aGx7inQR5W70eIt8ugo92nM+FDz2DxHws3+qMQrum1GCICJlej2VlKrZOWT0b46qnXsuGXvUOFfs/jg1fs/9y70+NqugfItK/ojS0wT2cMLxq+tq3oWPzrFk5GHSUhJB0xtq7Aoh9dFZ62S+m65aW33qNx9zDDWtJVlq6EqqquNnkhG6Rqv1cC3TZBfFd4xpkt6/8kcPhJpb9e4Ttgm4qLNgjPMQUDKogIQey5c7r2z8C7jgA0S7bQ2Kg+DHsI+B3PUJVjH1Q7a5nJQzZCQ94to+glmB1IylpcYwoRuvXXTZ5taZfr36vZABEmn9xIsbF8/D+ogq+WMkt5oQb8LfMzRv6grbvCQ==" title="Mekko Graphics Chart">
            <a:extLst>
              <a:ext uri="{FF2B5EF4-FFF2-40B4-BE49-F238E27FC236}">
                <a16:creationId xmlns:a16="http://schemas.microsoft.com/office/drawing/2014/main" id="{A4B5714C-DCEA-4AF7-BEF3-26C879F4D380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457200" y="1610369"/>
            <a:ext cx="8232140" cy="487934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btfpLayoutConfig" hidden="1">
            <a:extLst>
              <a:ext uri="{FF2B5EF4-FFF2-40B4-BE49-F238E27FC236}">
                <a16:creationId xmlns:a16="http://schemas.microsoft.com/office/drawing/2014/main" id="{B601E9B6-38BB-452F-855C-64FCDFC51131}"/>
              </a:ext>
            </a:extLst>
          </p:cNvPr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213330530050958 columns_1_132213330530050958 </a:t>
            </a:r>
          </a:p>
        </p:txBody>
      </p:sp>
    </p:spTree>
    <p:extLst>
      <p:ext uri="{BB962C8B-B14F-4D97-AF65-F5344CB8AC3E}">
        <p14:creationId xmlns:p14="http://schemas.microsoft.com/office/powerpoint/2010/main" val="20804257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4. Compare Actual to Pla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457200" y="1219200"/>
            <a:ext cx="8229600" cy="685800"/>
          </a:xfrm>
        </p:spPr>
        <p:txBody>
          <a:bodyPr>
            <a:normAutofit/>
          </a:bodyPr>
          <a:lstStyle/>
          <a:p>
            <a:r>
              <a:rPr lang="en-US" sz="1800" dirty="0"/>
              <a:t>Use a build up cascade to show a sales pipeline or to compare budget to actual results. Use a separate bar to highlight the performance gap. </a:t>
            </a:r>
          </a:p>
        </p:txBody>
      </p:sp>
      <p:sp>
        <p:nvSpPr>
          <p:cNvPr id="4" name="Rectangle 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1h9D1Z5GDtPW+wuCTrU5cbsTyeRnoM7v2+KYfNB8pPDHY3/N/nQDLg73FVUjs5JX80ZEMdZ5aXYVE2SrM7ljDixtoKhF4R5tzsuuZUVsHARnaVu/qi1ogBDYdGq36gZm6iNPXUIRO5KdpUxkCiH0WtjIQIX4+JjCJ5MO3SV8TFAC/aDVU7LytCG0DmXLzsg9bYcuVhkBhUMHW7CyHQnfvKORAfCqaRNCcsnBWKW72HRiaTJIpO7NQKVnPgRF1ILfZOgAKfYhur2JQZ2w8KWD/ixtP9QZtGhepy1owkuxClxENXRcYn25bI3cYmC0NdkmemU/BMAV79wYqOUkQfGN1y1Eg464IkXejOA9nv5QhfoTlDhXVnFuwBm+Xfj2n9n6I12QsVSqVAjDX51lIRduS4zJ0AnoK6be/vH/cbgC12NT1/H24dNzxV2sI/dy9QC5cFOTJknKE0wKb7NX124ymU9TtV0Ok0+4wpkJVqE97FndSa08XrhRY12RhelDyackPMAmyqLITcum6RWKlLUjQ4eJM+3+pZXsP+dII8I/f9EJzhSMpnmB72dKkus0vTD06Xp0oc6okllb4ONYFVebKHOwjFI+gn0wJgkWgEeBU/WY5OAXMdofVOOlC3phV8CmLvoSwJBY8VSguASztkCm/ZaZNGQzvh3tXG2oAX23gzAsy7TVHPzpDb7te2fBfvFcti3UHsH+lWP/mkydEEbBVsHOONQvZHLDg040BJrWwPWA/I3o76qRHTsBELu0iclJTNE1wkkfklTsS5/p7OGRpfe63chzI2meBsyhdyXa6qt1jwy5CFhWxcZ/WNM+x07dBbQgtegFyyhFhOjqktfAlvsnKM/0xyq5HAcWp0pexJ9/NJEsL2LVdsfWlmLqY22pfQxVsWeoA1u2vSpZW365+f53987rsDmUtx9QT5APaaFQwMuf3Zg0cBe0gQEtk4/Cmno27gdRuz58rAVNlq7EqnjViWvtzNssT4drooWYoSVe9n7V47vn6zoUxV4YF6Gc4qyr23bIz5GjIERNhumsvDTufBYWFsXHU4ZbC9gG112trmUOo8uuVye70aZc9dI/Jxuc5MzAKBZS5PO9K2Ehwx91Ao/p7ivl/umWpNfLLTPnbq8cemJBWOYDGuTZOHO37VZLs0D+dCGPaDN2rpSOuVkUZ6BEHXqPKOQVkm9WnohgOR4xE8JYtje4A2/OvyCVndW1KNGo1g2UtAHo67reXwuTti8DiZr3GvJIlWfq7cSruJjabLlZejrcxVICIhFhdgvObRkOYR+i0beVZireAehvcZKZN5U4/3wViELMdNZQiADG4Uq8hI+VG1MSrsJpFtJse8RWlfPssCEo2LwD0EN8/c+cZUi4oLBTKh0rTcZgmCptFJBMB4QUaw9lusnDkKl+ibZz4mt1Hgea07pV0TNlq7HOeXqsiVWGSnYQ1dUj2+twkEe5W4Cm/FTvzCdCnom8BIpjrRLjs/rXPpeEu33Er7sc2VKLQvM0VpuyUprfy9PVaptUug91vVxhS/8gLyCtO/9rgsf5rJRBZbJiQNvuuIPjjW6Qg4iyml+j3dBEdhgmZQwEIFdagt00cQ82eCbF0PIZ9Bgzw7jWfAdGpE5OUDqbZBLkkl8kzSIPqG0l7V3omVUlGY05MCHyPlFmNX3JivAxwL/fc5fpoWEC3iwPn/ftG9DHU/l4LYP75QZUKeiz9pR5LgR1mOI3iWRcRJ/YN7HppZ7qBsEEiJMSwElpEuouRZvOUDgDnCKKDweT4dn37sa+QRMtfP9WhiSRpxYx4fLcvvpL6PZns+5lnCtfTvmA3jxvDkt8ktcG5bnHBSDGL103p03/fZuv0pXDQQb/KBwYBqqsj+KkD3pSJn5DAqxkoXHN7ioatjwXk+31hnQNyjFOSwGpxWmU2E/lBwdIVyAwMM0dYb/aWTUHU511YxhZoQAG7GpeLAm1GplqCzi4gUmtJCHwaPaFSdxJQ3JR7JjRMp5D4LKfupniIhpfPIR1KQ/J86ufMl8/yPx3DVU5I53QfE3u/f52nxE92uDiNTNj4YalbgV4ZJXVR2PpcC4/oGlPLOeXo+2UEAZUQIgw82JLQyELwac5LGoJQXik9uIazHxrh/9RBxAuCLqkD+hKJeGI494GeXYrm9HRALNlJ6fXexT+U5iGtTC6AVVCfegk8iLQPSfFXSBCLGRQaXR4cbLRkDQdwyW2lfFjKQmmp6k38w9tD024TmcESpJIqVAn9jThwCtQwtV+ARIHIiGzMh5zVcEmXF+B9s94Z+6OyikcbYjv22phy2fqUegM0ml8jcUKdPuCnJMfKiyOLLPx/ahfLSc9zl2mXaVvrEFscfD717cRaf9xuMFCdMDt2AsanVJZt7rCGrgSyEjx4enMQtl/ADeQHLAwMZhUjmtcNIQ9oJksO020Gm/AJafPUIrEHVHEPKmat9N7JJmHMRhgFD290+SKHjyqR9QWdueXEw03NGYxDU4SOJxfmh7AVn078QHKra+YHNCpIjQ2N+Vc6z9UxV2IrwyelczwTLRSbEbJBIP8bm49R7/3Rx+F5aFSF6xD56KLntJNAu2urmyXjYNpLyjn58SFS1i06gF5mp/fAEaQxAV/bufk5cfJX/fJJABtanon1zqEgTBef6QnqfezD3wURePGFmes7MmiKJgdVfghYj8zNiuLj1brrSoSytH/qnLn9o3xU0u0UbjzKTGZPl6tO9toHulO2IQIFJN+BlcIwpLhSP/cQwnSO3UbMpzY15xcn33/AxF3TcSv7RS0EkO0E0aOpz43URm1AVkuhdGtBKC/0+cxikbS6L2OqtizZGvEkoI6TKJOUyG1wnRQptSxgEUw42BLeStOTFjgTpgeoYPh7MA2byA+TxMrfi3BSYtuMKF6wrUxOkRzt2Ah9OCXVR1OSq2AZEtq/MFYyg+EiJIaYCNK1V4PPmR3mevQsGx4YCG/3Im6VATwm2PJs4+BIenhCrb4JaDp0ds6Dwz9WuUwbwpD1GWh1pUQ61ew2aLHermCeMFLWtooRO9WE/E3CtgyEZTLBlwkRhhnpTQMPlOtS55mZS4icifF5yil6CWSuknZAjMgHInrODkJ6mX3TIPR/oSpVSkFoReHQg22Fw97Y2PfrHaH1I1TcuN7Bh6eI4datnIERhSd+uMynMDPF7nP04y8gQ8t7Q2cSc9WH1ClXexuaqQJtdcoqhw1h53oZFGIM4b5aqYT0nhwsZSRHmgsXBUMF8WUFC85t5mVEX2gSfeOweijma30sMHTNHaG2gOdG4CFMocrvl6ZU2jvRshfqLxbkgxdEn7xO7OLfpvMnblVN9VyPmFH9ODG7qr6bEVGO4tCsg1gkf9FSo5UilZZEQK76IZq0T/jL78px231NtNTSpEpOatvpRmJ7hR1BSLX0pP14aKYj89HB8BUyFZedSy3BL5iI+qccG+W9Srh7zSsl1lKYq+9jJwA0du9dE8rwZkgQRphL5Da0csN0YRmOWZEKmNbcnS0t9COheWaH/q44O3f5sdjKS//xv0ppanjqdH8wZcLt1YguMuGkg+jd/2XLUVkvduaiMHD5kONS6n7FvwLyTWHhuEvS1EFJgwDxFxxH0s9TGcmhPKoWV/a4SJaszsiQw6H7xYhvHmOH/8j2g7uRUWMi7Kw0BpACSvO9Z34w9z27giZ3A+zST6nRJUjwtX0sPIAdRVMKnsw0/QPCJKglL8cyCRdaYcB/L9i9NgMlPHseNbW58TVAUSLfI8+ED2g/2GsNKpWBOP2oZlT+jmXPNLb3nJS2WXToUO1mkgZ2STcwEQjZ0eoMnoY0nxtWV8tinGXv6vGY6MDBRA0B0HJePVuVCjfRIM2p/LNrfUar/1wFKXBVHjaJ/0+6OIlrNKvyX6CLd/HNou/NUoexrC3MeU5RGassrTpJh4rqrt8+GA81XnPNWca+DjYdznEVHDHWGTsQk39UP2hiXfJo7znrTMyrrpmY1rSHLnzJBxQ7X/1wsLQFH2Ou8Nr3B7MXfasNF/4goA0/PJj4kCe09HFugc8PC6id2MIhrI64CrigEvGZ52UWDIarIMU4D54rpJ3+M8a2kGaRNuMSQkUDBwG/yRhyTgtAxQ+EdZhjdu0ZDuEQK7SJ0mEdwi4RRJPbcs/jd6mcN96idCv2bgQpXZFegSx7X1+VvntR1vvTOtXnm2inFe+8cCdW+Kceo8OZx27b+x7JlzQ7IJbN8/1YYEu2wIGDT496kECv4qh6/zabI6tFelPrev2qbnkOoiFJ+Ik/vWfvc3n5aCfBgK1kjE3+GFMuwnXHHxKv5H3HWYl03g1HLyC2tvM4PRj6I3vvAdDfKzLR+SbxzxX9GcZIfbzec2+Acbos/eqb4UnO27v4S6b9LxH+9soNqxFNkVVRDTv3P9DAt9lgq9IXFrfNZO2ji/xwzq5sFBXh4rNuxBpeiMiCRPg1lWkYX35kLdgg5AMQAL1J07r7e+aTRlezhy/tCTL9kWQuIi9L7/Vzay59QoYXj03tkXKr0IOUhPlbaH+6gRl0MJi6oPr3alHA2lSupVwJnYFG2lHQ3eSWS0HAOeCjI4PRK1PdWXE8qfnLXEEx6Z0euAUJUydUynu1NRQgJ+hcGoFMii0WrjIh12uGxKqlEyjJECbSDwZ1Gse0Ggrm4U+SP/vaBLN1HOCtKLo+IKLojyzzwTTDk6Dn8y7SIluv3vf9lDxGIV8+duUir2wgIInfyNr0is+KkD7w2vB+bs9ViwPci8b/fSb966/hXMkXo/IiQvhCfKuIvrDMnYwBfxcDN2HTrPLBIqfbbMIFzaSd7jI8eWU+pDlw/Db5Fy6aOjqzPxfrr44UsGxx3WAvJ6+HezkqEtjJl06EQ/xz/XcHoWLDzSWEugU2ah2lSP7vTTiryBnN8vJm2MPHLhVfud7ZflAXt3DUVhUhFKx+bI7Uhch4OglY87OTgjkJCgnZMSA9DeMjCxvjd0NoUw9FGSCTyvXV2jj1NZ08YCBk3765ePhCv4+6D/eFrfnCGW4cOINF32BNchg2BLpfVPb1J44DK85oZ1wGaA9HBKJCsAPjq1tsjXmC/qFE4mMFHUgMMIq8YDWcb8hQU/3k1m2TV3s7Y8ApYlSTUXyodMlo78G3j1lclQUHxF17sBku8Qf3l3T8qQMXNbg17lKYMeaBZlvZD7D228FxmH/Tfm7mDyLSTZVhmDn1+gujenrFhgQtIxTBI51L+IXwJYJlJIpDNDACQ05TuyN9pK+M84c1wEvcRUJ+gu6DRQbFT5mRpPvEm47KBB4aykytrNE4bkpHEz+BBtthOd2sd7ALJcHiSNwAdPJs08IjBCJltqddp1s5Xr9ZiZFaJX3oyaSLdeMmxtivTe5K61eY70QS6VO4xncmL7lGRqk/eFm+GmViNSWQzJWfV3smh7ONbCpbJGs6KYlVe9XFbCfJ4SajAxcF4wNDU8IOPgD1YweAUAJLdfhQAUifZInWcpSlP8sQQXwYNonN/bDfzShDr/wSkOOh2WTRgI253vAj2n6duKNObBeWAJktzqABL2FOeYlvJigdNJiKDZynkGqxAjoSYvQurgKUNNgo/ptp9C6cxRmY3bD09cpvKr0TqpORD+NhMqApP00xeUVrbs2hR0GoeQsS3/Y40+7Br62+QraXVK4aA0NAeNWXVHCjewddR4o0/gsgC4orUEvDIECGbu0q8RtIHUX0Kgs87NU+f/2jwFdv5p3KOadTM9hx/i4kKVYu3D8WQ9MNERay5REemw4XJhSkbUokhYCl9VyBey5jMipSKOMPLRzsEqx/S//IiFA+/CAhG5zMIHCBDYik/+4rRfBwc2oZ1AuB1gEt0xJ2DphyGSTpbOxpgaM9eq6dSJFliWl4nC+D8usy2oP0Gk0V/oerzaAnuP+keuBhKKBGphXht6V4ZEhxug5wVA3QXBhlJC7pEB/1/PnMZVKBjwA6k79l2/mSZaspTOquOg+m/I1E83TpKzf1jLTvO/ao0RX3QdXEkEnw/ubdX94DiJZPakBabTKhfYn84bYNrnpDce+xks5ETC1VcF4gdPhgrzukLspXrDXhWjM8jLy8uIa4AeSWlMxxRIN942AIzyXUOx5Vdtr8LoeX+cp2uy0zSYDPZlt4ZrlY5601KucF1Cn7uFsOdv2ml1NsxrmolYsO6qMLon4fasudAjKbucJeZvY3Sa/S0Ohk2R5VlxjssVhnFUTHi69EorWw3/VH5tH/45fz/npkzC833TwCGE8eKm0k43Rp1f8hH2b8aSWlUxg1WA104+qZNYRCThEPATavxko4SHlxo3Ry8AbsqdLRoSgxRo4m2oCODRRDAa6VwuMzIKCMV1a3KKyH2t68DyFC1TaWKq/uCx+hShrtfnZV5LWqFmI0ySEmmdOzVpsyu1DUYLTAU49Ci2DYzxejAIGULIH1bGw5DLUysdRaOZIAdMSCgqNoqEKDiCwW0qLfgvxxfr9fnWFMJ1PnkKRqHDw4cNy58TOOnunCIVwmKruPOnPqtmXHDXDzGKnB65wC1CmFruCYljjI4Cte00zeyS2zKCX+ByFcWTBS0BsniFF/uosix8TR4FCjMy727mO7QhSE8i2tQMaXdsk7p0XuN1Od6dmrNsDbPnAv0yMr5PKV+NMWBT9NxVXNqw4/ZwgYWG15TqWjkaYgL57ILJCwoyzqeKiK3u7XtBIXCSjXaRmI37AtKiWqzZnEoUsrN7M51INtPqKNezaWKGBqAljGaIPMadiYXZS8f7LltZm3ffSliKHOXL08BY8Zg7Ra5+8bTsfFjcqA8z7UcHYnsjaSO0snkqsHBBePOYTdUDfyZhR3rrIVPN+eBIb/sw1/0CfAgqDeWurPFI2zwYnPr2CQU1PqrJq/xU1hM1mVqTjBVOtd/+y2u4WUQtt3HIqmoXVplH87UpNEgSG5kSHvIlwCCpfYQGJEneVaDaRePMIYLxvVbr0KIBWlAuSlrPQ18pOnXKrojANy7lYoyeiNSokBgBGmOS4d3BMjPNlzM6xvxy2CTB+8uuY4lcU5P1zFCRf2mDLfhUqy/2SfyexU9Q3OdG+JCTwMsggUXeaOPMzAxbRFS3HAAx1bJfhpzNMiwcJFBuPtJQwdNJRDVOPDJxa2TynqWkc21gv1TCp4RT+8GPu65Nm2aGJUDt8bpWvmSHWNlKa3Oz8N/tDlXUzbXxIUwj7L8+7Y5mOsR46KkOgV0Q8dq5PAGhsXfHDNfzwoDPO8AyWP/tgfGe/yoYm9w9wBJay/HimacY8KjiOY2TX5GybUjusPG/+NtjvgrgqZZJ7Adg/7KsFrYRcDKJf9Rw+xnyUMT7YTEZLJPPBxULjTzZUhjho7kFZoJADTCeXLfh6RCxDvRnhpXAeXb4q95xfmSexZPTpjqcXAc2qy4T40ysh3hjjTdiFwSsBgRjGgMAExHQB6pu00A/JGV/1ktrBEtO2uNyb0Cpeonfh1XgRkHoG0oNd0Chf0by7+jfLY1+F/eJ/c3qirzRcf0mhGn23C9/uAn5mYKtd1O1sFE56Emni5t+8xfwpH/Yp4qjyDUBKajw1u0Rt5Ix1BWxpv9rHXwnFvY/lnlU0xuViO0GLB75xy5J/s0BaaukWkYIen9OJp4YW3aOMd0P+zRe7neuKpbBxchbNLrGtGTLyEnoPAcuEqoOVJmqo9uC5opVriXOnQLreqwrRCAA4+8Uy7fHaqdMaMhAstOafVN/ZVwCwLzhyI1JdvSqk1gPohfwA8meccqT3xG8Ze4LQs23vxwtwvn9c5y7kBBJ57sZ625yCHtImijJu2zDVzcrYhoG84YEhOi9rFEa3YP9fIpKEh03Mk70dtL8phd2IjEfny6qfukivrvLNczVQDGx52haJ9wlSuxP+GftPY6CWNnqIHK5KXrfLCU2b/Z8a8cEnAKEhXob2JhnNy1GhgcoDNf9CkCAKej907fiq4f32AhpAJkqSI0+ZJXlKlNXD9tIQw8JaNGQyPRoJd4GeCLzK9ZKE+0s+uDe93td43yqYFUBuwj76aH5TwmuTCsDkwozuTiPNMX/bR0YNhsxJkBxkgAQPZ+xQNQUd6ODgBhu7tan3HvK8lTCrwJIhjc5KIf0jdm3/3FxkF9w8MlTR14YwwfC1tbVbuw0PJPEM2zwr0KZ2iW0jn6GIxuIC7VCL5Zz05SkcA8lYDKxatVPx3BBxkvbezc54aFCq+wfWwhpxmbJXG3a1ZGylF9XbGVAtpbwUFjTNqKC8zpnA/Q/dJBUbrarwtGeOww8BW5mLdmlXds2mQaPoqMrTOiAV+1ujNKrImBnOiviyuJhHrZkrEhE6aYJRddfwIj4yf7caFeXAjp6NSjrFEJCdUF4TAjW0BbtL7+eom2sQmbLvyJi0CepQpot270ieosK+ejFV1ImDoWRd2dYvMJ/+8pKRue//4yTOrKwSGW2RHTXYFpaPBzCHfrxE/E+1MWIU04hK7E09c8aKNXcZmtDvDVA+Kk45l1lbaX+nqSvJDyD6qpTs/x8BR3E4HmSZfxotikURYmzj0rHj1q9H6NMUePfhSncohYUr4ZkSON4D0N2LSET+8WPUNlHOLuy4pAZpYyn+LWOi4lu82bW2BcLebHNSOfpqT71cDn7/IMhAs/x71Kt3bMwTIo1QMM1aWwNoCcLPrX9/YuEVXUMS4LBMDPm0QCIMysUx0vjTIgpmRFcJZv1BeT1QYhg/MyPbsYT9vayW94PzWExPor/vKeVooOjc59O5VEeXuSMcNODak93nwAIuKrmMn4NN6FQKdjQ74Mq04QXuxatJc3eEP+xFg3R0VyTtbB//JstYQjr+uNKphbI90TXb+NEEfCBGOTmi6o5Jl3AL9RZChKko6u47lUYTBolghIIWuDVWgTWe4pZe3BiOcFoZzsyF0P6qa6y95MdzyRDRxTXmVdRWKTtcoqxly2SliTGz8kWAEqg9r6MHLNST0Fp3l3kGFJBSTfZ49977HWBdRbCEOxPFgu86Mp00cHlKmEhprLg2JMLkIYa0z/PA8P1kPKzDNhDCEPWOm+ZKL1ubOdJ2f5VTV4MYLVjXWqYzdTZBOZlpXlMEERPTHHoDZMWoQE1JSOvYP8TwiI53fvcWHol6Zk6zFDjhswFHMkkhaqCLCaYEKamIRbxai7hIB4h+rxHCgto66P+En8sPuZQ0zF8s4x7p8i7RFrxQGozzoSxtwQn5u26jqC4aYvTQrlkAwo12ghrXb+kGr02Lh+WFOM90+MBYZEbf/mxvVL38A9X2vBBWFMXGNvG00lC36wzRGejN1uRZcujTyCayMBf1p/0I0/zm7G8M78mjN/XQbuJOJcAM310XQ7R1LHmfqvj68trBs/HvBPhFOIDmSYbZeRPf9DLusFi/+ZyecfTj1isQAOSOVl+Ne4alOS4EqU9E8HYCzd39Npt7vSj6XGABlSQUbke2j6EB4IYVNvs7l/dXxxkTQaF89qALTQ4fMt4NO8yR42SqJSmgIu9b/+Ht5pztzdsQSVj6phs//sKbcfw3ZsfZZyrgtKhyaTRzuxAPXd9PaJmDtCgmu7iXvlm6yBXlNRBbwNtTU7vL7WCkftB4GljUtxVX6qo07mjK/uVRe9zFiNjlc9Ihept3/7ihuZbt98sZFaZOltUfxY74QD9syb27etoK32Z6uIP+OfjQn/ezECGjNAlyKgzJpXzRrspWuEBq35c4frTyUVCw4jLrPvFfxkRJYuaU7dxzaj3QVzIjF3TRtrq6mLB4XJwF5Mfq8PIWaa1qFZWm4pdvmleNYDBBs1XeXSFwPz2JHED1y6O90hiQ0auA3+kZFgDSpatm2PePLtB6wtpjQSIILB7Vbk+tpxrq0LwyxGXlT9KgpIW9jR7IzQ66paFOB0oEIQwIJRj+K2vx/Rf35o2WPcGiP+zV5Vvr+lAxzkcMZYIr0lV7rSzAEfnWd2wos5CUP25NCOYnsz170qLjK8bflCoGWtWBZIo9oa/15dE58kXEoyWnloULkYkc6wbWQdWWYWxUfXAuUKlaV7DQWK/CIATGfwElwwsBnvjdzXosGu4NPXBc2qDkH6eyi2Wev0w0DpBm5UrAcoNMoxGvdExaC8Izl3FWknVosJ72jI0zwn1PYuH/shrMnFtPLgDlgCmaRYQdANlljNZnV9qubd5fTxPaOW0mAWkITWM69nrDlDZIiEKiAF7+TVDv0CdT+Frdtv6reyW8n5GWlxDn6krsJ1GbzSx+hO2L+NnFOdSvkbkekkxZTYH++A12OTGRctUnR2Jis6Cm3sB9jAf8JUhrpc0P5QzuLJPiq8E4QRL0IDNO5aAa3MsDQkVHdBeDRunUS84inpwQfXzXW5Vg+VbxW6DKSLTePn+rIL8O/HmK3sJZBrcQxZp+ruVxKlhLm+7t095uQ3wRI7iBnHuEKnxObLILEJppGD2J5qV1DgzFRoEPJ3fJbNZJmJ7HX8vRiZJw2UxHQk3XVKQGrNoxr0RyNEmfULJb3ZD/RLHFYEWdxYwT3UCYymnd5vtdTEy7Zb+yxQbV4SOLXttHUIbkhQiBkiDErX0iqcjVrMqKyH9JjI72zbA/pVtiznGnmq0+tnhBQAWvlTEp7eGIr6ETvctMI3S/PQ+Mhs/TZ1oTmRpDHS88iYy3LsHbOXd22+Pe1f8J2o42/qKvamHO3h8CQfl5/SoxqXhJ731ZiNIW/JJtjztw8YIfWVQcmBULSjOOWNeljH+5TfIT4W03av8UQWcnsDJIV5ryurJi/QgWnrb+ESTBnz/I6PCgq/WAh3LmeJMVf2C2aJEsZ6HS32Wya6clc66HDUh18dNdjt5qhBurfD7kk0a0ak3U9VbMy1LA3nfbx6xKqMlGNxt+L0J7IbWydfOCTUeQnQ0mZ/NOFlq9JWV/OpeU7UgA2pSTfJ92BzIJG9z8rdkV6aQEezCU+TeaZDlDfiGyffYLJXtL2U3Jxwxq7Yqbkc/0ydM6bCo3NXioi91FgjN4wozePJkZcxkOzuwB8ByUhb2tLdmxCIEI+ie4VJ5tEEajRe9b3sxyIngijcA7gsseC3VA+izd+mSsNgMlSdZxwpFy6PEQ0oGMZM39TQYOAaklNcWdi1aLyCNclRk8kHdAKUTrZMgSrydFu8dNOkSZ6Isg7SKWCa7uGg4vbPXYqzxRIW0tf5f+4cGc9L7etxw5IHrdpATGsVQL8qAYest2WdGEfYrL/bvsFYCHt3sPjavQNDbtZ0IlLF3yPYhjNzYlljHjPqQThHoCB3GWMK8c4q0G73Pix+ouLQhZk9iTO953jsVIbjG1/zPT637U44QcUOZX8d4NGB0XVISJeqVQ972W8gGEJS5gjGzrX5+5Ig8AO+rw3tzDdWZy4jGTozl1CRWB0DK46AV7fRQbFJJdJE0cT0p0YoeOqsVhorPRPqfreMXQvyXKhEMNU8I0UfZKAboW9qE8Fl2Yb2gTVl6IacL8JI0Yw4g0D3K563JUe4HK/hyLSrjOr67duNxk2BNYs/p+4RyHYv2CTQ9LfgWF6VaevOfRs3nWmjhKkcgZpv2Kxu+ioggd4tODh+q+AzZKjbIGzixTZPKGVvDHo5wwyZnx3gn4F3jL3ZvEieRfSUvyCUxVTJcOFrzdvyCTGnPTeGjfryu9UqUoFYFeN8tDgzexAAXN/BjHMm/sR5dQYGUgkodSgX/C+ojgCSs8sZ76YhMcywXhmlAmX7SPtAX+8q/i5Sooia8tlD9u82dP6ppP4AqzubtTrdW0fq315cKHqbsBTvoHNDV9xXMmSqO2Nl5gw+buhZD2GkFEysdGtU78JxLQJWeJfdQ3NbbiNTNWdV8BMwJVHr/+P2zlnNhYRtjy1xSJXJiWaP0bKMgTUXG3BNSCLdO6a5kM6lI6W9QU2UQlQyGEGkf5ggn9yGwNrdrQhUkYYC0rPS1mXP0RuqX09vNS4K1/cWFIivqgKRf8IQiTnvPNq+0AGcixTi+gKpTk2vafZvbugYZTT/ogQQQzNfeiaFMWGVgZbDluMaR5rQmlJvMcPOaBDojyr0/bOZCaeUZg3yoPRXRHooQw7E+XXIYRz6roYsGQRTLPK3rdYXkSMbvbd847ioELbWPz8j4da70aeP6Do1n+rDo7s/+cAS9BydoXOn/YjfTELzjZhFdOg9sYKk/ITb+t7eyxgLAWPaaltnKcCGcuJZdg5Wm9BSgCZ4Nz8QmSXtkR44lCK39BSzzdvEcaPq5RhmwpPDAf4I4VpsuxomI+Z4RJ9VFSQg3Cj7PcCWIHGnKoBGqRpLW0zQKOi+Ww06yPg7ysUmnHehkz1rUqVyIzu6mOV1NTljtiPj9Js2YEQn08IX6+Jlbz/M0J8LQK9Xl0e5joJ/SPPKw98kScDYMt6pkybOKYDq88frkCEJxU7X/rb63WscXtCpaxW1ewwA9EiYscgggstI2iYMpAGSEq19fAHoobiBdiUYuftYozWPBxTEjRm7AA2KJKQZlIiS9Wlh7v8ffTp+S9/3PrlW7EM+Rb88jZo7dCIhpn6ColIqfNmUOTCxAgkW+DLZs5bZYTrHpEEJvNuU57+/0queSueaysad73I9LSn4Fz3fbSYCMenoVT0IYhVVKkrrpG97IFyRIIjVHgXzCrmMzyV+y8y5CSrVvLlsbvVfwo8ClUvgYN/r3D4SLsYAt4u7HEKN/F9qyL3mvqw3/5GB/GZ5UxIbyw/9BiINQD0BAWXpCpj1oGF7C3KoaM2TZEJA1jzysCyIDL4JLzIRkECqY640Y0MhSox9wHFHlASgSLIb3xLMZ78ej2+mHL4v38GHMT8/GaY9VF7dAU/sa75L862PBKfM9uDmo2Zkclt42TKq9Fl0m0/AGTZoZM8xBpmsqFQfB7XMc21i1VYMtNQlqFYcc2P9VSkjkDZOx0/dae9u//cnV850wgBs9TKzBLtFGboHxjD7j6qd77KOLsZ/qj2hcJo7lcJW7pm/X0N4KOMCtAUwQk2muS+0ZpYV5VIj2N2lATPyNrF+l4K1btjLKVtGqiHuuV0uIzpr0zXh1xJtwFbyuPG7ENBwq4pmIW/9KcBlWIJTupZpD8ifsy985PMFJMcJXu6uj8C2N9ZW41aqlEzqhWN/5A4NUnXptbC5JEaNPyS0uG9h0D6LiWF7ClPSxIPxxJzYKcAbXUt5KAflQ4eQNv48f2PFs9ftcIjRGzQI8qMrmO75FO+Ai85kXrjVyTP2lM/icH5WpYfzU/bIRU5TgBXuoSb6LBi41LuzMGlaEec+Bp5EXpR30RZfdAZENGzWbFO3x+hdqhNnIGRf+pub0+ACz4TEIK3G32ISHFn2E7/0bHmzO7+xjLrQu5bddbc4l08Bo98U/qmBuZSKl5cq9FUawin6jlOw9QTQ6ubviHrCCGfhDOWlrHUjOfV3oXuft5O3cOQWmUFp4LMZGSw7PKnZ68YO44Mfo18f1CbnenB1FzQCicm20CdNCbZ6ykoiiBMg5wyn8Atu1oVoV4jJ7Cd7b7MFT0szWbE7XqUUCiTNzCRz8yYv55jY99Hg5WqNQY2ziQhBS9s7lioerl69VoM1D3TtzQo4/lKmEalp+7WqDXOvKp2Ki5+2BX1CZQ8l4DU+6jARHFBtcYJvd2aiwsYeXTVd7YttbrwT53EsE+Z5SJCZA31CbXVcW+s7eeZU8CB7xeE2U6yQkY73gdGZbhnC/ilXz6K5u3+3/X2qirli0jktLbpDnn0ZswBZ3CmUA+XOSsScEjRhX0FU8f0CAKS8cNzs3xJy2s2awk9O/ROEKysD19D6r1QAp4PX1JhkM9JQtcvkAdygOiHAmW077QzSTxifLg1LIXwJDchJhihZYcX2miUc8GtTyO5akw+M0BuEjn8kG+7BrPn/RqYBca+gtzqKDz48otsV7QaWduoSuRu/gYWfWTvbA4znNeTq8BZBf/veZ8ZbRYPMhIz01Vj3ReoHJ2TZ7SXNbHzBdN9moPAEAgno+jBk0sJ9reTfHklMkhJ+7oKpl+OJlbeCfxaqve2ImFAcw/X/X5178Qh/6BSg8ouJdc2l4+k4pq3jk62xvHugxM8C4vi5ZNrHqz7cHVqXl6fuJgeS6Y8YhVb9dFdC8vM7dCTMB1LUkZhXnkDzrWS1QTUxJPfOMA4Bgqj3RH55Hl0eAez+F1crfJLyyeByKvJluBO0XvivbTpUEg/Z10dkw+68guc1umC3u5LCRLzAloRfEaJdmGlx8uJiAW2M/O6Msw8IBsHfNIU33XpxnJVj11ksIIPw1QhaeLNfJCq6g/0fTCR8c6tK1CUAF1ugsOxitnGPLaLxClyhYHpmKcsdyvyccVBN3wLJCEvwFs5Cnbf5lLKbqis+N87ZkzXamGzccIVGNyFBy4Q0l1LFBWlNzlNS++YZnkMvpzZRCoxFS5c+u4MEL7AbA95s6kfMO/rWS8HnWK9THtgZdwDg8L5IPlW/7yyET7p7QCaIBWhxMQIaGkyEkju0Tpogy7Gk7GO9FWzUTwKXc4ElDKhzZRU7AsoTWNyFohUoyuISiOtguuKFtpB+jsirDEQZBeFNAY+13k5zmBDkFpyPxumPBk4KxnUi5kXqALDgcQQFVsfCaXGpW/m9EaSEOvs5eybU3RkqXzuIbYhOyPJAckolxI+rY1zoYte1S2lxwfUu0GuNZMkgyK+Z8dr8TXAvx3nUxt4OeMykW3Ihhp8ehgAan2l8qQYCU5xoQlnbA/lzhVTpPO908PM3f381zjoz/uxyez3kTAVLuDNOVuXXLckro4BgyfDLkbZIpti3PUrtpuaTWduvkled3SPYxng5tC8KjtSrzxAmk8OnzozobOa+4KqgW0OKSdt5Ir59tL3tyRJFYT1kd1MmLgrvvnRr3XTlj8OhlPv3BTC3By4+4pmJxAi01CEHiUUD6uUH13LOyWSw+5Z7uWSYaNtvSKO9ftTe9PH0ULtwk9WyxuCqUWYV2oR3HNyk9rhLZhVm4laXzROFUvWmDkAW6/d7doqr9qJkwI687RSjh/4y0/CXzGwmiKWq0Vje0hqZLB460yK4B5Gp1B926K3hLnhHQovnuNaumgwvf6PugvVKkjUXvHf3jUk7jxWF7ksUtCxC4x5ugTOLRM3x0ONukypzn1eCf47qNucJvE7iejrQ3tHdZMlp3P/mRLSoUnVc6a1EX/ivpN85w/TFfI6RNCqpg145Hdf+xH9W9idNCj257bERuCFV90yxxy5mMydq3hIovePpxfUhsYOMOlAq1rwPvhRQ4UWXMNcRUCymg5RNNHK8Sl040kmiAMMF+iCj0RARaIAXl9AxI+8uUObTq/zM8NTeAtTskOXOvSvkeBP/KHxF+SMRSwHcA4XEiUPOiJt6mVWaaxzt4mHBsvKRY7fWneXJsBLiviqiCTPD9WC5S3YAWMtYiQU7AClzeUSwag8pTNZzP9HFDjFvM53IUcXSjHLkb6L4keqy29Z+gxmnGvczK8YsSZpP52LTtSbSwkEea/gf98yXJYWy18BXx+SsAQW7q6FDsyATETZZgkR3ZJSl1RzM8zrh3Aw1qaBmvJ82ERvr9t47HnHfXefttnP9Spf8jm0JZP7ibPF88UKwT2u42zE1aqhlqMXIjJmhptKhkj/UBuUKhL70EXi1qQiuY+GeiMJXKk4bwSS9c+Wtg0iIsIzhXJq1euIj4dkZHBf7e80hPaVGK7aycmn1s5cQ39V16VIzwdTxCQFm5Esg66nXsfUekuFTcvOIeUTx3qP1iy66lifcX/W0CB+UZYrP1yT2j0YOihM9qMYuvtvoc4x2hDVWkZHgssMOJZJ/JIkz0q1GC4SpM22DwWk0hJogbCbsxBmjVla8USm8RSEPN37bKDyc2Jd76zpNQ6BRMz56xscPjQVroJWRjWc9NXJxyCqwN+5XqPzGNYxgmim9na7bTtsphCafirfDgaSoNe1xWLql4E3tSNHgcQVveOjJsJspUEJJaZM1LYEIeT18UR3xZo6fe6tMZUJyA68RxAOHrU2xvd4qDAC7y5PqQXHlP0D+z6xS/9Vq9GcSrrzoxqPB8Uf60vzoZ1wYeCUwsJltAWu7V3JT9aN6zqpsSp+yumbKqVG7guxEyhortw+8ejgBYU6c5drR9sqVSPwtBpvyDuoaa80QZZjfIFQFtwJAIoLS3Y4enlpQq3rJmFbt3ahqjXZMy3KinhM8/HCN6vH63VVKwaFNlVsJ1D/zQMdC7aamUXduD+apn2Kppf4GZiN3oM3jw43RHsXMyH4QJddSIKYMzZ52/FapQ/5okl1lQMGlUARpMeFXHVxtHjceuSqSMWvkhGbaYVS3RTxIoLnRdyLxwXcbVJZZcuc1NIZQuy5wiHd/648WRkRUn+j+sjtgWix4ElzJaT67TG59O254VBqDMel7oEKXtzMPos1f9WMqSjhEH7CCWQ3lVm1xU6XpNO8BYO53RCXwF0D7dX7K7fZ83H0LM1PxwhVOwSVkE1QFTRe7s3R0CgkjJL8NGpXrKIYF1cNTier5oIGAs7QVk4wX89TOGX6jsOg0xTlPmEq3ObDvVrDW+aQFxaYA7pOYSMbmI3OpS6/Jl8OgyYvoA4AvD1Aw/YK/Jx0Z0+Vmz8D/aQyCNMefrrQOI917FW+7jqMujeP0zjhKsADzbLFWkWC2Kmhhk6dhyvT3cfUkIEIplnLSlBFoRDpenvOxdFrJv0TwNwhbNm47o1gHhyfeatm8QcxFsWKKkXum8rrEjVuqMTxlZupGFtFOwqDiN+e7RvIBAqnLk+coS+Xef8nTkDGeZYdmo/Mm+/UNhPNuLc/4wnDT1QBbtz15jIO6Z7JQCp4z7XQhc6pE8gzBN231P5T6/CWNFT4ZjmhRAQAeLZYBH5r5trNHXgKkGCUVDxhYcPWHc0GB3OzG5HWl2pVuqdUrci+2lJZvUGhv2wrBzVHfI5/oGPnESL2Xg+6680eUjYYP3yJAmbWXVRi5mJZlTfCyzN6uOawYOx/wPscx2lmgl6REKzHOSqQ6Uh8g7WFbEpDbXwemL6TF1stuQtsnxNUzlzrnphZkjPKhBVCKHJomK9I2k1lxJHkPFWrk1HH8OjwZ+0r//lmZ8n8GxNswnNeEuBVL0rcWeNEhft7iE2NJtpU05BjFIlfFIvYlIM95oAP60mYt3HR//jq1zIvlpjeune+/8+3vBVv6I7Vu81Cuyn+swxeNhJmUfSNo91w4S079qcQJSXAa231Ygk1H4hIEZnFPe+075pUh8BXgh/eCM6Rb7IpJqYwCrhHpLM4r6RWRF23jidrfGjN6pK51FI/0yDivnz4bBQOg/4fDvKcckGgQbbtqkux0djO1bfmlzB0W2MAAd6n1CSNqmWkMWfcVmG9ZYtR+PRe15lkUZ8aeNHy7MZrlt03meOWopn1OkrwygO1tbkY/JP6hhG1FCcFUdr2dvqtYEa7O/7bqlgY37lzRMV+KvcK7vVpuwMffJ9xXUndf+x0jtYq/uRQ7cqDyGbNvqwSE41j2NseBbRYySEY2DfCmbwLGS7lpCRJTjGyoKWQwxLjUvLFkQmexYDm+6KYHY3YholE23lNP1MzcESpYMyVx6B9t5GaXh48DH9bm8xJK6IaipmFcqrVkwUfK+ryRPP+KpTdknbJ2SM99gYlees4+t/4mpZqcDNtU/USF9BEqovXafBlDZ2dKKcOiX8+HAUsARFSKch6CG1iHca01+cPFoPmvtFdvL4G3PQwBvFp0gjH6za9MLvx8+ka+l780NiIl9b5+9uEelnEeWm/MEb0um+1B4k3vvXrIlzDEcdkIOTfrwGvFEYjwP7mXHpUeR4bQJjNi1tRf2OjW84zH3+gyt7gY1Q8kh5oOWhFQ4rlZor/yTtx0uyrL8pz6aX4Lu6gZN7c4L37xePGl/Z6DANMhRoEU8W8yEaYMsE9uypfwBqG/0ev2ddCDUDS3Uke169DkwntpSRpWCZCbC3oaAJ0wrggJCylDU8ZKzzvEgz+pcn2XQ5CE78avmsEaV+zudpRAc5+i0+wKAKdpUcHBWWtlPnyH28gN1lIOFe6H/e+GpSP+ZV8JhEfd1Ay8MBxUIOgBhoGDxncrflDqw68aZCSL7sbUsrGRyOroGgFqNdOqSpnCoUntxC41hTrctDhEHtRsOYFWfHxc4o+aDKaiBL834jn+W+Y0I1GfaNCCoF5oIYVfyGtxcG5LwR47LhtLkVwPDXHna+FWgRC0SBlfVXsueBi7b7ZQDYL6bTl7cHPICwkNEZFh13YlQvuMfslsmRAnCJoCaVB2VDSAeNWDOrPjr/tlprzg3Rz2tgtGNU0RXrV4ydGQPIPGjfaIP2YCXy4a/tA/lsoztlhC6VXWDQva9TNp6a1C0JSRaOJtKvGV4mQAlI7LBorIcJqvjJTBsviywU1Lj+N2EgZqi2CJvRUKFnS0oqT+MklG5LjZK5e5DW0AfW67QWaJrasCzQTifK/5Y7p+WIhiSrpCMeV7NzOzLzuAXDPnf/akcey4srpUVt1kf9Ls/TGG6W7LHFeXnu0cbml68Ww31wh0ybZzf6QPCSBY6GczsvdU6ACWWmpM96NEuIU3tj1a++jNcdPecMw9s8bUyrhfh0guAmD+btRWptW7wlLJuOuGu0c0NPYutlnzVyN0IE5uQh+y/0pnAZ/EU9dqKNZZzH37+0Vdwj1wJ0BpL90fBG+KvRq1XOxeVLnjaGpO1lltOXyqPtYjTx2o7IHQX33sR484WwkFFxTzIcbfNYr3cBwC80hOiCvospavPNTG/JJ8IS+WgjO9ptLgr14ReaHxXXT5OVb8O55B9h+w16dWTs2X4e40XOcZIjTjCSHH/d32woYOOH8hxwm5pHYMX5tKjRku8z3pVWcqmwKQSeRXj+n44EbJfm4yiWdwvmw+lPOGQeZt3S75MWvBMVVYMPbY3+zFG5QrAfzvgHYZ4P+fYw+ay/c7EZtg4K6XqQzUjMIZw9Qh9hM6kB8E4kTT8Oc16ILFysGMooWXUDfCm1nDjJFcKAktZ+KZzRwgQKSgTGiy4o5jK9P0KRRg2D3wEc7PCnAa7Ay5warRY/hE44zxzmfhG6Yq2zi0cYRz8ekMeDPqPfeASWJTF757oZPGL5160fuplERMl/L/XYbaD9iaz3H3izLRvPmGZxWp1AZ1IxF2TGxA9rmoBS/x/7eeyg+7hEAuInzLvKnwbF/HKT/jrijB656shtGYADkvNkZfYIkLnLZAy8G8j6f8+6gWSGwn7Ym3UDcOVmRhBVpn9HclQrj8FomnRpxLSGpr0j4Y7NN+WRKiBzmO9pGnnea2/wqWgVWNbfAxKgclQC5NV0l0PqXqhijL3GK+VSGcEO1wJrmLrApjDDymDQNBShTtCErdabuWkCVJeeFqqBQX5ESDXCHj49KWKK9Ky94tJdULJfUf+Mp/d2XM2CerpaVQW0uxEQHTrxFnzC+7ZDtQ70+E7dFlZcYFoyYYNb7Q+/FXBEPF0MzuRf30QafV4q3jPWXFOQW8JMdP4PxiFxbygZxuGNLBFMEri2HVyAMWO/xK6G4J//OCSkScmecbjDL7hpc4m//63W6drfzjKCrtrbQkJdCWOX9CrWJHFTydFv0WL2heQoZWT9Jmmx7VKZap29W+Vo+l1jSrfNPUmjnp+U6QYVlTKoF7tT09AEsUilFVS7J5u0Dg5VdJp+pofbOvXeT1mSlN6dMCt3Rv+BovALW5O5J4vMc6rAEtFLU4KCsdJpKD98QZb5b7+ntqfNsH5kSqYjcrmv5jJ/l03sAnC+4WrkaPJE7BSWM1sL/67Zk94OwH/nktP8GuP4rgQoYTHRNBB10Xa01hIkC1KAJ8rn5NTyntN+xIWCzl2+LUeALLQSRQMv1dMol1KAhOmZaepclEA9F0BiYRWoh04ayVAlARd+wlz+8Gf8OK3/AHD469FUzFKBlgNj9dx2XaMVpzICauGtg6Q44f5jKWOjGIRo6Pt48apXJ9mva9SCHp8ra7fcO+8R0NFVYBC90rO3yvTdrcx3RVBCzXS7yCBcNxso63ly1NBRcWvSVqjldbBbwUpHIEYed9H6Q5Om4Agt7KtF29Vm9FeLpOSQ9fYmk4REJY+/2ocXe+5W4mB4fMG2ysYg6cl51TnnYg8H8FCYYdgUJaP6KVkLawJx8bBvn25tA5K22I40Tv984p+aclSjWEQWRAzoKZKimRN8Qp7xrks8f7h2hX9Ai6JwQ7OIIBDNBdjmXc/yK5LLztAJEOWA8V8gDKOobSIDptv6oPOhffQvpWoAjdipLEmhWBkneSheq7Bn4zXWBR1X1V39rAwBEy0fZJ8HNHXODaKqZavzw0HPJwpfJO8W17AnvBxBQxOZunN53Q4Hedwh3ug5sbn9vd6HFW8PARSqdpxGHankj6RnekoF9NJBSGvZF68cAO5+Uh3XFeGEdQeuOctS1chvMZa5yKbQL2UdY+gD+KpuBIKNluUm9LUIxsQLiRGSqqbxCxbshsyn14vOowl4Y6/uAnx8VvoZ++l+9C3fh65nwHX0XEBJv29hhut+TQOplsG57E+I3nR9uA+1iYo2h/YeuFg9PBwHEq05Kc16r3uSiOGJkcfn9Go3caHmE7Nimu81JEU0iMahHRUHbE6z/tvyX4b6JWuVbn5GkcxgeCFdkDawseh/Rbg6CJLCbaoKCWq0q058QYq4ZjcwPxVxiqqC+tfb+OmOspEyZ8fs50c2AFlaznvadRx+KdeO9o8UuPaRDbIj86H0f05+T74BHL8prPHkiiJfy3/SRxIqxrUvEb4mWa1FW089XsllGxX2FwCSJ2GewZZ1gP+FvBAjLu5KWDTVTdmAXHbSnWKqVy3xhuwm1W460RTVEnpswEFlaQr/Fg47uSH7oZTLB1ovUdpGQVEZpLAC2kBNl5n5nTkAfoSUUTudJBNPvAbvL2qY6yx0X+wbaG3DxVAQvp6loATyDODTCwXudG6N7u94o2JnX0F7h5D24sWQ5ZgNbYR59+vXCw7G9vBfeA/sha5taRByNJklu8+OiR/79VfDCl47i6cjnlg0Kzoxd6XdByvKl1Cq5s07wr+ZxnJgHJTOWyeZAPlJ1pnTVBJcNVLoMTnj2MLx73VPwpslQfXioOzVjeHj6giEAFVhp7Gidb2aVdiYSlvrtgcV4DUYOeXkvLmwL955DenSXoIA4gsWMFyWLjLROVN36QtaFNbbc8VeCb4yFplC0mwEYwOxlwkcTrvbQxZydeqjoVUwjWzwAbs8+h/zgZjq8tCyTcSV3yGaSriZ58Ot3JMpG0n9ZS+HastCh+/GGf7JWCrAGmffW1YFH2UcO64rda60b4RV51qyQx9HYIdlA+RRKNPFRoYfpzBs/zDlNMt587Nqr+UQUMJJSxCAHVh7Uvy9CvjQiJwrZjVoyqcwmZrKwARspBoxgaKm0rNKOliqAt8u5IFHOmHyfIgnOia3QCm+Q33i8yrgcr7XxnMNyakzBm1aPkEXvnGVHpBM8IOHIwPYArZJ6IVB3SNUOsr6l7Q9qtZMN0isusJAoJS7LWVK0U8KKZBe/ncTT/vUxNP/5X9kqWdLk+g5gL3/2suC6jK+p7oW6dGIM4UXfdb37mi56ARBnfj52WE+p3dP513GPUVCvmO94QLlw8nBs2hevbJOwGmg5wiM44BdoZkuoD5h4DPZSil6+KlpioZdFGS3w4nUIM5xpwZsPKMzJCr/vxg4RHza+znUJLilG3d4+nn5toCDxJ/Ypv+4l/FMeGovLSWgp5iieISX9mRNP932P09SMcdTPS5lGy8nrFvr9WrqX9xKQKALcBiAs5wSmHt0dqnGm2LdnJ/3RTlucXj0NDVWwoVetNMDseeYIIli3lYQookLf3DkEyLQ2UpnRsHLPj6A0dZj1E3/Ipx53GJBpQ4qCaScz//mhVro7MxDO5EvpigW9Q52YiDyCVCcxPad+Cwy5CIdWKhuByvu0qnJKjHH+VaX3uFCYFfHcb8XqgafTXVrGEcuxZOjeTCwe0N7I1tQMWpLhPkuzFnpwOmkgb4H7SEKELMvfQirIDPrIVY6GGgpozntKSgmhKHHd2gCl2rRN/ywrfnJQ56hP8t+poF90HT7FrYCCe5LEKbEUE16irMBTnUlf+7sWyGNPbo44NqOkFiuAqOKr1LgIiitGvJt85zzeT4NTA6nMOLqm1JKrOc+v3wP8mhP4KO7poYwNxDR4xjiyQ9ygAZRM4qrAy9XdeezTJUrq3ze4yqjX3RMaWP626JRA89sERNyA7/+dhOcq5/wFE+dMQMjLdjCS1/KXG+oNMQDIX5obnWnmaNPqLHt0cUHI1DYgdHKfB9T3R1gMUpLll2xFS5o9QND3fL9NrCzQWcwukM2m/G9/I6TiyFYay/OfieloRNK6DXPy8HjSmEIjQB509pAjYu56IgCo3wwIcMlF5xmacJjL5in8YbwrcNlW+SAwc7qFYLBR2IAqG/pSQdVAvnl6x8AN6nKbT2a2eelQDqHn2yLCW+wAfEnwTPmSg167WVvhksBILwBOlMNB7wt+p0MfetYk1soCU5XcXyow/uAv4cZV6aoWgeZX9kqPzM09t4qXBU9pymuKkn6ry+5ICYa0z8Bojccj4/8jDLTpnIqHUTNw74T+KwjScy4U+hB3DMCglXqPbgRTMoGH2QCuYJUPl5ZEl1Vg3c4mK8D1xHTPG3smwUB53hYXNyWf4t3bGEQoqL5Y5mDvdli58FzkO0Aw48EoKTvW+AjIIQXqOInXyoEBR3zEqTRH2tR1FXZBPgi+Roupt8h9BmmLDsC/I3ECHAfYDr/LNyL6mCcYWpRV3IaHGxZXIG1V/ISD/pOsgH8Coz7mx1dBtWkc70toMqvz6rxWKV/WVs0WCHvzCo5JmTAd+A/JMbrYV6tlFiGr+xdDjcVWnYVkBub6IUXdxRwy0b8BbaHrk2N3YTpnN5KkkzBeyTTFQ7WH4nqm0yH/ElwMDkjuxXjndf/uXFx1pIsXzo8eBD4p1cbarFUYK9CVc34z9xiaxLUQxnvTag1y5L8kSVb4MM5MoyqKmYh7LVWcRkKIcVOaRXIcxzOj5Lrp0h5i5FAT6xgQrR5dWK7y/2wMvzQowkcQ817blPOliOF5O0uN54j2aTUFgY8vLLCa0xSfMsA0P63pD6g+ubx8g5kccDXIlYWfuYIguBuc+O5klQNr6vlMf+IX1Hm0gIsJxo5kLNIGLda01u4XY2TJQ0zSkiM/FKx6RWyIpJf5HRnDR0uckgu04WmFb0YDqb51+OiHPpxNioA5r3CuTiUJ4OhJHL4y9LKrRsFDhQ8mKYwleZn7bWOPnGLXh0lyLQidbcj3hhLAIM+X/m4fK0t7DsJ1Bk/AkOLRlrvLybGB+oAJUHcQxEWD49Raf01ggJElI1ERK/7dgAvTnIWHLKN86OdobiGsJZczPfcgmU60HDZBieKPJcUME+RUpag2kDdOq/exqKzhRHfEp7vD439WfcQrUXP9zHI6GvGOsENwm0+KjbgnScNeEmZSJPsgGSMgr28Mh8NWyfMwnS5I7nGAL+lAo58Tf3G/C9jWqDhhj1gvj3bhz/qsiexH/W7heL7a6OVueFa+IZH8ZXEwOXnRpLF7OHvEnhguLHQbanFCDIRukdTdpWdE23m5u1P3514Uy240muTRqoFMq+27VitYLIoN334wDNZS1N7VidFOLtXDkxx47tYj0VgqwqD+DcLnOArJ9U/XWA2VjQoOiuSqFDv8Ls4Q+0J5r/xOkkFi8pnl9faNH+dilr2XJ8sWJ5Ik/9ESzxn1xI/+GPWgdwA+mOxu01PJ3GI90LED1v/ZNzQoKTUHPsjt+tY0KI+Q3bC7oMuqFRbMJG85K7IHISvzF0rnK5XhRhZCfXrV8SOrrPnyElLdV9F4su1iG9Py6si8eVGGTPQTB6QNnOuCu+e1+nao7TbgLqA6OR6zxPvEjUnd81yxw7FkIAhE7Iajw+0cRw2MA/zbj559ZB2SBEfcY/+fwBJ7ITvSSLKywbUwsaMmjAZpQ5zmiySuwRTzeXphOwYWZpw3RrMEax9AXSMBAm06GVBkxHKUx3wozj+qe6xu79jtme9e7ChfV0fbyzoQ3VzzoyUTv+tTC6TOhHS2CRcdkNsw/T7sSI0T139iST9cqugO7knKSqYEtP17WHy8zw/mNM9DaFGopg+QoKfN4sS7Zb/YuRlr53Ry+P9gvil23F0i7zzMg3CrZY3MI4cC6clynJiCZdqgr+L1BcRsCrfqpJ41k22qCkyihkn4MR4hgwy5U8DlEia2xSc4PDp8AiuxLvrsnsh+6IuWJBbA/n/XIqRmEy+0arxMLq5FxBivMMlaG0TnVlWnNb0B1u6w9ZWdprTVfzhS+MUKCipgKnA4Qlg3HO5AEG8/UAaHWla39ZQXdtbFFBtBEFIqTbjrptxJnYJRff7iX6M3GuiF/mznZdZFY9vAjAmAekUABsoZEEtqQVEHjzc6lqzQwiq11HVfwdxWhs8YW+YTlupoIpBFM1tkUYDqUIeFF5eFgIIqqDTxFCly/4Wu8lTKqzUrLF1D2MmGXMmQ9lSI6Hn3uk5WmgNvriizWQySb9+jfke4Jx+0vXEfgBmq4Qgzbw7OkOID/fyU/ryv2hvp/4A/tDpJIDvTXTIsos2RQM8FigenLlHF3hN9g1Wckf/MHelH/CeUx0xmr+GPFIFTPhK5nVEAOrJzrJ/TUIqc9XHT55R4K0v3BRaZxT50XttI7ryBFDPhO4A9r48MQhVG14J5gicF9G20JbngHAJBX8W7CWxWx2PkdlGwfMckgZktAO+ZHH+gWFTFn+mTfWzyRonvIdU4dFLVMCgl16jqscqQHYzzn5kljwnJpoFejHCUYXu/waI+//CwCawSW+/U23LBPc5lC/iYR4Uour/7xpMXgg0tlIOlYuir8sJsBaOcBCyctDxzDGo2sf7UnljYfU87eau6WvGzmwdaaTnTCh0MNWH89u1xYA0L7iOG2lFLWWO9D6RJHxfDJfgk0Oz8dc6pzkowttI918lGeaOhLDNC+N9O+//JBQBsKGkFkLWloyu845vuiSvj7SMxWu7tdx9VJj4NA0VwMgGgA3v8jnv6Q3aMtYeDvTub5Zskgs6vsQZazWW6kGBswuMI8nL3vsOH6z5uKUwfK/eUG9W0PbdUot5WcTvJ0/DeEgdE9KP/vzG5bg5vhjqftF4cPdZNk9Y3bFGkFMwFn9WjJ9kxQPGuS/JXMz4a6MdjBFJyzLL7+tKVnARKsettG2BEMCKej8mCzkHrLJ7hErilZdDM0SYHR2L8MUolecECSd9ZZBZvqQjc6L9L0pMTPgv83dKCZThNRLVT8txuOnYfBTdxeG3amGyR2h59aabsBZ4PRXaBNwUFf35Fa8ukGftNVitm9ojTkDkTwpw7PKuYXlGEl/0AL4SjF+/WHsyR5EdV6NIuWzRTGTgDHRipQ8gP3OG2OpdkQOPOf0l2VP2Sbvs9cFwe6KO1RJn3jesHD8UfKnRER6mYgmQKtgXoMngVSVIhN6tMg9tFXF76XLu+7NfSyDEUVjX+YnTplvAQMDmxg0rClBEVLbSpCmeqhO2E5DzdKQ9Mmjt5Vq/QOtDAB8bG7Bkk/VNCK0Qm4atBswHnxLxhCilgLpEfAJxOmS2YyIS8wG5lBQO094I54fXm5GrDEL3MIuEgh4nsZqNgAzE+SwVqczT/EoHA+/2k3+so1RpRSAfmlGurWqWsjZ82qJCbN8cdKdweIZK/hwaF6Xin+OhiMESkRHRG7xYlbF/734J5VxcLwI7bCOOCr53ZdDV8pbyguHw9N/GvnpVtoqaFZpdDwrCLGXjA9158R1TctBa43aqEFOeOxiRXPpG24NNl8524PaTLYRDXfnFvn7CrInVd5Hn9BXtPRCv4ibozNS+umXJC4dfrxL0Vu5H4nfg/g6ugo4UGsU0auwH63T0OMQGc7ibfw86ZoUQXbOBUjMV/kZdchOywjYjf/W7yMAzQtZzad+/wF6AYssNjon5VLX0ZSqFqPRauXiWSlyIEx5kaaZGDH0HdZjhpcGI8ZFe+Q/nQGHjyAPjfV0RkAl+3oMEOQs2aYeMgMGeq9vEqgOiS8IN4GvhrPnyDC4p2mQWzl49jVCnZHWmwy4Rd2n420q3oPViSkLCrQx7eAQHJvl0y/w3gJqSkOYFRBS7LHRNsekkBoDhRhr5HNVV0jRuDfIq9gF6lx4tMrQ+uxjAxyeJG8cbxb1D1gyT3Phojf7pUbGfugBmORAoiz5wrYDNOl105LgZfYL0TUIMBxEcUXDUFKsrVeemEHBngwgNtpVkQLiq3VP6sHjiDHLA2LReZWBr77hvwcpVlC05yEZEvcCIgzaZqAAY1IDAR3xIJH8/arLOSoS82tRh3P3xrAVo0/iEDukwfCWO9o4xca/SGxVNjo8J8X4rd3JR60Cg3B/EQN4anGGEjonhnbUHInXQsxtTcDICf+SpYg5hNaSX6UZXG5tq9vpK8bC4IRCDwdgPdBd5HEuf8absoC6hGWwJEcZc/BFZ+BTO1VOCBOgi7ks04isFvpU6wB8rLszUz2ECo51mcLwjDxvXp2SyRZJjS3KpMSh5OFhThTCrb/ncENusnOUR8SGseHjKxYKsw/UDN6qJJt2EYVqlO6XCpT8qf/pmNVU2ElND+VqtRHfZmdcWW+X65NLgVhL+fQmrFqi6QNY1Cvgp1dDIuTrdwgvRNPagNvbDpq89Q6RJ6U6JD9K3o0NQ/CbmAqUGWMYA7dsli1C4lRmmvtvUbGOxBL3u35I7T+M4mnpAarA63tF9tcgF5mmhlyl+r+t3pz7C5UTBJixmvZ9RIPUfOeaDwIfMlDlyFuMfEkq414MhtC6sPAlGMIn/TMx/QHRDJ+v89CfVGElYFNWt3qm8d0wpxWbiXlZlJ0rpmMbD2dlwWtke2lBmIRNEWgemYAIAzOEeKkFDxIVD3c3BZB2W/Ua9VGDo86PQU8899w6sSWTkoqx9AM4f+QbT1jqjlWfHqtYwLemILRhs6vIZcD0nxUT0JwT/7xeBvxPDhz9l23nttGeUBPBk0QQInQsLl4vndtnCDF65AcbLViPpzZu4Scg7C7MfunZ2m1kojpvOoh570C4n/qmjBXaHQbGGxCNtp+ACQ0u5EX0gdS2ReM8y1GuXwE6gQFC8Uc+kUrYKR//QLmI+2Lojo/w9TYmMgrO2aBViFLzWngV0vO9Khg9quJS13K4fx14Rc3akgfJMJ/mJSU/17NZU3npnAOOnu6lUR8UQUZSndwoIAXmj+aH1/DmcdRh1Ipmu1XD+Kpc32p57Bx/sJPK6iH8dpJhwuTzrmthuhtSMpokU8f9Ckg2KNfkeV2j9erMX4X9TQlPCNDZRxmq14n1+U7AqUQmpn0yS9DSCnnbQAo6AuBRx6WnA1nyTbSFYnIBOem5WeyZ827lpTohRan1MsQf7qW2uo/iiqepaTEy0SyuVVVegfEvFh0yGSSEiIYU5bcp42vEk3OCy7taSh+juKfC1xaQ8HcR6fRJrYsdmfQifjOiXa9i6KR+pyJjYtRcvL4vt2pU/WNRzq2w4fNongfRGUTSpseLr9W82LaWPKYDW/M97uoHXwlmFeWPIQOXqVuc6M60nzyG6CqN84zERBgqK5HxYkGq0M/97hLnuDI8hvWVPfZgnMt6OUwJHWveHnrXtBuloNRGe4B2HQZWfFeBIr0Y/N4BcN4AQTl14Ohg1iVFV9oTJIvfVm2GCO20NIrQvaAOMtzuqLkucCtcGWKGq6LzAdvkzanzSvSfGaNP//5uonxZvz/iObjDELqS1O9mJgB8P+bfXnP6J8+mvZjLDCKDWronJj4+8oP7jSzkETWnABF9sIsYTL3SSS9khP5B+URDKUot6zBZVcxS8kOpxnjPI+j0Kf0J+QohIN0fmSlfjYOvG/Auyhx6KVfSCZaVMHrrfM0vLOfCzgwzSRcd/rCOPzLTVKE2c9YscbBK/YNLOU5AbcdlKAZWfOLjWPg+VlTlNZNZElAwty/OqQ7P8xavij3BHzDAnm8suAqt6rWlokQy1jEQPvz1ry86iWBnPOwnsI0Z9W0NNXMXVgPC4U2ys0aW4dL+F0ctliGaTEGC4/HQx4E/kCkw1/d3oJwdMfTdiTbSJ2/6RcBAY1r2BHCdhRxfMDk3YAUFtLTGmmiwiUNOkkjnrAlMhZj0Fu2HBOWpEvc9NCOq0zFp/8yEPL61yC/YTXs+SLb1aQx9HNDyOFuo605dsDQ5LgfkowqXFukODELszmpOiJSen5CUTFRzJMRg9VjjxW7/5C0FoYATxIGqu9TWFgrszxTKx8oYFk3fJdrFddN2O1V6RtgOxcT6p+N2Kxnx83x4UGY7k1jsay7o/825UsoSa1wJOa4qQDxWr54VrZMO5UxkttUqRZqHqzxu6Zewhb1W50ohzfcjp8f4Px/AReBKyHGKUiwTnBMsp2KUgk/sJhhujaJ1tTbPOYdJy6iUfKfMYskjNAnRotUFuTtbJ9tUCJQAL2HrYn7F+nn33BH7xO/KfiCOdd43m8asJm4TX+sjEcahXV3RcDPwo4VX6ianKskdXKWOFHLoQSUPFrafx6FGgSUhatQpDZdWMJgkIVGEDhFdvgS0+KiyFkT9X/A3ywuR8fClvWTUmxTkIyCKlOEk7LUdHIJWY0BUaTO3NNkxwKGvRFbFt38O933KTrBA+CyOag2gOc5IXwbFTT02FXsfuC/l6VCqsoTwRRDeZ1GEjhmKIPXtTwU8lgEdw4EdRH44Y7V2IBcJ0Mn59DE8W4ImcQfQhVlWUNU/qR9i6yzMEpuz/laZBnh/BlROMv7CwJ4rTBHaTJ1AD2Xk/MskZLOJ0JmneOayB+T9uYonEPyAlncXINA+dOfyLAHzx1X7ppOrbqUwK4ktgziZm7N1OuAXpeRDvfBHzGamZDebK6avpvmP69CKet/Zs9aVGQ6JTbWmof78R5GTkjzBWphZCqkY4+fFz3mmPSyF8Gaj2kdoPhXUPuW8MpQzg5gaaOAQwTf8T9nwomPzdQYLb3hDgM11tyLnk2VB2RmKRB1NkcjsTK9NsixZqPbrEAziLDQbgg+2ydxtPQFt51dwRKJ7pJQ9xE/5bOsMufrFE9Tc0ToUYO+8VrydMQXods3CTKhQWj5nGv5R+joRozUQHISNfH5HBYuMM3jhhre84KHGijKz1X63rqr2EcR/R3CTMt5F8bz4hgH0ucJCGR6HfG0ieC+8FhnJiel788Q/YkyTIhgJNRmVncBwI1Iup66C62q8CXDIyujm8X4Lb1101QBRFHII7N6UFhl44Ah02vF0fT+j+DKNEtZfXp7uuiywvPQCoO0cFIzGTtgG/tE4g1FrU7YZa82hkLruFIeVthbYdr1DzvzcwYj2eqV99Qy6C+MI8TVQ5oQkNm22UpK5eQJActR7nnCP9FsGFTiVas1QHXGTMRv5zCPrL4VUvEajOtUwgjAG0CadGpW67PyB9fjLI+4olnEUu7KRMbiG5hLpaBcC8dqxz4chyP0H4eiR+xh6sxR8nUBHT6JgiVvcAgr8ZfaD3k2sMQaWFa45qMq3C5XRMP1ElhkDJEEH+9qD5HHepCSRv4BrQ5uRBe/WyT/yiOn+nqZSpWMc8ERREzSI0kTXBt8wdLrvLJC/Bd1V+Grp9Zh4UbpwXd7xPD1eEIeDqRnjMYaKr/ReSc/g9I/C4QbG/Y85PrtOWXnryzOByMF0bpPlQ3nZZTz9wkqfNHksiKWalfXflp+/lPQb20jh2hgP1n747VMMLaLtiHD0QoR81VCHSfk8Mdg7gyplQg2wUeXr9ucsSX7GWMZiubG7qeHig6HuiGOHqQeiXdf+x/Xslyr/7RdnxEyHLJaZle6YD9b2Lm/vEgOLrE+OUh26uVcoDhO/3C1bk2WFjGYIWKHVqSAxOxlP1Szq3Q4GOfPp0smvfmnWXTmsG9TvpmXGCOlQ4xgcMgV1/fH99qw2a4aMnJk2tO2k6DOTKPnfmCq9nw1/zBLRjuLKwHZOQuH7nVbYsZ2LtbUlx4ceW8vrx/6iX2p4q3egEpCvYLcMDyCo2WSN3ArLn+8v+mnl1DYhuBpy/EiIqs48XA6g6mqbYexsTyRiPoGrRR6L++w9Ep5SjMJMMB4viE7iw0RshmT3QKCGFZdRA9PBCnLmyjd7CvqihEwX3r0S+B7Dwq7UI4YHDAyxLLR3b9vo3SbJz6SnNh3rhrDHf9IYUT+D/Skd6WNhAHuhu5xE5c8bevRqCxNs0Jn5937djPAudd2xVsSg/1e/3p9NW13bbcbVtpnIb2YSyunLLJ6UPV4AbG1q2EkHdp8rpfvWwAGnLMknVMM6tjrrIATG1tb6bOnLGVenqzWFuokDOU8YUhudhvcYvwTK4TKBbn7TlbzuPbhD+UUOcIhL/99kJsBhqJiI/f0B/30IoAM15TDNNCpxenIBTKWAcwBkHkFSkgtePppybFVo/X4Dm1QoMIQH+4A3k4avTSUvrKpLBEobY6Yqz7uz9Rg/PbjtCOi6FZH83FOu7UM642LTkjFPMAarmWNuqbguxYeVr07ERdlEu16DQHu2h/9GjgAqWOxEleQ1JfpvMzXoNr9kpLW7ShAF2GNus/TaTwr0bC1qsfmuFukxhTGeu2o4B4MVDS9OHYcvLSMmle/pSzygxAZDwIcIJW2BHJuR51I3NUWZYKp1r+pxFRYm+SLu3UnQ+IX2Uerx6q/Bew4L+iM9H8cRPLGCC6v0Or+G+S5+pbm1NApuAzmR/LH72DFB7jgrFknX3BiP3EE67VngKAwCIN86pFFJAZ7/MkCDE5s08amjFq6FqUoDB46sAwopJW6jsQfkvvZ6xKuCOd+jzTmG3MJqllf2Ne375CipXt1Z30V03ZDV8VGzv6j+4r6t0FGpoXIS6+3/obkSzw78UfzB8zvWer9B5ZE2Zpg0FrdrkgGu3XDSBYnaxdokTVl8E4/uc465N3CiUew8ySXsztREvDdM5O3TrLqbgpgqrSho0v5kGwsACfF0IC2SXdiF26G2DBCz4EyzJ/33PLT8BEGFhrqvhgtzlDqqh+Y16c90S9GmHtbCx1J8Wp7+KgzRG1gk6FzFydZSMQBt2BOZDqqMXMFiN3krUQXKSbUYM6Qs62xnG+wMNQAeS8lzsw5pDQy29ldIzuy8YznKnavubIDFsaripceJZuDWomFmixxLXopouu+Kck9vbrDvVqH+uHVm2ieKl/gkVtYZJ8nvLwNFx8coWa5AhKmI0A1NnjYlm7B13WATakgg1/m/E6FIq+9S5O7NJzWoZMIkrZCdYdqPIGEV7GslrfzASUMiojNyOXj0yiOewFViOPZbYXtxGV/1I+Jr+ri5+ymAmJH5cyEtBb2MJdsEm2uHFA9MFazwrbyMb1zGX/d4OsoO6xdSU/JDDM/8JROXkl0XL536CJrzFwdb9xgf1IIwjyZb8rqHHSZ9/3lJwAmy1eu66D8xHN/c2boj+ARMxQn1dXCZx/UpFIzlrsia3WNT6oaVgWOv+5be3yTzHC0ss8WrBxZN3XlYY6NklvVV9DCKoNEo2J1WsYphdwjxKc3mBXmt3+Ubshd6pbeBd/M88LEM0QKbcN0zuOyTPo0Vg6Ph3ApQiMTnDEc07Y3l+9fN/3NvF/m4pk7ZyCOo/vvFBplyBugZqvzwqvdl/a1CCJCnWDmxtVxdGfBS8fOObtEC9URXrCJdN5h2JfQZt9mkZEvYeEJ+rVB7wWPr5e10xbOW1SzssuanBSB2m4gV1/tVvXnhYMO1eFtuif7p6a0cMs0KGr+nrljvhKpRRxIDE985JpIPgJiiOpblX9nc9ma15BysGmZA6tGX4A+x+B7Djakm7qwKEt2ZLRaIwg8WjOKlB44lZ3Ld9w4AUCNL/AHfHNFxApfEghsyK6RT6PCrHGfFFf7sN4yoTV30x5u5l/O9zyVmVyhbi8HWddwumMCPYA6ba5EArA+O0vDwpVuOmGEk60ASZjYdHm9LBg7h9AUgua10kMJUGQgpQeg8NmMlZorFu8pSY407lWjj0P/qa2yEJHn0PJJIqwP1v/w/R1wdm2NwVt71+qWBeZW4bf1l88UfnjS/NH4TeOLZn8WsaEhj3ocsgf7s6k6vof3uFNV+sJEQPzJIcB2p/OLzhJ/7e+pZocDneEZGezR/cqXox0O6ySmuFDrh4eQg72vja/roFpvYzNSz8fWvy1hsJHywCSaWonUc9tAXeQgrgSM0u+kJztXK4nfOXMIZ9t4wT7530VVocSmlFi7cnaiuWRn7gVzbpSbdhDqRIkFKJd0aLzGJN4jr2EvKonStKDDzAi+TCHW8qcO2Ts38QOL2Y2wMUD703GFnZmJKMCEVfVG5u3jki1YC5D5DywWQwenYYHSh65ZWiyyhV/Hu9kPk4S+0RCB3Sgtg1LZKzdFSP1BHm89r4YYqp0mEhQYqIfCiX4UaTuoyMDcQ1L1LZVLX3uypMwtWk+acFeBZ+nD3g/DKexU+3T7KHDP/cxV2PpPtQTma+MflC1CT+3YxgtDpJyRl2HbFUyUDw7TkwzIynjG2D5KzR2Rywghzn96IQSGqGDp3QTfqCl7TaEWOrFRlHVYtyrmXeeiFd9P8ZRvpRBbHyTuI9wLVCH0CFO3SyHk6xOmJNUfDzH99CYIP32MFiNMKtwTpU83KWFnRPL4HeoGyfRoJ3NB9j/wsZB2R7JP9uX6NVCGYF15avxInDJB4qVtC4WjQcNlii/7N+zYWOuWE/UY1e3ZFvFqc5yhpaMuNcKtvmE/v6CWvcerCBrpsJXh+5+wTj2cyMgFbiSW440s7pFpTF+oi8GAGDbDwX7jq9skh0kqM2CiaD/whU/GAHsLTdfj0gEn10NEF/1FnOJ20S1UBR4qEt512Jotq16BNrkThMRK+9pwWhcntQccRhvVWN0i3soS8Y9AX4gIRx8hgKKXGMzFVKdp1SiH7Znd2eLfHfdgwyITBUo9rfSSARorT9nHepaQSeS41d5FwJrHnI55OUkQqYFZnr3SrYO6SxKOD3j2Ir/Bsl/WNmwFu+H79g2xeYhpI/lOr1TCwha0xSI3KdfrLY9tjNB9OX2JHk/K+M+1QAXGL3QBQ74E2QRb0xF2tXssBgS81ci7pLZbi92ib9mAJFkdEpWDfR2/FvyZf52G+Y1N4opiOV4nY/l5dseeFCopwF79f4/FTFahPzVkBBF5C1Nx/6foCfLeHVW6b9Xgi89cvKelxpMu+sqzXL0TauwvrExzMKR/ByJpinB3h2FnomqjerUewv8DgPL5gH8pYP8I9n5r12aN2n07KFwjXLEM8oAA5AdIMsovbw8aRxXodD20ENMSPip8ZOx1AxY8C09J/GTXHahe9zMwRpvwpk6qLrY+F/iE3UEKM2f4/2CS5goH6t5katrFVyLISTtWjYsGbHikALJP8TK6jrvaKyEuXrOKLpEQnyWPlsL41LuaZX4s0A2rq2GfWiHK3M/vPrhWvr+l5VrPwX153U7rCbx2Z86ZJV2Cd59ECfXdo0qkB0fV4cK97eoKCn4dOsMCHAgC/VgagNbWpvB7JlxptjoMCOnNRSAYyP55raUrUWR5bF4ZCqwodZklVCDf5G7h0MbwRZTzLcBsjejet/ZV+MfQFWU9Gw8c6botZOkYK+ye0SEFxcyc+CcFbi7itG5PClOaMij26TCXgD+6g7b2xVxB1R6VZC+KUmiqNJdJpDSx6Sqfhg9K+k/a575R2ny8JLvxRQ8m4ZCnmHgSb8TzQc5uStt2BuifQX2SLI3YIAcgZRUvY3vUO9UAztaRgPLuAsA+JkIHyryw4QA582RjhnDRGBzuXEvtImpCxlauA7ZYtl+MCkLr0qdhGSJyV1c8wl1izctFMERFBcu7ZYCOGzoYseW+iUsJjK4saTo0Ivd3LDGTVBy7aYimCCZtB3j7FwiYnL6/u2SteEA+Rf8Atrcu9Kaq+CLs3U32d62xonQFE+1SwyOifiFKkFWkH6+O++6rVNpFkHgUaV9mBpBKB9tPn/i/UgLlYL74LIecxhU6EgLHfW1Spga1o13SFyZxLC111VsDY4goKzy9ZtOBggu6cWDo6cgd+2+Jq2Cd81eOoiFqhceo8MeBb302bTytgPQR1d7R/qhKJoSABmwl1tbQEX89J9MOFDALxpung4SMaSAWnblCz4PpQzf+8/u7h37GBioRuMlRHPjrHKlaxwEWGYo/f9/96dxUl+8TttmytwffKnCRJOyecA0Tn5YKNAdrIO0TFSJ4rwQKRLq9Pyk5ftT2er9U+WPEu4P2zwFngZm/n5VK6t08Iz3NYp9gd2E1jVNzVqa2mSiJinvd/nGAur7rYZVEli1mBpPwJQpRPQchTHMopfX+QXIDBnc0bk1liXSiGrcq7u4+1xQX0ZrGb2HeCmZP4ivPYCNCcdda11ZxvrLPDyoqIe1f4JqDGNn16YqDSmqzcAFtwWNzgQDvrtuQEIeE2G4STjMaGx0lxL2N6qMSdnR8+4mn5Ke/cVBule3TujzPHuvThfcqukPct2YXiAV2TVxF5oryyzAbOlk/G/A5qXhBLaO6F9scUFa/sJvoIbYxih2O59kZ24/5kpGNYTsAuxg927aaSKv8lVFHEgVIj5TgEwvhrgM1vbqmbe8NVTGL7PRVaZex/7wINZG5xya8tyeJGwuNnFjG4QiytEtkMmyEhs2WW7tvwQhkzrjUpXK0SkrVdIJyaawU/ra99ZqYfKfVxmU4vF4c/ixcO1nDQdox1WBOz0cHX5Qyu/oOph/3wf2WH1MA3Us02fwT6UXa/Hxs4fSCLrXOe9KSpESkC3lI21xiZ/NOP463gvPi2OF9e8+Yi/SWmW7MVNjdFJ7SCp+rsHvjGlYrgAZip3GfjaOgRhDmfLQl+BebuLms0w6uRnMp5akqkP+dyE1yzlLhNlUiCHz8uiLBA4P0OCeI6ucv8D/tQ9lTShpEetv6z9NMEtgvBcTPlPP5AnADa56Fgj+l1yVefBr7B7u/SH4hnWOQFj45iRiJ/aLzkcBVLp/mqsPtT61SxHMDPaIjzM+awGc2XpARWiR8YP4uN+WnmPfwH9AkCB0BQSCe0njHVVJkWcXZdiwiRlAYZ9NbPY/ZQX4THn0IjJCIF1ETF3x261T6Cf+aalyzl7pnAtuavlgSMdm83zWDiGQcq+V3PHlbxgfuSZZse76Vv4pJH61rmiQvUGOqSVDJ0OQSrtYjb0RROJ1+KLHzicr8o81H2ETW9V7UYSyIvX8pcA5y/wZElIKrwXDMAkqkxscnh5Zn7tcTzT+FoPBBVwigcrIeAl/S+Al+gaVKqBRwZoT1sLHczQ9CX/3Hfs9B2vPLNtbrmuStDGS4E7okp8V45lVCauY+ZOu6AtQ5+FJ9Zdwv04jm7VPzkwfvolot46a/PRPE5EFODIEkSn4vpJ7YNDgiBVORGCQhI+7lDPG3hNoIrKYVbfOldLFVgu2MDBIKr8O6RnjmkQ1UURmAeE4mC6yD4e+IAz8fvYL3ar+ebrGfO6lR8tVv8Frs2GcD6nH6G8/Pcz78ywlYtPwkpA3rslxd2lnNWKLGBcI7m9go01hlrj39AZ1B4Ai6j8v6WTLuEbEPENAvoTyy1+jpVzSDjLB5zt8MzMhsn4l33mDkqY6PrzNO9Q7cQaGcvyMgNP/TOnpi84hsPxyWjhPIpICzAS3EiB96yN9hX7Rp7phnnmYndLD6OaToluT2PY1xbpiN47y0t6qIFKEQOLo2pWJE3um6hCvWhD7klhdlAdWV+jRBCK/Bw876fnXuOeFWUGEuaNZtQUUJKiqGOKWdoAlIjACaPaGBGYeNjnK5hMxcjRog8lK471Z8EAEGnbi92TxMHdIH2yPqrtKJkzwGjUlS+qnlpGi4AxAZpAF1AUq1Q+8HFiHaDAMD9BHrfFcW00Vr1V+B5g2jEdUH+5rTEhoYRlWt1k+t2ziK8awEsdVWOw6vHuHPc8QIOGdweAMAEp5l5Ky/Jof3BLqP+Ywly2QhpKLQKGZAPZHrPig/+alyYusUUuozljQTEykpI+mxPTG4o13JM8HVxvSjJlgA3zFkgXK3ae8ppUtwnEIl3cPNvVpFX9BUz5UjIkD34uyKiSJolwyaYF57h93Z01kj24HsAodIUYPF5+ZPAvkiWbJdE8/6d/Hn6eLUDZ+9xRZHlILXAWGX40oUQmZmQ9QgsGTnRF/tOvwRsq1gHZ9thSzF3irxgXvVaRxcfNj7EgWuXTnflX/04NxUDiwBSDI8wLjAyAxfsxSyzim7TPYGzvQcmTzXrQtjUGFuJPPMr1leJNYiLH7C4uBUsgPRLmMciERrgwGlHZexUZXEWWGvuOt1cF+b8Nd2dkvHcJD1RcGFT+wVOSM+x8rFASDfn/kq+X8odoCG67d5o7Js1RkKLn8bZQa9kO/iuTqe4QDodXB0fxLzVsmswoCa3e0SZyaHrlzPZAo8+T+xeVJiN5zit6BqXRkKtMyhuF3f7phk9jHTYJir+4ATN9v7KFe4Tbtc4FK7sDGsKgfzkFUFnNqGZYKHveosLbKfs+PSkz28X1DzyZSMDhFd6RxwgpN3NEHQKD1BJEFcbEmZZ+h3wOM6dDIOjjKcM8mpIludPXOE1Mv+wnhLSjho9/ddyaSJY4kBDfKMAXaMAkp7d1o/IXeMT9ogC9WXhLHJ3Yv6IfxK4j8dzI9TjPJAlGIu8RySMW704LLz0ugw1yDYnaVNMQg86r5NxLygAwd3zDZmZOkmtGHwNPwyh/bn9Mo05OS5WxAx/eAvwLG9JWXIrYmjwMGOHCho8SDXC6NgqyROWDLCu8iFXlMhkxcIbAqeR9h7uJg2GXhJ4qXD/fKwuSltoar4BCJViWc/YikgbQSF2BKEI4iOUwWeFzG0mLeLnk2SRQUV+/WTDzhptK0dStqZ8TOJev/HRKc3hghsOxRyFbKSLCdb4mkNgau9GuW4tMaxnN6FlWpQl3FDAhBh4BU02B+6N07AN+ic5lAnamKSZu7RtShljzcRVk89iofiqEZ6aRKrfJgP3GN1f6dORPRfAVwUwrBwSSZazBfAzljZwPzxbROjJp7eZswXZkLWGHepDJUxM4tPcOrvaweTARzXGeeh+xdHJjvLHQwaWxKa2slqhUTGSUeF3nKifTL/OR/dkZUII0OwsCCVScTvj8wOoONOfTQxY5CQd0a98bfFYaUYSb7WfJDwiVZL9clhTSet9NrlBgr87/FWEsWN1cJpb+ATyH4TxKq4x+QR+NDZUgA9EZ/bQSXRHp2XSe11pbiOBjSZXx4cL54itl/5flrBVPgH972+awOET5kzkjLkxGh9uXI31xSYU3YSJmdrlMP8mBGISVF5+M782FXYrvw0TMU1ZyNaUU38grgYuLHnnbIu663w7thWLbMhXom7RoalHpFWIr/HnyZtzIplxFZ3X4wpNPBEtgg1/Ml414HcC/LlYappFvV4aePTWqCTkIM0QN1J6MV285JfVxSABwGe+BwT54R1snvyDqbpAk0nWI4v0DrVuFWjPhYHcE8W1mto5kxLpRmXVsHbt7ayBuystSqQ4DdqIupXc/rmf2pwANbo989gw2ENUFdoBj47z/+DA7NkW6zeQOOJYu2PLA3TZGkOkzzk1OHSSRNrZeS9i0cq6+8YKY4PlN78TfVC7V3kCRmp8rlQY8hAn4ZHwwvkDRUduRNfiYIg03m2tFRePXUWK1YMzJNgCI1FUV4E6TmbCuZiAre8IkhY3KCTnwuAx7SpNk2S5jv8J3kNHQGazgoOO3bubuvKPKfjbQkrbXWmULz0eHkRN99a5R2XEAO43urVjnyCoj05Snu2wXKNUwYyeD3BAlaelht4y6lYsHmzPJsHJXJI6cE1mx/Gt0Y4+m6eQkv582h0cQ1T4E4X3jsDQ5mdWohIiAuM+LKzQJb51SMF/8FHJ96dN75Wzr9JKXdvlTHVXAJYABeBkiELApXQaeGyDYgLudDfOz9N6uYhwGUkoeUWaf5HlYK2Hl1k/itVdQkajG3ejgcMhf1xGlSRpLFIncJgMv3mSjFeOapftA8UfeXEDvjizEZt+Y66cy79LDBWf7OAw1HFI4RXg46RJjtTyAzw/z9zRpurQxoD4MoBuanVFOx1J2s9eDJEOI6RdTGQrY6Tbb4+Be5WthdtedHV3t10zYu6+nHti2PyMXHTsbFteO3zTO3Lore3f+u67eUy3uXLzocCL/GJ7WFL4amcCJOKCXr289N+YVmsNQhMZ2K7yfw93G83VnjVti527hjCXMwFDaddocPu5YUNIynBcP+1S4OWc+4a6TMlD3EZrYNI1oawdEb9eHddMrRQ3+u/r+C06qycgjd3fuEK/bbz+GakYPDj/2ufG0nme5HLByyuxSJZq4k1IUKlvMf3Khf8zEQLqpk60RZvF4Hbvxc8uYzP22cgbCZFtaM2DsYJ6j1IGRlPXBMB/5YBjcubk2utQzQkrUJ5w4JOpdGGQ/tye+fUYfyM177NDxAFcli/0CYL+oWKC0HcEHqOHFRFA89YijMhmolDdKrYVoi4HdaW2p6hX+KWLlk6M6v7aMXK/My+NEjtIeQjSG+DPn7wYoNpVDxq7Xd+yJG1Db2lQCDabeQfeyxrkbYuCwaP+qAXDWFenGukrWpn1w76XBjKhtPLGnq7pP78dPQnuj2Tkc2bf052IU3Bz9x8AwcaV+iczPxohIYMEZsxi5L0NHw5WMkjSTdM1JbSkkhAGD+FjFfI7yWYDT6bLHQRSgoCljaGswABRAILOVUzsn5Y74fCLsNgAfVX13KSG9OPqrmeNBwZpaw2hO1Om/DVJZbOvEbgxVQnbGDl7ibbF12CDvGmUViW7RcDRFyHLsAds+zdmkmmJ+hByOmGDNZxPAnZf7E7nMG3iWp5BF5n89mFyMdNb7hJ/rTrVvU3nf8M/sQ0byBNcEOzx0Ea/O8oMxJ82REchiZwXHwbKbWAIO13nS8vfw4Tqgr51sNs1ARI8Fe02BqlAzojSpwhgBXCiX7AzwODiBlt0WCjbu70dU4BM/lYEfq8snvJoOnjJyFmhUV8buHZSyEim4os2Mxi3vJR3lYK30T8+Tvy5xodl4+JnhxXjMNL8DSY1dSAkvXWtv2tzGAxxumn8qIPPGsLtsiVxlar4W2dlh8ohS10GhWSOCRc0Cz4kssUkHxigYKMxVvOtmct9hO0oQGd1cVTzlmmc/nDL12ppbCZVxf+C+wrWdbPqvvBomTQWsWbl4sDsQGyLKhFNiZXQ0QVTTOYhZfvyQgl6Q1vPIBMSh5iA1IHYarFWJCdXeU3EWdBDiUSKOPtnElNYLE7HZxfjxGpZ4LfIPA3Pxn5BzXnMViv7Wq37ywxr3u3WvwLXU6BxiAV+/RVQrIo7ucj/p4BUuIqbDTgKYivwk0kppaoPPHmaeuboCKEOocs6jKaPok1qTNL+WGp+j4Gy+6VmZiO6oFxXbSJ/9Bv0W6rojGtzyJRzCCE+U9y+uTCCxrHebYPFtbw+3TAtL9zQ/7479ysjDh51J26KoxSUa/ncr6hmIdyI/jU61LjbGwMJEGozuqvwYY0hiuF/1CtAHpz67csRUr4wzcFLyotbQ8UvxM+KEOzpqESFcInIYaLiMJ4xSo0DrkVZamZS/ekuJcFo++MRCogG42zIrAIiIzhDmlgpwPT7sCNrnYStsLXprCpIUQzORo/eyr/Ku8rSf4d+ys5SEioKPfg2m+6WVNoGtnGhVnm+IH8A9c2N87ccH8AvRojnfVXpByDxNo7FMsDfax+vwTAEOZejKGII9FTDtL30FhJs06NPFcZFyknC/gfAgsRpYO4s5I5Apmv/PB7N+viwrh6Iimk9Z5VGY7A+Ss6He+A7v4PDUUwhTgJgMWDrHsZuB157KiVI8Sq90hrtvCaIssHocSS3n0SvO8qdgacyfS+gZbE68uLbFWttmPFnr4bX+vas3NSeYK38FVGFqLz4C+6UW2onpp8ID1JutzTKd2yhSCD+dXJfZxXGZqjvyY37359FnjLsyYAaoq0TlpKQgBsfowPwEMb9gnsnqGLWhdiYm+K+xueYgCDLLMYtZ3rtLtYKeSw5kZ5C0rZdn4P5QTIXa5Xq2MDPLFhqVOyHaQ0dQ6EQQSqHk4VgJc4DEA2L0UQuS7zlfa6drWeOV6IxrXY3rQVFDsTaDg29DOhdTW1+/cOHkwdDoLrVYFFX12tVr9XLtg06dJwvYfuF2SNVRhWAEA5cBjpe1fn5kyM3vURBND2jrU7j+CFan+PgFxNMLB+hlPtpTc1Ha6H67YNsNq0hGK5IOtLTCH/GvrqG3TPWmkWRpl6TA8fb3o3SOY/4i/eTdvv/QETImZsNb8jdYN9F9YUPPMqzp2PqElHAescS94y2BD+o8jNqOO6zKNUNxKVviNttQuL4WLu0RqtimPXL57giYJraz4cRYu2PDtcebQcHisI5rLmkOqQ+xTEeIYXiY5Eh2k95g9elLxWw8PCwQbnawK/frMn3WDRaAt6jc7v4/AI+g+9kD3rxRiRqGBUjc3xpy84D32ZnTWYpHyDYr0uK/XcE5NqmrKe+1la2l4k6ch1Zq47P1XUqWZtD4Quw5AZJsvToVUbKD/G8KQEe3koKCuPn2wzQ4VUcqJ+vBTTcgaDrlxECpsPlB2txlKaS5/01lSm2TW3onGcjAG/7LS+f2oRn9CPh2YyRy45wJY1YZJMrVHteRUreNhZGcixFRYmj5RhuUaRR49dYn5Z1+k6HFzt5BO7npCbT+UmZzlPoTaBJSnlYkLStfGgZPN00r65w0vnTdfsoqk6wKBvi5KqjmS1Po/Cf57vFNOH77ZX/WTb4ioAMZBCSRazPwU7JlXQMOvmfm8aE1L/ScC5oM/LTds4hv918K4z021Bwbpu6sVxD68kXQ+yy+kr6fkkcp4iVwSydH55kkJnRsRC9D+ql9apk1NpNwfR4iVuFYr0kny6xRRF8+HYvH4L09qloSgh0iG6SUQDdtpkY3QNPW4AnDFfq1FYn45STZYg3O7uAZ1yh+UjItURpLSA7RRo/4DQ0Uu/srWrIFElXiU0BlXMDdBdoJjqX2/3IqQ8M/Hhk2vBL6HACrXpokA7lx5vVjkhXN82bfkhZLjeF0nh27PsSaNuI00YvEpqV+V8rXtyYo/aCC25d3Ibv9OeSexZil2k/waDeJ73wJHjUnVC1xyhvZ5PLCumhVW6Nmoj9/I6N0JIYva9Auan29tOPpDKwqpfZIVuV0xk+V91o0V9xl30Gecw0zA1+QiyVsurPA+MkmqEIYXEtc1HG8Dg7aDvgmrCf5OuXXq2FW3QhMUok62YPgcLbultvbDUFupFIrLjQScAtILh+8Myr/eHEnqQ8hKhUHSTZas197JmSbJ/popwuz5sfcEpGUFwoL+YJMy3UfVeZLPiOiU5ifX5LoBpTjirVJimzsivT6xlAeS6rFNFdOgr+c9NuDbF+MYgDLvrfob4hWz+S6eXKDyLn+Nfhzxn5xt5L700PdGRvyDEETjJ3x9e5FvNhX2TfmPJvN7X+FqWaraX0fnN5+/8h/qhVS1Zm2/0fH7LIuMY8TEelGQVN5ZmS70ztHAekTUk7Q7pgDRoYchjATBmGB8WE7Q8hppV5LkDM/teySibWFv2Sjmby4ZTG6Nkb7013BTq/uqaxTj4qA8fHnSrNPWwOs1hlQPvObxprPTgmNXAwLpaXiYkMsDWwAg6vV8sLJdqSomFTj9rnLrPhnqk258RhWfOvGLTKNl5xl3uMug3QoelWNSiueq4ZemSa5cvbwRnDiAso9C07l6Ge7c42yTL2vqLMa3Z8wfqDm4sY3Ht8UU4WMTjtq12/olRxFxWoT+af/RUzYCLEUoE+F0fIm7qGC8JnQWg9xHJhaRwji5cedB8Oq87jrkDGdk7tYC3COeQ5+rPMfcwNuXUI7dNlJ4ReDxaJr06EikI2o+ftmbZh4glYdM5if2l2ktNjDPYSWcKpZbGHTqouZ0Q2wkKeB8G09YJAdYWEddAo/T9MNwjG+Q3eZFjmkVs8uGQA30oKLqgWHrJBChTu2nkUdHBiHqTb/aJbTdzKrvih+/q0t1doaLOzGeoBZVYgSM6Ml2v82O9K3blXdwyKiY/cZeGf8EjemLRUVrt9qfZgE0qCiDtWuq1uEFLPbVrK2a0n0DDX76kQNJV9hlAVRqn1/O/J7vG8ZnWTr1dFrVd7HK7JvrEvknvbCbp8S5KM2Em4ut4lbBDX0S4lg+93l7fhhFeHeEamr023ypJxMypFm9RMWl1TJReVV29viv8SUj6NFQeZ4sjodZTyPCcA0o6GcvwUqQn8GyqfNT9NGSV5pJHqOiNeMPbeAO8NCrb3MhtwhvwG891+qzH425vR73F1XQbmnaFxL8tlye62ou+aEEW4xWV+YpAiBvAn5nAUdoTp7ca+6Z6kp8p11iZbq7Q58fe7k8ukV33HKXhO/0D3HLt/XoRY85WtUxzo70vm9ZxGAxfFMPVB1a8KSEaW8mpW1gh0cuOle++OrtaxZ1jYRpZN/dggb5E+HREB9+z1RGOSKPSmSTMLI3fgFv5FojQMFaou8riIN5yJEyk4ZTSm1zb336uMHxFbDvICi1L9/1fJ9umslEsr4tYjiNzo8baKx9DD/qV+kaAt7FTZSVmfnb2DbMIWZ8W0uKxgsNuyYr54zPv/EaABnrUZWmgaKs99HojYMX0X0pQg0jxcO1ob9Uh8jV9B7wYIvmz3WhWsWBPXfEyJoIcjsYd3iTqVNzCMnI6p0EWRSNqbJOB0/Gli8wwU9ytYAAX3llHI0yYPeqeU1GxKYoXMJuZQp+5ScJ9VN8Rd9YhkYIUVWs4RxvItkTLV+DTimaf5FdUcuhXhr4q+ik7xZlojbWxdSDJF9wukVRx09WVlOOFWT2bBLq8VA6TzZZYjeBI9Nj+MIjds+jeAJCKGTx5mhVngwFGHTgPfg/Cu1HkbCFZ8jWnaGLRkoHQVrK5hlrgz+Uhn+clChG5nK/0ydBY/wSoJ0LpUrB8h+QMLZ3vQbO1Vi0A1G9fiii8q4Tm/oAytpP1EP3aKnQyZRzHTtyOjM6kHFPPWDxGsHxxmKCB0dd3JCAHfwF7OGcrxwNRHlHAgQQ00P33etzuhB+Ps5Csx/lRJGF9mBPc+wNU2s69t87wRvHp3rSDC1+kmM9I5EdpqXvPeWP3qDuzvSG99kod1MuUFJhYv/7p+UD9jJ1lfMgkXEmq4EKaQU2JbeNxz/Lx+h1Yya3AeFFbJYjIxiZSKrSBOWJ5gNbWhZGlcse36Fm7sSQJ1cVCTVaMt1wFCoE3OdYMkAF3hmFV7+HdAFYbvXI/20t0aFkj7KCVf6CsCrpXm1dKO/Gfg0kOYbgxPDHyNrZHRkGM8Ioo3+ETjQ9vL9QrIbDc3Clv77nccJHKeTeZsrNnyu2votTpmv+kQRIMlTLRkjrOgI4azhc9QvjYS0iOjW2rECd+YhB48CrevMVSq/8QT17ibi40PmVc2Br8cMNgDtEVQrqWdpiP2sJ3SFQWOQkr0HCBMZvzZ7q3EhXyJJG3OJOE5GNzWL/vQT1AFVgUJUzl5Z8cnd7mmAVcz5ZtgNLRWoArSwzH0T25rd/AN+AXjznfNZ73j6aOx0NBKmVe0PCNMYOFX64keui3rlow61eU4uaBbAbqwj20XN0/YXc28xR4k2+Nyqq/6jxqszvuhv2gyONDuP9G4B44HudyUcTFhimv+jtipmbjChSBXSXaO6gmzRO3Yv2a9tMH0oYUmPbKOoBlD6+8IZRiwUhJh+fFqEbWkySkSReW4bMd6TLb+yhwJrlwOIUUbT3n05wO5GE+CmtT+nRsJQWRvL4B9HXkAhk60iIOtC7iklYCR+afQ1wJ8wIbYJ26ETVljjVU4kbUs+NO3ZIFBVtvbpbPmSFCtABaX7PTnJuAdNge1sHlTQjh6ZF4M7hG3bf4FoJmHFClpkK02Jat05satQSLg6I2h12iVfKFk4prTPZGtUCK7lfJhO/DnIDAdWbvx/wDuhmyNabPo4TVWOXl9SaaTh+qaOSrXhWci/H7t5BMi1zbCn2VwB5CGdtwDfcpS1mrkQwr/0V4Hfa4e5CJmxbMPi7sZj29oW5/c6y35iLE4tWgbnzR8VTW8/3QS3DzSWkNu28MyWrusosIWygN6Jhg8AW9KCA7VQAGbCVM2QKnJbF74vk9oAx4EsrNlHrSh6rdCEPELXP159eKbl71qMch+ewXShvnz6o81mqgIFuYYmRVDH3wN51wMKLZj3zib9KbLy57lWDiaS5i95U2Pp78WVmPieiBmrJ9bnqVpGjb+HxlS5ZY58OjDPODdi6j5+/vqJiTOB/q/Lp37q3lPdpdxWjhtJe/s60G9jVGqcXDvX/CasxV3YgOgbvlN4d1AhXGhyBGlRotIMweoFkr94srBQzPby693uDRilT5m7PaRj3vHLvDr+r4XTELNTGjn+sTaYS2GRBrfzm6hhZOUVG+AieNw5Az3uvZteFT7KgE1XtypWcN/hJvNA65jJBxPzoxwg3HQD9WQH38AI+LqRAm8BKqBNCefPqN03oUafdp9jkgBvSdnd+dCBt2iT0J20EhEXbLutd8jqY5h4hI1fOUBqUeMChg7mImODO+PLefNhtdkvaq1eYjCnZNlxILIpGMPnRHuqOmNhwsqqu/iNk7o9wP6MGxJtJ3S1AN0zMeXIhHSbQXEzr1Qwplk8m5/nvuJOdmGBgkAp6HOkYFi6EGa0effu9+P914jvoGJ/+rotqasAC2nJzD+Yg0hZqtdgpBvdxNHSezmgeDp2maouLaD1t+j7uoiVdNesxYUQCrTS08c1IxUfPxfVtODVUf8R5QVWG64BqWA6A4djUPsTwNBGoaqpGIgk02uSeaqd7jynVUisl9GPQRZ0tCpWryDITZ1zXbfuLhvYt+rd6VeXESvlcdqdwnGMC0+uXKLFVY/2aOhWnc7by4K4Nn5pmdiEghnrdmMHDWvyiKg7LRGt1dEkmIgwUkMdFB+b/6WcXf+o4SaWsq7x1iaFEhKEjCfEPvUpfDp7NCxZ9//B/K/UKuDziJTEUzeYMPZjD5qRLq+Qw4dW4IX/zoa4OVbEHZM8oA6smO7nCFR5E3C6Aw6e05HiPTauKXrzDow+R2dAu0LVN2R2/x9bUFeZtJGeLAqazppiZ852GHABo/Wcg3Z6fPtwwl2IW68iqr0tnEKEhAHcjt6+/4TTu0uztZ/Q7aYEQwifmPwT2C1nlIusLYYmPHt3UQ2zFJbIprJQKhmWfC+tT7MdDcAL729vOGrtM7jHx9HbSw0zoROusw7VUXSB/7s/Go2pR8CmnsiAGuXIT0DhLzeBl0GEQn4C0ZK4Qd4ZffeOJU+Bjtrje+rT7s4f3cJfffY1K1twgF+DTgOXgCiMked1PSU/y8rI3Y5jLbrcVsAeasqkQj5rdp0X6Gw08qplTBQDGfq7/bu5kkdFQf/EoDAqXobAZzdW8GuJROBwoj/W0QFR5w1Zp3i6kRTlAgpYceptMxYgP5I2YXoPXJ3pRn11VDKWK5eIMnYAqQVPxx9/n/+WjM9fxd7ok8IK/SpqGPBUq2/+jFSzTsZUHNIL3dQlLvoAJar7lHbTviIUU9OBoxjCY8OpeLGgbjfxob1KVtgx+TFLmRzTuezH2JfTEoZNoShc0BsM+hqjLJZurJvk3MvDQP6nlZk6WSLB9+nsH3z1RCYkWHGA0brt5NM9WW5KxtnQ5tzlXe8nKrzDI1o5B5DXtD/bp38QO31uR7FRyKJW2lvacE+UKLtLyNrhZ2tMhjl8+T1JOFAHEaNDFEzrx8xRM15Y3WYZpKUHmjsQYlRv4LQhR2nUo4sSvpGEIT1X9vajcJgqhnQWPIeB2ZsnnEunX7krrdmkY42F5GtMsu4DnpS79a1EDkOLf2K0PUhTLShjADH46Gl1zVcZbAZHBOtJ8MGKuBRF2rImZYrA1z9sHPMAR6syT4xzjbNhMMlDNlCoJEMuxulFQBqHsXR/45ckzeRv2/iC7ogosTNyFLupOftfpVuwpTr7VZAFKjz6Qp4CweS3HlOOgSdomaO549qD4a9uWJthBUD1xA42T8qZgk08nfM9xFG7vMfS5+VJIqpuXPS8UkQuUtjaJMyDM9DIoIPvwn+ZlaRa0GHZcXB7YD3mXi8HzJOI5O7RecR8FYbIVui2w37uoczalS17OlPntktftLlLi394FUFcCme0pRD1x/FSLRpNqSH8jkGzjl6lGIPxZfM5/RdQ9A93U6Oef2sMe7lLw9j8Zn/TwZI0BjcCD1DAOc201r3kLXt9GxU6UGH+6wTGHJQmCx8aFbk6tnhodsPu5CcbOiqm8v0ZmforSV7ttCqF7kY9tlqGRYnq0sO72cnbx1ybt/9vbvZjmnZ3PbW2YUpZG+OsDn/2JywHRtSeUEhFKUslv71FO5LchZEkHrZT/mZEuk/yQYbndGS66zBSFelsmcUAepKBp20dSwJL96t+0sFo+2pfoOn97c1QgAqoW45xUlMPlFynJU3I+GMAspRwbcbYX5PwtI4dL/TeWeyR4sXZMpCRHX1g5k24vP7jp+LliM9FoLr1Tzkw6YmlSTLGVFqZe2o/ec62T4NNABq79T7Q8k8pA1aO3EwDplF4m0tdsOFaYzgExT1LMAt4d+AsD2vsh6n6kUGbA7XjW2nOhW1uxAH0qazDJYf8oCNDE0MftzBoyKJT0Apzp4Prxkd28n1R78fSHDciNLyRFJxapP5Rgj/aQy6SvInHHZvY6JYm1NFA3NzIj4t9HvZfScUG98dOwbRQSAgixQ5J72F6QaqHZQ0ts8oyR9UAXLkE8de26K1WRWDROyU6EsFaA3LeMyGllOUBsv0rIF2ljSdfqFaGhY91wDklo24LjmHCrnnS9463wn5fDOJ7fGDGNaGDwCZxhAIhCS8MnC/GXAlZiFP9ErDxHT1u8Vcx6i4+J/rPvXzMtJ/c9gTb0jdl5MPymoKNb7NPzcCTboq21rhwWY7BgYNsW1pVZF8gGSb80PxFKiu06OqZwWvqArOb+XGCb6VbCGQkSHW+BK+xU5Jk++yvVXQpbsb3A7BS6EHzZNRCzPk78rUViM/I+/jpmvtR1loeo4F2JpOnassj4OhvRLWnA0WIgJdNJlOtoz3I0MoY9uCx87H5a+eYHaC81bJjpfPDrmlzIYRRTgUNHF7V051BDPCJkaFGZkVV9jgRt8vdQKcCISfFwsCXlrhqoLWvB/IV5wTKD35RqBeXiw3LEUcF4ssH/d7j7tTm9oA4d/l38WkwFOx6ZGXTkBx/mBYGKO7b02hzSz1f6ET7Qk2GYEVREBFIxdafOoW6sdq7uGSRpdTKJzZZrhVcxuyh2MZig+aCoA59f6T3zpHEIQnFn/EnqmaZeo7tIj6Pv9q5ypmtxDUAlGuBj+2MJ9TNqsibUebGCx9Abp2X0LPi4SgoNCY8SxbKelgXB8oWdQLzLc6gdXq02f0BXKXEsovxWpn5z9IFsUx7UVou6jNpRhZJ4IAZzZuEbA2C+fiNrJX9r2Iji3fyu33Ew9CU5JeP5+ryqMCh27FlwOpKygMtzlqHo/uxrETy+mqJPn2e+wSmyiN8EOYdXgCfs+mV+PdTxgcx0ZT35MMngfbcfPDl9bEdKwvzv/Kwfe7R4pH10ScVo/WWOaEk4RQ/4I8BHUROJBRQ8WrlGQShfPUe4Hm20VYL5JuTIHAuTQu56l31IqiknHpf4MnpQyrTJY3L0hXc3fNkZdaMhz41H7FCwwMYXVzAOhAUqjcrZqmb0MezwWV1evXd+ilPIOa1jem5pcOrI0w36WjJA1dxE9eN4ByChbqi2fSabxnBPaQsU9baZAcquzGu85BEvK9TlZpHzYTxU4lku+hrrilOICkDLoqEJVVs3+/6dA4uq9bfcD/K+909X5fkqChe8vYxTccX4DJAvSEYffd80IBtF7Y4/sO2BNxx6iUFnM1wx8WClqKHYuPAXPCHp+uoWT9ofI5y4h6XHCSVXjeLk0XVcOC6YsDogZSihwDyQNoyB1eqjy49PVTdeN/W32YOWypy4x29K4Y4bfygL1c3/+wsER2BbotMbRgWvODYRwOFVad1AYHk2DQ==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533400" y="1828800"/>
            <a:ext cx="8229600" cy="4525963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btfpLayoutConfig" hidden="1">
            <a:extLst>
              <a:ext uri="{FF2B5EF4-FFF2-40B4-BE49-F238E27FC236}">
                <a16:creationId xmlns:a16="http://schemas.microsoft.com/office/drawing/2014/main" id="{5BE573C5-43F4-4F9E-8543-8997F1BAA1E9}"/>
              </a:ext>
            </a:extLst>
          </p:cNvPr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213371466038693 columns_1_132213371466038693 </a:t>
            </a:r>
          </a:p>
        </p:txBody>
      </p:sp>
    </p:spTree>
    <p:extLst>
      <p:ext uri="{BB962C8B-B14F-4D97-AF65-F5344CB8AC3E}">
        <p14:creationId xmlns:p14="http://schemas.microsoft.com/office/powerpoint/2010/main" val="27798272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. Highlight Improvement Drivers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57200" y="1239032"/>
            <a:ext cx="8229600" cy="685800"/>
          </a:xfrm>
        </p:spPr>
        <p:txBody>
          <a:bodyPr/>
          <a:lstStyle/>
          <a:p>
            <a:r>
              <a:rPr lang="en-US" dirty="0"/>
              <a:t>Show the value of different levers or initiatives on plans for improvement. </a:t>
            </a:r>
          </a:p>
        </p:txBody>
      </p:sp>
      <p:sp>
        <p:nvSpPr>
          <p:cNvPr id="8" name="Rectangle 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1h9D1Z5GDtPW+wuCTrU5cbsTyeRnoM7v2+KYfNB8pPDHY3/N/nQDLg73FVUjs5JX80ZEMdZ5aXYVE2SrM7ljDixtoKhF4R5tzsuuZUVsHAe15B1SHELR0YmIcB/St2sMkFQ3Ow1nA+oih4datvbTS9AaFlJTUy3PkukxZgKEuwoHeiPLkUlMQKnpRBErha/SzMCijOevTFdDoQOu6joIi7HDHKFnV0gfK4RxgyA1XNOpjoST7SJoRptAxEwRvgbkp+uoJnh4cotcV1hyMzMbxr7fJwvlJXAMBBzXo4YcwV6ORYQ7brJ6yeR9iymK2SQ1pHy1zzPPcjxdE9Sb3ZOQQ6H9aBPqtbP+ie1luYUqywH4PCGY4eNCAFWqm3saJMUFhTkR3LGUmILdiK58EDkcsxlFu1N8Wy01AbnE0d5vGhLmSbvUbiaosMOkBpwePh4a7LUwNa3hfGJaaJZ7YjstC158gIxAvj2yGXw5dSRkqD663+yS/OLR/CLgfzzAK9/86eSjqEvh/E2TaSn4PLRm8/P39rn876Q5oWxbVeqvU/hUCGsbghE6DVozUiNzJaIIzbl5onNy9NR7Lnkc7z+BXcqNeeorjxJnMNia/9R5INlmxWLbxgqPqDtPhMrrcYK/PVKn05qvrNnaxrmjvM+aVP8rUoIsJdOagaUFimzvFMjAfmAkr+JZsMFvPgReEbBogDG18j2h40PNBRZqez18qJMw5qMIEONLzDQeP96Y/zBEoX8SM7eUExfsqWYdgkqvVxoY8Vq0PKoRLLGjT9qHhkkMtUw60l9COyIkEkDexTNHCunzs3lzneBT0HAJfu5NLHs6Yx1aggi2NbogPeAD9uTZejP8Q15WshNHu71krv8GxWq3o6ejP/j7MMz09HJQmPumZKXeZrPeiA/EkQgTo7oNGLIzhEMXM602GWB20WRdqD17A87y5tG3py8VVkxjAxP0m5K22S66aRt6wgkrYOa6nqUenlaChuVcIWqSn2X7UJm4IER5PqH2VS3EI1K+RzaDkZqG9PEPO0VVbD4FDxK60PGa2Zwq1//OCHphisSvNjGVIsV+Rod8Uucm6g23TLUkq5HewZHYR0TDzfbuf4rNu+/llb6BDKdEFqIZ8joBe+/fKYEJKiFpaBFGhaDnsTH7glChm/OQvcrwguB2K+jc7d3osHKLI/eLKBEma5a5WZ/4jVgEj8OpelMX/tJ/ygo9F8nnKqA3AM6SY4mVtV5uBuP5T8FrcAmqcTK2+ZbhDRdL/6kb76Kk91leJN8DEdTuUGS3fvhGnJWjE4pNqfmU+q9wlsQrM3v6HjjGd2FvS/FHqeHoKxlq41R/+1Q8niJrgcrHfXh69gX6Ci8LpgaB7tcUYXvJ7cJQaPdfm7ZdlJiCkYoEgu19z/MNdc3dXIBYyTQJUS5QCBFOyUMJRwoJnsf5JusGxk13sapXtxTgZDSqjNg1YD9qBdTz7E3HLAbu1JsNQ1sXfOe57JiCTe7l/TI0MbqoIet019GA72VDyPIQTV+Au1TORcLrToqIHOjfS6BkE7Bso4j0HC8hW3SxpeDHwP33qtr2bG9OhnO9U1+/Yyzo5+Dlm8puUZ3nsHdQADulaHmLkifDmFFOW4HVK4logIWz74r9kwdLiY1znmtINBxqMfQZ6iBtSSbxDLp1e5PtovzdwgNycMb61jc7l2/AWJ/2wdv2n6HS77zb8QMFh9URG/nniNrFur36IkVI0cGsukfn5/yQk1hECxwvQPIT2QMUmWS2vmHCEEcuyrnxfiW6Hu4fJUQh+Kur3lmwB72N5pEEtBk01/OrsmhLzhBMVpXq0QaazjEwTRtpz0Z98CwdrKCA/BHjkco8b5uEBDGaoKXejZPnXF7HGOqZdSYKXs0DgxICVk+4P00SKqNHu3UbNlqJzq/8Pj89ZrTaL+XgXOYJt2P7dkHYhBOgNT6vwqBZ+RAsliTBocmJ98yBVMhhE8xSErRyo6uJZrqWynVL+Zr73sv8f/mWZbDHowDJ+LGdWT9vmovg56Av1Ec7k9l2VXDjF37aX9QX8HLGXFb/Gh4w/+JTIBpSdNo34r8P3HPYUbK1g9YVjK49ponM6NEN69PpisoYKmXg+pVSXT0qy21KLfLTjKmOBe3QGODL3Wv9BoUJVZmkJLj23A9Zd+tFWguBGc8LI4WVYmz42oUAbSfD/xGd3WrHNGafOQNEh5oW+ciOnJ3yekaq21Fu8wbf+zW/G9GyNdGCGCQAkJYpg8WaW7mdLbbCpj+ZNJZpCYNvF89w97yXfncAwX9rihHf6spktQAMDG9/h+1cPC5SXk8eJ1dyiodDriR9Wx1aPRW417UwxDLT4POE7W/+jTb8x4BMp82AitghylCmEBxIyCzFbsDWU7jEQoIYkYwpEflSwcl5LNy6r34GHPEdWkNcBK7uZzTurF1YSAkVmLrA8DH1Or2dTis1NjItQwQo/rtrWq57snXXNwXvATo8HatL28+n5SVMOj2Wj+tz5n0JMHt9GN2txOK8QuNVS8V3Jwi4NmBI1pShHrV4w3yguIeFi9EC266RCZXa/4PyuvZmCKBokbyGJchpRqPrr7nZnRC9kDs2JSPz7cpqztqWaD8LUJKP2l7lb3J9qX+uW9KQ4mntxPJWUvuVUP8ZTb88ztkUiRM2boAyMVeI+6fvz1eKIejZkNwi0jZGg4VeE7Oi/r7sP8L6A1T5/wb0ZoxyK1Oh+dGiM2jf6cI0CWPv9xzyhq05ek+zrPpCUweST6MUjei+3VQePphxOri7bkoioWQYkR8ybGqm12RkCVqNG++UV6uciam/OIHr7tCAP3LzFZfAWepU1sU3K80x971tZm57xu+lLxb+sB/mo6vViP3+MF8fPgnXS4snoAIMZh6Fp27IBpNhgRbjmZHpnwjpnH8QdifedckI5kisMJLM6Qp/56dkqNMht/0YPz8iyn+dehMMkeEV7EJ8kPJCGQHBOjhuNWCSdRTVNpsW01PMDihRdKJsSdq23Juo8k1qFcuXQUqpXuwgK6Pl+tekcsPCjucH06qFHTX2nZutguEoEb4+61Je2C1b0SNrlP/mTOB4xyV/TTo4o1ZbmYWshnlhYMa1J56C6jw9IpmimuH4W9sy8MSGpegtDY6UiNVZghryjaKHFY8wOVTh47gASRkQG88QWcGSMWDoNdVEGlKjP2bbpyECy57KQVMALXJ3f8Pm03xzOaB3mDjcJ88kuNuHA63sj7zSudWxkfP4ytmxag2UbpSeMRothr/2tRpNa4fiYzqJeOgXBkp4nnyTDI1pO7IkfeW26WxiZzhJK3vYuZ6KrVQb/gb84v1DcQhnrFYy2YM8xzC/oGwWNpx7u0rgiql2ZzTlszxvwXpD3MkD6/0x9Q3SAiQZ7GuNmh9ch9oJb/BMRxyjBIR5Ru27F/5wGkXBb6DqeP+wR1bzEznqYwXyIprVTDZM/UOVkJHkE2flj3EOj0YnM7lT+nIvTy1sn5P9Z1xUFRgBLhmLbM6hXs1JFRS8tMel6pvqV5oysGMXrsO3frPb9CorzXrloQ00OMlly2pPXsDfWuLGt5Gcb+IIdsBjpNfg713QAsBspT36Y/vstPIqXEPpIa9/gyeNx34uh3uk+mcTWZ8u7HslJ4RUwFoqaw474DSY+f92vuTD3wteGYgaZmoLZHq/H6x7dL5fDcdQopc5jJC5mSK2pnt3aBhySBMoDjXi3phNdACrL1JHPQNuZyM7dgD6y13PsmySYXsh5fWAKvpQX0fORmytZOhz3paKxO3H1hyjJKa1YYhMCm6BWM9737Oiz+pF5/NomDRNIzXx1xhVk82iSVaGnB1dqRja6w5O8Wh6TqTiXjLTBx1PHNT0CR3SLAzyuy3V8WCuMILKZ8iBx7JrhfVsXtuW9LRnXSl2hnjRjas1gt0jfzXapCVoOEn6mf4Jk9ZxE43fiVotu3eY83nfKSXUm/HJ9RV3uyIkecy18eDcPxN/num9R7XFMqcdSc//Q+mnYh6J5nl7Qyh0bAfAvhcCv1bHvp44/5dHpeJpSgsDq5JQIN570EUr2M62K0WLi3urBmzhHGSpH2mDQvzLT9EQKYdt1bHaE6Opy+6RGqUWGYYTvsGOccc2g/BNaNakaRX5G+gq8UOS8+q9qShJwGMpQ8Ih4vahiEL0pP71ndbpWCMIgyTWvhyuDEfGlN2VDPiM9YbwCcMt41QRzY/xVcuGZCH3myQAPoATcSSL0ZRm93JBj5yG4Vm+3xIIl6cleGC0H15yhEGwVlY/h7MnbrSx4T6Ozso8qz6owEuGOZsuRK16sPn53EjiJ3wdh/BEb5TQFQgP40NyEQQ0xXdP2Fh+8NOWVDLEze88dBW4V0fEQaTBs4+2vcNwVvhigekZZDIDVd49fGrpYjK7wziFEnwhW491kJCyeNW4hCh/GcRJYfFV04YB5iqXmjP9MUq/F9/A8Ups5jCa/91kJZweUDVk2njGEa5hgi1z3yklT81mB7CwvZjccqnOA0yii9TL9wWv0MCqyj8idSdMrlbtVlLEHd8Lmh1g/4sOQAXTKzI0chshnq8xpDvl5inQBFl5nagSnazkz0o3zNnVCZI2US0PrvnQ2KxnvVZa8DV4wOjg41X+1NiFAwep2uQ+pw/r0MZxpK4VDgJti8wrf/ruVhlIwAHZAtWHBg2P2iUihuCOGQTXqlNuxsyJiOhAvpatEvJGxgctmP6ecpEJvrJ/WNnb0osAuFT/JQssGq+hLoYJ8eFkPH+a/AqmZt/HKKSAFRie/qwoz0D02MSSHshCMEQXnf20l8irSI0HB1O1gsRLzR+KRwFQ6ACJo+B346lmhuKSRW1qVzVZpjsxnp+yCkX2/FQRbpd65VZgPhAgYhOqg6YBpp2AyFZWp6rlAyHopiIiODV1yp4ORXqzEWeTFVUrA7iGasCrNAS9zJgAT2LAqnERU6vvNvufrRu3GVRhuyX5VI6A/pzh/GBBCQ/1/U8nijjYgKQAtVpT2ssBpDOvXSJkSbjZZL8XU95e8dAFhXi5aNR7NAY7YRDzR7uw7CzJiWjGiG1rcDkNLkGm5pJOKtXdZBn4Yp0tdyhJoH8M/aPD3wPQXfqjnrKyzWudoByb9xVZI966pQLRYPj2WNQHOU3XWcz9DQVWONhhW8NP3srANkzwn5gWWCDsb1HTUepaQHNbLP0NnESZzCI/DIlzDgFdl1GrLYKRceNI2EVYJk4eiQxoE8dIIls+yFRGtBZPm0lqzlAKiTY8NTCmE+GJX4FtNxTWsMMMETyEUw5eRLENljiXZmtvHTaa/N/d/y+ZjK04hmB31GEHySuiNev0V9sedeTkOlv4OTOH30nmO/uXq9B2ZYhZsD0/+ZyjxyzeqA323+3CDGCziOofvuuTO+kBe8fq+8aVl8yXfQKuVelGtj4g1FshsbSajI+aXOE2zoQHF0RHtw5MniHQ7AR2dm/RxpAJnc+u78TFg/kfeVmm8aR2DUBBejv/U9a42DyLE+/1N8zsyehY/lsm5YphwOBtwluvqAFTMeUpn6+rRB58SNCnnFuydeZ4gFZsfSbcDkIae+JC7SFpnJVFV8LFqB7xa/OHIcKX27ymbqqoVOYopWphee57Ml1DgBbgbgFZcL6x157mqe7tfkKYolWStU86vBMrDQmcBFCPeNe98rcJzN0bqe4tgzM6fNOmtPx3lAQdgii1R2El4lKhBGgYLg5i4j1g41TeyCqXi3jCM3RbSE0HoTlA/hoz1tg82x/G2exed0LFdahZqIOlVSQymmzPhfoMJtpbG2iHy24nkZCh/sgTcqzI/5AzSpJsE95vffFPfH29wAKS8q82hyTIWdiNhgoGWpdHorW5cYxZQcnohy7MjIV26CnS29Twpp8e2UPjCn7TspkCiq2sc//NDb+4XiLROQKJA3D5jSceHhY3YJP8bRjUyLO2uxChHtqJNmca4xRNiom8SuRhUORNFKnEI55+scf55ZYGNFlybKTKaAxe4qnUncBQHZ6hVfwnW4+UF1zSEtMTY+icNmOzFt7y43eIlG6QzMm8j6nOXU+C4ZMySWHIbGMv2ErXX7t85loCEYq0uHo9FzBdVtZXFWMRnQGiXIe5s4QFHNCiV5KEZA4DNrVdWfG/SLCmxVJaLR+U4cXZuytsBWIkh3e5RcdR3NSnTdnVFWDLF6bW5ffZdMFiByMx28R4e6hqzeWwe759Ik7IqU7OI8Ag215A5b2YdxgJqlAtrKhNfuUbDy31hjKZ1YNBX/CIpF6Ms2twDoBSBTK4SXaZkPXMpl0oTHBdFdzgoDT4aazx+jwwVBrPB5PpmqcTw720Sm42mb1ALB4fXdX2llFWeiK7Ljxk9AUFce97MBfsTL+gXliSdchEFoh0u7OxmZ+CpuAdfZvkYt7RhH7r3U/Yx7OzdBWpKRJlnj+vicY+6pLkMHjn6YdX6gx7OxztoyWTTVD2ux8u7ShKHXVZ9mxWMC5cWpnivAoASr8jFYOuuh6FwFSTgv2R1LflAc3bQ2JnrW2PHbiFI8NedC8K/WwaXh8EPQTyabqLHf2EIzXu60JIDaS2LplDwJikkOW5ORzxh6klwFwxxHE7QW1CMJmHTGNYW+YwRdHJzqU3ZMy1meOZxRWh83OcdIGVi6GEAKpGYSlI+sWPRcdrbLKhZMQgfQZRPQE6tYh5HRwOXCQVqtKNOgTQjQVvO7hSnJEhNoiBSs2XN/HRmXBEXXVxQgQLPsv5k+tEj5CsKG5SmXWeZc8rYhAU5GaetX7iLSuNG8F8yB2GB+5pq10XSZdMLqTpyz8oibM5nj3tg4HFRiq23bBmDD+pCHmIpV0HOMXs3eTNISIFkYugokqG7ISBFWn9VrSprcx7sDSpl90t2vYy0qgynTD0LJC/UyVmatfTRfhDKYZCPXsVXLeVneBOcsHx8FMOS4n7jA62qdPRl5yoD8+vpPHYo5rpNUsCCIyNn8B8whbg2h9fe/wKAV7iJWpnGtHtMqYbgeOOr1eaMP/1rnorPJm7Wqe8BxMqO0D2m/ZlWR5m2dcQnbv11daILORwh0FiQHRpmV0Quvq+CEXNUXrZmaZ+srCAHt0cl+KhQOHOB8MvYDdbZu84VJ9EWislMdoTLPz4ROqtrlgkCEzvVDXyJpFy7HDvjY7ShLkIFQDeKOWwxlrjbAFkQ27+jySygeQ7yLqL5dhzyLvScXbMlGrww2MUcYD3sbrZMmdpH+8BNzpwESN2HL0S2Ee3FL4SBA188fOXyo2u5al9a3A7fA4iCdLRG8RNRgCw4/YxB0l/InSSH41SZUCDekPTIV08K5lBpT6MWjfUhQnL9tWR8KVlELU5K78y4ppEebiNN6zCxUIXf81BVnvZXzJEAlDq3OuebtE3N3A3RRo90rSoMxHw4mGp4zaHwzjo7kGLp+u0nbdUMarfw94gk4vzD9eXR/dKuQG0wWkoAf8fbth4XMLinl8ofVlfLZu/LIgTjogff/TGpl2I6rDhqguuqp/bwJC8z3lkp9HHF9POt+gMyq8Lb97jqh1Lg04hfCWXkonb7IB3qs1oM/d7oJYG2LtChRzlO/2OgJWTAV+tRgkiwBpV4ac/eEn4KlyvHrGFgJaE8La9CaHEVK/73oMS2aL96Yl/THorDn6xj6clNTC4Etkn9K/vx4DvERNbIllmTK6zPcCC5guoUyzUXZW6RlQQTucnUQHduGjbMf+q0UiUemiGApDLwKY8ps9HAwZ9idhLxsQMlgbzA9nkltFVT04mMi8Vc077teH6YIwCq43/dM136l9Tkh2hPIKo4o8DKfz+hDS+0zcRxALs7EmUOJz5gxKuJeIbSivBCU3rwgI4QhKj0Td1L62LoXI74O5OKygx02KaxhP21NIDWsvsi2Gl0BvUFMNA52i2uijvBko18lfv8RydF9bPRft4oh/epomy3kgfdT8QEQp4IqgDcuauUMFGW6a2lxPjPRr+P/A4984ZtxbG3pX/yntaPSqwifY7WxcJFTJhliaGz2GLHyoYASzLlE1XH5BW3nGSRvUQe4oe1Fc/to5XKeoTpdrDt0UE5ogMwzLwYN67daB+hg1jltDuWwF/PHotFP+FCjrViM3wkvmnW8p4mCH2UjMn/MvVcZ+/KdrEGYKw28vT4mqack4+srEzmKHijd2bP0eW8ZZ/RYNZrowB05T/EmpoiJvXzpqvQNX+dJ3ToBXapFKVy6b67zUaUlQ8JadPxALC3odoDoA+r4KljXDbhW3SaYvwomx12HNXOA28HGLUfYwHUVBwBXvwxz/e9fpRHMcjEi6Lae4TEcvOi2Me3Q2yQiOPFkglJavL5qnIq5h8Wr1XiYnx6BxJVrnLgadCNOhpNlzZSVDfVyyCfIuGAyz7ASKxvA/xS+AHmRPyLbrTIfH2XQmeLx4u2C1yPTT6gRkoUjelAIM1iUJIHVUHly7UWv/cL2Aw7CqJR00ANaAjla2VLIO7BmshmnBmklkewv6Migswnu9PXQ4JJd7ZywIIGkmV8FBm/YKbU9aUS4XevxVakcbgJpOX2G7Y3D31isjtAU4OZ0PV1//9fjdMmDGYjLr+T73k+OUMOO1TzeVADdgk8QjO03wCHYV8FWGcDIOhUYnWu8G7CyZ384wgCx4xTBrMjse1x29iBsnnQfLHkpi+nO/VFrJbPWYNPBGa1SSfJIbfEhO7gQMIP5QLQTYg7mx2huu7qD0a66nTgJ0csCwq/hgaG/OK3Vald+HSbXZlyhBGYOde6kigsAyYoRRkVxY2gSvTUDjv+jtT112Vjtm/k2SpIpAxhFOBgbKZE7H7t3JfssCo1RGxJIKAdw/dJVHeY6LUBODa6K6s2TCQW5ftQ6z20nndLdw6dFN+iN/ozK91ZuBnU2NjDthYaR7973pogo5q5uO2nQz38EWXQQ0LZWdYwW+RDyLo+sh4fJOUTAHn4OSlsGLs0sLBglnpyRxVOsU6lu3VHPsuiZbbCU0xMA2Uhfg6vyIutVVN8Y8s39ZIIj9gIyt1s9Z/Ybiu8nS6p8k6UxZpUfOX7riYsIkUI/+I7npGq7BzVgs2GLOAt1PN3YekyV4E9NUL+ereeFIHvjOjd/VYCBOCHTHtm0fKBdlFsX+2YKksD8+E3/9LYivuUf+ElxLtcjuBQl1Ahu2jevZD/fR0g54/f01x3bWeS53+wtaNt9qYTCXySn/CrRAGtCtKDdsJ4/mODclcXeR8cH0tZtGsHvocuamKN+rksYSuiBO2V9p1Rn48cIcJSpLIzoyzc/P6tSJu8LLIjDs1L4X8B4Md0Rhj57IE+21v/eR2v9886mgfocKCdCgm/vK0PAcHsplamtHNcjiOgCW8GXRwf3bWfqTM9Z6oVU3YYLpWBCAgxGb14q5E2mkMLEwu+r8WhYWMyXoQe7jJSankMw3k7GuobzOhr8884s8T3j7NpBeFbyBNPTCulqAwUM2AXB6kYV+PjWI7+7IA5ljwkmjMKinONR+kY3nUJ11RpV+YUeoqUitGkoX5cK3BhMIsd/lcolPL4mCH6kWiN+eI+zvFOi2UmlLfl10Ykqarbk+W61y+/OpLuBHVdUM0cwPrzJ6QIHUEq+Hc37kMoWiCG6B9ciaFWY4Kx7HqXk43EcQ5eZ2WYcf6lwwOqokkaa6V9tYD+ffEm9v1xSglPwNZSe7Xvf6pTvrjb9/xd7BsPFa4vmNWlBhmOUYRw7zjU2CXsrPaIcE/ocMIyAPHBvXHSZY9W77I5YsTrUdRQhTG6kop/HQN9mKtcrGWEDT86knqgnkt1UXrVLDYnJSTPWbObRtoJRni1K3KfBnawTtvGJQ/+eTjeAqVQWxBbXbSbibhTTA7t4y6TxY1vLm9Fi2RnU406dN6FCOW8XoFfMPAAnl8aK4XOluvkXZGHoejNqr4Y/2utaGWrBEp5bVXSYtLE47GsKQrhSxM2Ib63UA5FrEwJ4+F9MCzPtFv08cRcg5duEepXw/VSBNaey/WTJN4lnCqqGHNb2BjcvBYBiQtdxMYze724xFwkE/HfxLCIZG+85xbktE2tFGNFjsV+DLHdj5A36BcVC/2iKGkuV8ThS6K4PzGu6fv+zSi+ML6YCKqtakSZUdiqTnnC1Y066wNO6+zRwBypnDaX3AieZQ02JH76cZO/CxK3QDAvZl5WgK7HgXVYXWyD7qzXudVZB9E4JX7d2vq5+OVhV8PNoeFmgdcICgbXxRcqGLazGFqETF8+J6xFju7f01j7fYB2IEYpzAmwkYnaKfWCD9rTpibAmFaqAfPp3eJWVGhJq5WLseXVlzFw5shbWAld1y6/1MgHxXiRZ/CxOxLic2KWA+U0q0EMJd+UkEGgRAtwre60BTW4JSeaTPq7CO7pGOIG/0cTLv4VAAzqlJw5DlFzCRLjpFvvXYpEY+AKcT0f+kvp+OA+bXvlm2/AItPzFPKDYYxremQi3BpDlNTcoWUbpXgBOWr/3PvRcDBuG3LodhOC4cq+inyHvrO8buw72JKTN9MOhDvteVkpObeKf/CybOLsbiZYBtQiHwErrqkG+2oovurNQBMqi7qBWy+YHS8WCkcq3YdAJCkNvXeuodA8hTcCCClyDfDYociFOsyoAs61KH6GzuDM+GIDsbpzsigIUhDka8i8/2oJnHsqlMxndutDWmz6Rfycv2xB3bgYwApHw9Sji40m3hxa3U0YxDHOEK5OTgnkZ8yzoUSHhQ8lA/cOPo2s9lzPCKtjR1gfxqPh6wEb6W58vjMNH7Xfss1iW/lmmcYmCjpDfUiwlYlgJli8D2qGxmDVS6nqmYSfe3NNsKqFGcoR4qpfSiGJ4yc2n9HvIs6W44LjUtaP8NkD0KbxHew0ZmBGtyXKo1VLit9eidaas8qItpzLqMuRczCnfxBfVVA4FcBnxBOHZ8k+D9WAJxqT3o8opo6JSgphkvGmHz1kHE8POZhmI01jqPg7i0hBf1AWntmqjXSGaitLyg+vAJ7mooNmjiT8tMuUP5QaEzbErAIxtd9/HD2eCYL6n76Ueb7botHaF7kl5Zug32YZicX3r9uqPgAhy16v+c491lyXwmkhQGrwDzNvPHeOZqWDmj6Cyj8pkg+9EL/f7iDRzIeRXw9Sbjo03dmLCUz4MTVsElGfojSFHTUZexQAfmnWVvS2kBnATdd+rkkTSe6Uv5xyDyur73P5Fa4aJudxWK+PYp8HWRf4LhTaMp6wHWLdiBogiBq+z7HNm5iuvonGWGzfrSEk+yjDr5QVJfCwJT/8FrM2ZvF6SQ6KGUY+OREYSgny4gA8QlKflJXmqXdHlEQ2WkfgEZxsFVIPISdogbzUE/tQ2Q+mBs7JmP5J7Dwg7kp7yOgs3JyBOFtLay2/USG6Btk/an66vBB/rjrVAtVSM+LhKrTHtYnIdXkTTi/PMU6nFHSyVFVvtgs8w/3gJCvlTJbS9FJodq6hzHzEDq6NpM3xzfSwP5cmBEywSoUoo6Iz/LieRKUEZIjbWpLn4xwFewSG0n0LKA9/VGXcDfAgSBKbs/UfWifUlCUYXhqKbm5UulJB3AVRKdjHGc+7zP43B4caViMN9O3DJUAhVJmIFwdd/7sx+SuJxCNvs3wMHQhjNZF+HAhUerdvI5hrKptOvctiPASUfMWUSNRRE5VvaPtAxE6Ny34V/vZQ2LRpuL9BTbWgMYKydEtMb/xLgnhKeuN3rhbvFE0iqZXpXzzK5rHaWIPax+jvF2Xsvsb4J5FUuemJtPokNvMIu2Wz2FcQAo4cEsGFt7MoD4jidPONUREOH8BJNlsoOtol3qI/atkxmWCbUOMy0d32FsnFBfJdWoIT3WGVhkJGm7ebklLKIDYXO7NLBsoR14zESuvlHPMK+zo6WTq1KHY6aup0DapkcPYOSX/h0Npiy2G29gQBmlgkYVUYJdix1F9wfh1vZQbEbAO2++0pMtGFUEP4jLIEwM2Z78rR9Xza1bp1X5bR/0ttSuVClmjwEn49QOKbYd2j43Ki2VfhX/ytx61bazDhoE01GLHTbw+dpC7gWwUp7espsvQosaA8KPzTqfHrzj6oPsCgWTUjcxKriUGNa2jXl1utQcUTiWKvoNF+47c/WNOqTPIGWea7QPTe1hwqvr2FTttk0RQAcVVKD064dMLtg/HJ9pKRMIh7ghzPljEjNBBIqy3SsKgjMxLU1IniAOdXnY9G0oZrwN18U4Hmi4hSCvnzMqxGasoKEbogFBEiB9ZZsg1hise2D8S6HWEv1x8XoLvGRNKCNuoRJS3qWz4rMNdwLMY8gR43bzJBZ9+vHhUL2QrLm6/JlH9N8LnT5LrDjPdqaT4i/lm4fRZ2YgptpfoWDSGLlAcI/PiY3dkaG1DBKG7fv0kULZ78/mdXquGqcQ46Z3iV8m4bk3KpD8AkkB8H1cDHf69TDv7+Jf8NHIyULn9/+Tq/Knmo1e1EvJRAZ9PqEu89cjJT0WNIm+vcBCxJ4aSvswHsxqnAMHYMzx//BqP0cqbrAxlFagihsvoQkq9BtnLX5DT26RVSAcxghDYZwZHhApYbN30AebssfYoGxy7Wsuz791pdyJn/TWxW2sUovqtmQCl6vpPRmWyYVGvLMTUlfZUp2scVgL3dRXfckXaYB1OfYkZfTj1C/92BzRWOGEVeF5LeR/ZtyADWydV1+Q4rCiyQLaTIp/LvwAu6UrXA7jHIVaS6CjWY0qDEYmm1VIpS11NpDll8vANqf3/ic7sfwSEJtnr2K5CN26bBFvFnuCK8KO7MX8dCWDtMPXYWuOiJkyHvl+KWQ+DNyLGgxIWn0U3/LEko+hdSIXb/f5sOyMCU2zhtdpcWC4dYjRsifLtwgEefKylb2LdflObOfMYCJCUKiXTC4JmdVOKho5ERvPXJwY4gBTKyHdGCYgsdz4eXRmrbVOplvXAqSTi6Ds8bMQ6ma30q7QGkDthdjEBm/qMNchoS0jgyaleh1nNBqLYVKxsjWTdbUhybpEx5Ns0IQuAQBikVQeV9LpsMC0cBvsGMCAN9ORIIWMW9ZB9tjGb1uxYzd7nAorAOQgk52lP3Z7tie7x7uBmYkHifuwp7BVdUAwwW4bacug0vR0MrSFdoN8pK2UJxtFlpX5TiPyONnbKjBTcGlfZ3MxGnXuwYF8GZbIH0E8w/f2NWUnpXiSxVmdceUishGczgw+dn56zUretRaQnlGGcr164EVDuItXj/HgK9IuES0tY7R5m8xxquEx/TTUizRKXc5aKM3gpV5YiICq56sGVbTMVcvwTp/VerLE50l/mC0egH5H/OrNLrHtLytdnVih3gDzjbXZjiJCyjTNTArOnooeT9BmHYPu9p6da3S0W2LDQI/BVOkG1S+fUj1c+rcvrClAM+DTfHdwEVAh7d9XoSgNxM5c/QIllUwSNIMxiQRA7xAoq539ZWzzA8HbCsRaC+ZfgVewNH6HrW+1UMzyJUTkOyf1+ExUy0cag09C6ZwLYEG82sm8W8xS/yMcZ96SEjJnTl5rWMbAvN7FDigmDJklmdcIREAyPR/IDij4BMma5qVh1oxgJellZ3qhhYUSMP8wSEnmYaf3sCctjIbXZo8lV2ugNiZ4EsCIuLS7or4ZBVSb67kxtzsktYOuhNrJDmjOYG2lob20r4lphcZOGY+Yd07tE0pKkMrqpW16Bup3jwVOeDJeLAraBCuOZsElPXDJbzk70hewIG0vr9qi4yl8gwnkAESQS0lPSEZGGzoT32jQAHCCgbq/bj6AM8qi1VrbgqIbpeGoAVl52tshOPXehaEMGN0kZfmJMsqAyjRSk37T0AcXmXFDAzAb9NaZzn93OgyrSn3WhlzWxBIKP+7Kzm+IEDIqUuTNvSV21diaJ4+3GIz1UM+N8i+FHsPu47tJCCOZtNGmJjCfMsv/PLdBIu5M4fiJHV7urpOYpcMEvCezBm3WKVfzQtuOtHBr92w+EgnWZShC2FFFmyrppvTp93gTQMHCF4fghhtTwJGUJDdpEvggx6Wt3eNdWJCBaEw+M36JWFH96rhHoJNzjUqQtLUr4l9M4YK2SJkhpsJqgnj/Wy259xr7jdGBAPToyKt9Lf+0HZxLqKPMw7uEsogCOIDmLRsV5E41BCP6FnrEWkOuS+d4QKSRa6zLXzI9IBhlEHKOdCgzFtW6V623ulcI+XpSUx38+fonBIgWyp/heaswzz8aFHT2fYG390of1gYgfipC5IG6jXkOUxmx9HH5CY9I8OnrWoohoy0MpWbZnvH20xlWkSZV4WaMCoFl7k4fpFlLPoE48u8xLVyQeLUHJlAHH95JLdBi1plQGgEzdB6XTCdebd6ZfDcFo+154feXYfANosv+Pgbf6ibK+slRALgTZE3EyNF31qrut+hC4JMmQJ4s1pTSjFDYZp6ZwZxeTrW1XG7uaV8XY3hGAgbFj09NnmOsg5YrxfEKe4EL0mkegT7CcDvsKlCu/1q7VB32wEDR8MZuP8boZOTJrn4J4GMWwGRSN5Sm5QlnomZmnnNTvEbQBHaiHm+X4Xk0bwhjI3TsIuksaP6tjqXcdZSs2PHd/baP02loqAqX2V25A54/uU1/N9lAgGbS56FR9dhhK2n+QfAdaE7mfoMluQ0Wq61/jrWd6Tq7dnH5IfGzX+zZu600RnP5cH0BhFJfWhao9hBNBPSjqj8IjPVZWlnrxGuCnz/6eIJHHoB97q0KKMferuHAscQkmO1AsAX26RLNLeQDxWJZMxyCx8FKVTyCw/RWfevSXv+Fa8m1uU+LCttR76EB+tTk1AtlYo0xezJWuXY/b8EA0DHcP3ooKZQtRQreNn5TRRGPFehxzJiv7NfLh/neSyLvMbIGzJ1xtZCgY0jKPCqwmUyCmuOzkj/tz42SY+X0mynRqFXk1/JfilH3C39fJ1eV4+FJNStlTItZbLLOV6nwP/weUEUl8N3wIJvveOMOWXChRxc3huWdYl+ZfgsTf1NEriLIvUye0MpDdJJZc3jEY8pY7HEY4BAI42RHJWj/n2FqBMgk3mqzokh1A1I69ruw/82b/3YipAOulG3OEbCsdd6X02xi/x3SjGlQnT3e0oU9CsvdUvQBcKvz8qsLLfAambMuKHtUt6/PHUzsKqfVM/SD1i16sADnQ7oVGX8xXOEucaER5j4ozyprVuoLUcuNer/Y8dqEEoBBBL+TtkSSETSp5OdoLil63tc6jUXtbq63hHDRTtE3pH3GEdTY1vD8EyyYH3yMXNzczHJJ303VJA54qqaQKCQU5rZpguSnZfciQiEBYhrZP8V2pyY6TV/QDGqizg9ml+BQYbJcD+z/6qZlK7bEBwXNqaQgsLSnpy75Dr/Iol53DhMNUSHzjFfxoGM5ToReSddACv/ZImahfgOB7Gch2ny4noAjn79Xt80/KIvGs5vGLhQraB5FrVxx00t5w1DobbJyMPF2K0YEy7zD13jg/qo8XZHpCcPRkTmSv7ZA8o3D3C4Nb/SWa/2CMkslOU5kICGc+4iapSBFphwoyw5OwndQsFVqppQ110e9AibgN56EgX8Fp8SsJ9toQw3UMjtggOUG6gBkOL4oRCwxJX6AUt1TGqgsnVU5meJ9VqSu1AWjlwc9sMYXfA5V7YbZ078Twh4m4AlU6C8i3Y1T3eWEp+bMjhElfhksiiZfNZH0pv63BYCSngT9DLN1KCJhkJeh4b+tT28PeodrsWiN8W2fM3Btm7W4xaf+HsBqXcwVnI4tv/T/ZfLOWPK/kdEffqKy5QdX7wfpfRH+qMwm7EjfE79qEBP4CyRKD4Otg6hiB2WJlaWjpD3XN5uSpg+iu9bVWSAZSMcOhTGSuRFHh5iMhMEmeDjdwiH6zvYJfv5zDnuL7DGrS/MQUZ1Ho4hwP5A0iInmSso9ra6HcJ81QSjRk9q7aUJsSyPhBcYO8RyBKGZ8MJ30WlJnPm92RKoBdjcZIE3GEyMdHBOaW25H3wl4ZGONJDElxAeIAKHfe32HlNLPIZmjvzAZOeGQIzR7kAb5Y8gLftzJuBogtFGm0swNMxaxBggkrc+20x/ivOqpv32sbivhBDbgDCLN14WxwuMOpmRtF7EMoV4igWa/5niq+nueL0D204Ypsa5UJH+dBm+NrN5BU/TxrNrRnLQJPeEZMLLzFVkW3HTgDlv5YE1JzYeM/oDN7qEentVXEVM0tzyycRVtNpRrdygV0EpebTTsPMj+7KPNm/xIgerHymIr44/gJBxNtvnrCRZRrlFMHVitB4Hv7FnS4WbuvoCybQ9KpD3W5U2OFW0cvyS/RKD9HSFggEzuweXGnsdJEB1r+G9TqLsnYhR6Af526AcCU1m/ETYRrRtXJJEmGUmHw/GhONKZT7j3D2dONT38jwl7FRqBrBDG/MWnQsIN6xyjuMw8giQGYOHhNzVebjM9d8s6XEHFpP5nHtPWmIPR6eW4vZU+sZY0JTeK5EV4wmZIcL4DjFatFwimtymEkjdHhHJWhY2saJnp4XnOwGTvHUDO+rk7WL2/eXZuZygcMLmo8BXL0MYOROexI1QmOPlgkFuNq7a7utNpQUm5G7CjxLHgFh2W52v+qBWvv6uZBg8Uc9NFqir419ma8zPF2itz5ErSBNWiA69hqdFxuOE+oF16qImRD1KAkeTaK+3VeoG3wwpQ9p1pVvq0S5yI+hIk1KVac8V5eaXz/+roD4CWv+ze/3pfkEKnWFeWJEY4NZvF/bqSYa+aSXy3pyKX1C7daaQEL2oA0k3zl/rVvjN4gG8fdEFbWeusMbNPf0/EC6LvNYf7X/D6g9w3cla9aayfcP8fxpBnPOMzZTliZcJF1H2EoIwUR6rBj4hwtRD42fPn9Ex91YM0EpUdlG0k2FOE+3hJ/NK4tUgCvokdHpE6FxmVh9wZn/AwvxzdBfEFPFqyKi+/kH1jHOEAlmtsNauEWaNPYMPWlen8tDU10A0cHxnHujrvxtYNd56nFlxRMpxmK6WcSJyFpz16dVXG5kk98CI34Rv+VbvI61zgIOxp20mC/aRqTQ+7MixJEMucUsaMubyDzxoByeoCu1ewzflAedPJzz0HGuYiE0Mb/dnVhmsABGdy7VjyW9A/0SPQ9laFcZrmbIECvzT7vhRePieh84gwmpcRznmUs3yKm+NDv9N1uvtWNH4seLkjvv2v1WMN8SWOrwHKGqlogmWThRauSMwelM9mkP6l5FIvos6yjd+0ZF6KEYsP3ZQoocM2h0CkhZhGFM6WgxzDNfWvJzpibU1fWtZgsoSm2Qm0qfs4l5+/R9Gk1pdZY5FX0cswBpL4hElHfCnqNiSSQ2eGQeWR74PNzBYtZRCh8RMhfPvmA77m9ZK8GIfVwGVb3ugJQRiq6u9AFC/S/tHBj2fWIMAUr/enX/EE59gTiGzSMawe0oboihKpf1kz2Ap3aKpns3tAVxhmr3MUy1zZhGt7J8eJUN96ZcwUafNdMazhBoTN2cMNmFEFaVl2dP3sv4OCJnZtueDGwj/FyE2WDvJpn0VrpFxUE8bN3Bi56Jn+BBKBdUXhcOXFOVIppvpZbDXD+gh5McJOYMBLxdMTMjdnsJ6pv13eCNsoi2w+J55PZ6X3xhf0EN2tyG4unpLkSBxOZSpazdUB/PZ4zWxRU0oDPPgEeIVCm1lY+C2XL1wWDNJ49spAFdnpRfAVrLaWy9azj8dF2rXmTHNlrnrbkNAzOHOGwKACfq6uWc6cjpyT5m68sg+v1Qit1FAR7Xa4yc68xOyqm99wSPqqs8PWQQ/6dHdh4HRIEVgsVAcuNQc7Ly9xQr/sKaHo3ok2VZkh+4thWRyzsgDSF4kfE6+a7+NQ5o/nH5nT50ZOP3RmN0kkle/PrQ2LUxMwaL2KNTmnYfGnDapEtBJBQRp3ARaH+lCSaYvletSQ2kA6fk1R83t9XvcVgxLnEbRf2Bw+PJCMkHZ4GKvPsQz/EjqKvau/PO8NzuAlcBfEG7bbr1367n56UiHzp5I2TuEaq2YiizCuRjd64ZJIe4c2JiXHsue3BjRYgGBO+En7/woinDs2lC9HY0oucCPqiSnbHqKu4M+lYCHvdIkqmDGiQLxdabJkmml+a1Rg1gtciwiDADykI0LhQzpmAMMVw3CFJJL94Mc0X1I2d8Vm3ZSjPHLRQ0u+9u/YBIIwV5jnmV6rb8y+iqXhWsyyhe+PuUEnj72Z46/VmuAAjQU43COIZUrkJSHCTYrbM10D00t5p3EC959+JIw+au6vZKjXWIkPGBx1YTe5ffdsGOVFMEPHo5qQBXIsp5RdaorqSV1V/JH8kFV0A2vBpEeFWYYf4HeLR4eeBTJhZF4b+iqxsyspK09f2m6XrI1sPdX2K905iTdoLIB5bsJRr6AfvaZu6J3XXNsitZ3ZFFD2JX+3HpuiC86KWDktWnmC4PAese6SyRPUVk5Z8QpHpZCq1jWaV3MaIgame7GnzxS3GcKHztNFMGHgYBaDGO3q31EA8fE7fkkzaQ8QwR7+F22TbL5cLhNYykLYy8eokE+P2t2F6GZOYd9zNFeteohg/IyCRbSaS44hEvDMwpZVptkr2J1G4NkXQ/Hu99f6C+FhzjVLJQCunX4VsE1L1OBRX1gicbhhL1Dy2JTGAJiGnhU5GEbIrMGC7z8FGAvjSFnw9i+un93ui5/yMfd10nrHTiPsEHFGJIL/Kvqr5fc8kcbnUG3yqbJ2tY2cgBJnP4+3cVTJWQY0253IS7A0MmvZaUPQoLNrlSbvnJNpnRSzj6Lkl2oTUT8KDBHuKMvkQ9nSws0VGbwSs+TszesGeRnhYtRg22nnRC0gyu+mCbS2BRg17c92fesuaAwLeKQ3ols4DUcfLP3qJV6mQplc9gFgyD5FRYpTyXF8T4KRTXfjbLpMwwaSZ8fjlg9nlJYACkNLJGSvEEONN/A0LXPNoY0sGuXjntt6/qhILb+PQ8rR7I/nTDsqEBeKu/TEn+3ak3S5gr+K9FXz7gG3F0bKC+daw7lV86Gvxn4CfsF/VU/47+zY2FlTsu0r3gRPzY3B7adFQmbfSeUAmUwgZMsLpcdAmWMOyjf1kbQXZZFb55jxsknh+ATST80vIp76r5nKo1xYGO6anh3+OyD+EUROTBVq8WxyQ4Wma7a9LayJy1IWCjH1Rdc533TX8w7wOyzh04N53U3T4875TuG4JF4CEs8mjaaoSxJkW9M7mzNIteE2GDHBjUZlzGewCHQl5ceh48srL0sm7pEVUEHAUp++nXYlWjR63vWChft0WBPGUisuVfZnFe9dV9+VDut6JuW+KXl/4r5tux34TzCgLOb2HgS/1DKNUOb3mqJAzR2LvpBkdVMIiVxzAQUL94G0mdYlL4auAYcyWg9EuqSXM0vlICe9gTVCoIckqc3M+L/NYpOBrn9P53pTKMlamqaDFVfXLb58jzP4Lk65/b13kbPv/JSL5Xc0LbtaYsg/O1G1huUGVFVrf2tVkwXsfo58dpzyXlAT2B7Cq92h/G9Ql4bdGvX13qKdPS3C0IOk6CJvLz6RKL1dj0/kwWyvmp2wzhWLVqy96jMrL/lU8lMe8GEnH/dA9S0cYGJWxkzzIS+7NvQClI7CCfKvt2/KdbbwqAkUAeS5ZjCITAoTMbql4HATm0u33SsamycRdELaM0TZqDH2IbQLUXU0JkBKBYM1dM4AzozU/qU+fA8SEkMLNeLgyqrrJo1eT7rsIOxJipcQv+45V3Itc7OVyiAsXHNbINSesnlIXFGdvcr5EC+q62FQbNOaiyqL8wgfHey/Ym0+7f8RDe0C3tYBwdb3HmwF9RR9Ge512AHvXlrF0xZwQE+sVLFO1CFDe5Zz1N4/etDb4GPnyh5sbPE9k2HeKRWWD8OnIn1p7bVx2Z9f2Ii/zuEhOS4qkgGM6574g0xyGlxpIvzJV5mJ2kyEpJfwrjab43g55FS7JgakJop86TcKOwGxsCfceVs5JCVT9RUuYQZGLPGBSz0ZYEy9KXf5uy3BlRVhH30syPzr0eaPpJk6qfVb4wdz1QhMV8hYGI85M7NIIl6vsGd8D9Oeo44MIibGUfJq5Cz8Wiy0snSZg1ubRhkvm49tz10ECcvmYYN/LXsTwiK4C0dCcosVC/R9uwXRW3xunoaJbnh8Na6HY4gg4idXotKjhltO/ViASnji3VWK8c0K7q3lbHH/MbhaN2QHctMMXzQWCwmhv3hT8aWjnzePwIvLQTf3KPq6Cu+TJMBlrdBiPI4yqk0JBhYISm34m4anogy1mmeQdwnF7oK6qAe4bKUz8YyPDaeDZisY5OUlJSXUKn+3BiC8rp7TRlg2jaqboGzVxxiXdmkEsBW7cFTtpmthdZIdssddWy12JPshhRlUPQq2MNs7HWnGblM7hFKHWssNJCcci0VhpoNKZZymmD1x5FYP1D5Kqi5LSjaitTpqWJNz9U0b3Tl1kMh9+tuNGlZ5VN83qvYnbvH2ZC2ylwxd6JVznmymYMNlIQ31AypFGqSfIV22FT1bs/W378hqsLkuXUfA6MLUNmhEXu817kEUUfPxEClU9llUCeDZaiR8Cyee8s6QMYcwjCSIlxX4VTZtQgsEO9tZIYaS4vXo0EusV1CJunZP0hmtxKrxP4o8VlAdpnChSLp9poLdljISWbK3clPXsO1dQXFfphGQLkyC3R/I8gomL8X8EyLiNT9OQEZX3B46Rtaose8/8a+905wtiv2/tHy7G6g6XOE3jMtkrTbMvXGfmIA7udIipep58SK0As8xqGAhwbf+mdP1PA2pLiHx7+wmHygyPc5VauMaHBFBojkXwSyUws0SBmSMLAg3zkKv5E1Wpf6ckn9wmvY9jRtQ/R/Jlm/ZmTN3Vt+I47nwctBxNwmFPk0duE+G9jg949NcRkIlSl1VVnSdEfEWHT/SRmopwT0m5ERLVNdmYuA/Goac+1VPMmGTOLAXnohHgMwCuvqDjO7mshvwmG/GHA2ufjQty6k1Q0BwZIQN0jC+KVQhm82fjALlJQwD7xPPsYGFa5qGSlxHJJPd4uKOYqEoq8p1IDQqqWcPjHy2McZpbdoUNAmWNbUrMv4zW0GrLbC/zRIISEuyfpbekVYkwd4kH/DTcD/+qaC3IzF6GZb0xccKfebSrji/haWp3OQaJxb92a+p4xVajRO7p1VRiesF3DZ87gYhglDi9urqZ4rJBxA+HrNdk5GAqIKOy7pfayUGcIYbh+86uMD0UZUpzFdaKdjTCa5n/RLQMGhSbW3NVJWPTEhNFjVMy/EFmHp68g1LT+w1M6RStlnG0PuNrNykjAnAMDYqQmRzWAAJE+Bv0AtDOxBRtEOP/C6yCZrIZmScBPLMnMCwES98ghy/XCpvV6GytnrLtWhxuXL4xNSlNfY3AZtBPBRtjI6iTmDftEokL36onV/cKkOgQjmJ4L8Dm0xqCLSkwbjnKgu3mEN9tPcjhopgdkW7ZFG61+zWwZrdls4XVDznWC8gpJecmk4MQh46uMTVTnkTjd/4JUc5PDa/GBoCOLiFa3TPm1ITZ5R7GHHYD0FI0KmZ+NcaxRSHfI8a2NjEGayV50GPd4JC6bVJ8fmeq1ZcBWK57Oji0ELDSiIQFRRsIkzjbWoXQCkcbpCduSHVQ/NHvMC2Z5aspKifZJiI9Y+/yvfIviCkeAoPC2ti9EBe3LTerf4QIEe9ZKPeeEF/iN5EobI75at3/VXQ2gwupfRe4c6ZefDO+6xrzOfk6a1tYOBH3vs0FltdZu8GbPQ3bzQtuyv8385X5WE5YJmt4Hn4sBs4mHkMCq1c0rs46SYw2MzKsmEVdYjRTA3pUCZYw/1R2/FW+xaEVF//RBFsX2pt2zX5gTjyhSGdddQGxxAAsF0q9ODO3Pc/8ASKyaDcR7Esd4in7JbEOjdz4OSKjM1ptA001jaPJYUqriiI571+wPrJ08jR88dLsF6EKPv+RMqugoBvta07PKBm8Su2jyig/5LeXBbkYgYdm6llKXPlhqE4bDHEu9fNTJu+TJ7MGDZEWKx8fs2NuZXYuOG8NMDqmElb904MZXXIixgm0JLQrK2DioiNR1usLz0fJtze2JDX0qLuf/cTahL6tOqG5tBFINDGxGN2/nFzAInDYm/NmKp5WzCYE527qDExyZRH8r3w/C/2SuH8EbOtar98TDnQ+k9SOD2BJOcX4maGZWl56O7+fQjP9jNnouGe1TYnfm+D3T1RRKdmJrdm9aK6jwmie9u5U6SSb9WraKz/e/CetYP2xyAeCPSo7hkrA+v9zCu/97fWMjJgnXkEhm+NfOCQcx8hzP3HLbKBzv0yVAgsVJjZRlxNMlGS8qz+J1x8Ae/tJ7DMriMTCPoe2mC/SFdXlCd4b8izFtQhOsmHwnoOzNKCWkpPe6JQIrrfnP8JaYOawCMFoMK4Fhj8i9/w36Eo0YVf19NJBQxy+J6DPnMJ2kXUmJW2n98MlH6x23CzDjioqA6ptdvpSgYjhSnN1CqVg6iFeNzALZyyi07+ibe/tnrDzBp8qrNfYSDVwdPXBy0y35djxIeHZwAMqWkufBQGpKOGhntORd+AVBl8RN5xtzZyvCM2gwvARI4/ez544yM+OHA5EwtqNkSzugeCEnfoh3FnwR1F1SW2gp4/AC/WDmADLSPABKXTV39zYDZr6UXfNLJtXuwUubALdRFVDiJIqaoUYHO4WGAMZzRbl4y0gGrvfpokqtgsCJdidfn2ZIM8c6BjerzX4dEVYB44RkUCP99K/KOBFiqgKE7m9Z0WZaK52v/+MoiycrLgrbY7aPW+wn+WPoGasCsoKD4EiGU1S5DmPretlcPWwT07sNiU0xL//yMjsUg8jebcXhS7OyjX1S3kIz9Kpd8niZ6RgSPoHFGAIlM+9R6vX1zaUcF3ADJ9A2q3j2vlHUDJ/pvFaz45iq13eaI/QXaUoX4lsjT/tmtxiLb8pZSFG+OscqVk85zAyGJ+zzV5df3u4wAGeiuiaIFTdirsQhLIJv+h0V6vy99M5kccbC3r51v3pnf2hV91LtMNYJak7EsqAXJoTTEeCkwhlXqdgbnh3hcjw6MOa4qZ3vDe8p/CtkZ1LQJDLsgMQ70ll3yrE42cHQAGqsY84fdoApfgSIUX98MVT74yF0u9jjm9OVqZIEhadu5I9dG5RIgX+GQhyjqBvP82BaT9uA4HkaMkCqSKWlBeDeWHSSRV6R1AXFTHkiPULbeuaOvzz9NCmRRefcJpD3cHEqMd4qlZTUtenEvLweMwDks1HahGYlEXNaEZFDYVlbg2ipEZoo66cdY++mt/tKay95IQLT4VdAsu0f4X7dT5Zp+u4U68gcdHd9av/OjRwCPCLWGocDOZSikee9cId0y7oVzRZqx4qByCWI3v7mk5/6e8tnHm8/PaaPriYN/dNIEVJTJ/aVxyFmbSTnw3ajBO9F/QfL4D4qOf0J+m3ojVI8Omwg5yS3GUaQ4yj0C1m9Wbx7lAiXbaN4zKWo5scrls4pPbaMRtoS5pA7+GfmqLEYoxuRiLfmKnA0AOfMdT+42OPoV2keAYbGeQFetW7gQ3lwMGGjUvk82JQmjoocN1OiBGfoTWNC+pdlfda7s50mCNeE2Bv9m3RE+yXz3Z6079eUYB52D0IW+mKPZhyqgCt9qkwYLI9B4M239DOnT5Axa7ZhN0AcW1xb1cK5ts01WmMGpzAuW82oPC+XbRHE2uyyPQ1LzbFRdOfBHbmjSMWg+pK/aN7Qt7JGKuh/DxrAGVVvRUK7J6V+vPZjH+b2Fi6CqivlzGPd2aVN67vZHUI/R6R12a6ficVocETDq4mamc3KBrQBOtuu3QRK8AlsWWU+bvgRGo36K33av7N0owyx4uUxi37ouocH5Jo6RqYl9pKsNJHgy1xeVCW8zW4xTvmVNDDIxjuG0Gru3nHg+CPFQAXRP0x0RUeLd0ydtEnaMRhwaQ1jWnThUE0JK3LJ8WHa0baUVZrZwJ78POwBUqu2itSU//zb6/HmjvP7fAxvNz8+TdmdgDcQWS5z7rzVzZMsU7aSwhlE9b2Qmmb30IuAjh4mGoBmwXdvdqDZxz8+LcLDuNsyUxuUlzrtogNrUVLJn1MnPzShwk5CBBYZW4pgaMFrrrE+Vhxe+VvnZPEhGISfaNQTQaT6uEHM9AMD9McXIJZcKgzOxTAfdT6HtOmi4Dw6UfnBSaOx3PPfSWIhb6xaQec44yHeP76enDjoh7bM9SLjbjl5uj8J2lIQOoFzgH5Gfwku5gEa6mQZFvhmlwSKwVNndSGLAUvYkiUYiskgkXERTOYK7w73LUWrPM2V2eqT75UXjmUktUv8HtCgvzh/R3ZxCEjW8VlkCO+pfIrb/3t74DzTGmt13Y2nTm6WiaCOMN/vj8v3NcSz4C15jbQS7MLi4TYRA/H7EycVgqJo/L8ngvRnaPNCqMwPaSNCre0qIaJW/6oKVaXC7E4nxNtFmeYwtkUiFmGaDADrBpnc6lrFxDieJxMHzRZwnr0CYs0CxUlXLxRbi1eAgavUJj6rI1MjshKZVIevdRHhtC6OcpeEecFcpKBlflsNT1KA9KdvlldQf7CWWmMYKjCNONUlRGXZf2rCHAURt8R3PCPId7au1shExhtN1F/ms0KKbHC96wzEuZIBeBtA+ZI3cm9HJajdCrrzEhYcCmKfDTWGaBja7w4fEIghL/dnVNYCnotpO1EgzlTTxX4Ulm+XRrMYFVDZl03oc0AWSO2HSdJh/iKBSjFgN8Sydn2fR0GBpIXrjoTDkL5ywABiGzd849XP7PSEI4FLYU83M6RGWBFwqvnaWN1YS7JiYvqhQs/P6a0aPv3qv4KEcbslLQq7lWNFma5DRGhzL7kQl1KfZMZCD9Csu9JJFXCoue2YvfY3gENxvGIw6Z3//nbrHWh7dW+fGP3CtxabaV9wMq0i8JN0xtShjgtnIa/Y88bCI9woxQEvJdLeRKrUhDHTfHUhgWVjoF/9AWVXTGcLAyJe63ykEhQeA6SMo0ottdVX57tHZPEyeu/Fedm72ot6Fn5crcaUevocjDFgNfuI31eiqSiG5vf813WKKdNCfg6tEFihItFIqTVe1OLiF5x6zZxok8ERjrvrvFKfL3yImadoknwxROm0/+cBDKL0COW9euq9AJLreSaws3qDJ7kdmtVldwce2KUYIu2G9+cfZC5sYmhJp+0iROngj1ZX3v8e0tsp/ABq3yfWcAnvALOAFbQBNwfhKS1TzEHgQyEMGN6WgpfdQALc5FzJzmZBl6nFfdfLQs8U5Kdim3jx6RM3u8Hj8r+rRdVcPqSPiDRU6VDDSgiwMf1+6v5WOjcIVqD0OvFpBXI00q72/OiaTP4+KdJ6LNlM3vfaIJQMOT2XiyNTL6lLPdeZ/Dfv9el5gtgpfvqHBOuwP4bpYM/Jc0fu2EtazODiltxkbjKJ+KxuVjTOmUV/tNVvvYXnc/AdoSRAJ7fL5YSH073eBF6tQ0+/BZ9J9hPEb6SWvByrK7NPHiEXY3VNHU2pd3FSaY4jv+TjisgbCJzvRiErjvWOe62I1JRbAknDIFyHsKy69cIsj1fDVPWjzi4sAwOapPjY18gJcF8UUBsYBnYVCc62hhVl1NQs/ddGee7cFVtDrooq/xdmHufmE3u+LnsFlqhY+659IMj7UPOqG9rcuxymrMzijfXLOZXB1wwobfxpZQd1KjYmH4HG3BLQXUy81NyYn7QbvpH7WWuu4WCtXi9sF1H7JOqh5jkaCYsSJtHG0ISkwMrtjmhQWFB64WiVliaHjnwLyr+NZ5BDVKdSlBkJOByW/ixs7xPmFZ7WYavwMRKiUBI4M9IIA/+l1usQCWxdIw2DFKWOx8gp6xoUsnfAWVgwTYkaUJ8YEcjGOyKMdr9K7qO739Worwv2gXIYH8ely3zGCqkjp53NZMxc7u2VJpM8trtF626mc0BoLwmXxxP50Rai1VBT5z3rwgqWeUgYYNIR2DMDGVnsZW0IitV1HZehwK5hmZ4wUZJf5vyJAUNXkZvN2WhSbql+ad4FjAzTIEssCc4hNQiTPYS2f9JiagTkWCa6pDQC3jLOYmSXfdWRgLWcNiUy6jyLCg2ZdldM0J5EIa9hNaMk8JowYyBxofuzRH1uFMqdb7qYZNECkycFRvtQt3eS+VeQMndKF5Xw2xKTRdbDUOBYS9ssJPkwevW1HoKnfUOdqng+M7uHZhY2H1fp2T9rRSrhTErkEOZFk6sLTaTYtofwB4buG3p3LmrpBB6fD6427BKXUJ4dFhxrQzt6olfJlJ48c4uwF0q9LrvtFRDr/jBOha3wBOfrntwYpB04B/1BFLVMeDmJQPnomFsiF3TuefHR+qrtw7MUIb6yEqhq4sC5swWNqa5AweWOQnZdV67MKefy/02bMCD3t32Rt597rm7F3BNi56NMe/YO2gJmHOG6IgXVJyKDKPb9cpdTLBxIx+PxqiyIsLvWkwbBPip/YBZo7UYFBWAJv9jO73oQzYN+PleN/LVKdM9VRTtInxidf8pt/7EyPpmyCn+d3QTYstxsUOyaefLqYGU5H6cgnfenI9xR6D5qoJJiDflmsY67gudRNwbtXlnT1CnGDTSsP+wfKMc3p+zuYdNfBpm+1j9XvO76afOVZ/bUi2NIbRLVTmN9ojYVYVWHxp3Pdx69Pv87lq2IO6HtzP9UyznfisGRJMIEVOJgfm4GAhtuM2BIKwFw0JG9yPcpWjsAJZJ3fi5URgDbwLhMxBvuSXkQoOHQqSHytI2F6G1yUGtmbntleP68uSTMXDuVk755XZ2i//dYQFnReulY2hog5UlxQnt+R/nMBgVIpzUxi95X21HA6lXLv4EnFv+tRQLkW2agyslw5HMjVth1S0c+Pqe2o/F371ZSuX7cUJdA9BuxqRlgBhnol+qDXgzIvmqwXECHJZVyfKBa4bpyKCMkddVUes35YMna0wjlJLo/l/B3C3FvjkT6au/NH65hl6kSoYWB9jsTMvOPyac744dE0p1eN7w9oDvJ9xnqHBIQs2JDLXMsvb06zSOqXrUCgOvZEkx2JZuoeFOIpqmVfsY6ogjHThAl9xnWXfFjEjoFBipkcGhuWPhRmCZUcCyyqE8z06/7bRkxdI7NgptU0A3xwkxQIPaDFUf9TF1r5fYW+BYkYGJwkzQonZTcCbY65fYIXlYDMfiQbHHzs1YQggrUGJtcGudfjkRqCDTMo117dKpcyCAhjupnbcOLMNTmPAdAcVCCQhmG90xDEzrV6KZvGvXfDA0UPtov91VrepZrNXNX+kDe89G00hzx2MKhF7Yia5eu0mTaBsyjprhg09PTdSlKM4PailcVcmoYOLacz6TOIDidqqoP34CEkf7PlcHEW7loFXeQolOhDhSc8yzynplRUMH2slpKPympYYcA5ZVHk0M6ytHXd4XzeJPULfRiuJrFQGySKKoRT8o7N92SBf/rykQci2Tokix4muYhFGRQ6Ena0nbG0Jz0bknUt0Wiw4HscOrZB2/JuDvZjbQNwjiRWWcQEB2y2js5GfEsqH60YWQFTaP+vk3ZWIPfeCCVUrsf5JKRrI/NJh/ewjPWqtTXY4VqueVU5YWMTTyYc6cEaTV8bBy8oJroVcOqgoBJFuDGYxJYr5dSO5OwC+iS7rW9hVT6RDOTJfjYR3aZLdz6VMcvTVSs4rrXSckQGlGWvLsmp0kUpZSeBwUC65YLJSXCgsWIqpLlrJVJ7I8wHHYiQ/HaMEiDzFqSxtGY8oU15sGEdTnH849ArJaoX4NKjt6j0jFom/sxeYma82eea8p2LY63FBXNB3PNzuooPyXl8OGumAw1tU7YsvXl02+F105knzRaKxIq8MBysaC2cjFw2mpobqbpDM9KQSFzmwRwKY7eL34YYnDY1nPbyUN8BxTR3bv1ptl31im6v9QyMbs0j+AGg0PXl0eHCL6xPoaTvnHA3ymX3UBPX0vaY8sj7LWKsrgvYg20oQqWFVq+YT3eRVmkYvAX+6ONe9nyeOo2XK//9HcrJiN9fjeRB4YtgweImdC/8vbHpmYy0zZNOEbkJPTgmOP3lfNX2Oc/zUt4S7kVT1CydruT5IffF8IVGmD95gVSYSIjlA0sytEoGr110NeDWhhdSGq05CrtKziIYFhETnENtvRcfwAPb+PduUqLtgyvMMBDDv64Tw8Vl00E+2xwwcfvWxfkbzTqnipeR64oSx4UeFe5gBCFHRn8rivf5JFNvkuAtT/UmI/eDH5e02vjAPk3Xw/7ampmSLNAkczDwKloNUNO6ThA/4GOJGmWa9s7KYPIXm/F14AvKTU+zsP7gFM4uJeOnwXGo2uS+15d9F5bYWffXda2qEDXUY5im6ZdAmvDfQR5zQqLgCHdrog6z+tRCXkGqSX79G8I4xuwPp07JyjETsZVr24Cgyq+wuOyfjfezrqePbPZX/xHpIU2QFymjYWCW0RdKfZFfheFHdPvu8KyahoSLX8soi2zcgjYV2TPxiR5V1bBk9JSrVM/GzNsm6V8w39UVZc+IF4b/fq+pc8gtezkZrU2OYoV1G2duE/FGZRcwTOsLgmDX5oBHAj1WbPYtsdll+q6Mk1I1VZpOziFXXFugRIq69JnG8zPo1DtDDOg5WWcczy8uF/iN73fMLas9zUUA/aB+/q8jRyl71I/Y0eJhzDVcrQiV1O239bPW4162JI71WuRtAI4F2hzYk4v0bFE6iytph/gjIcUBOPo0lWVRpSRgaCZAEwDtO8QixAQszhXN5dD+iJr53B/D9Q4N3tkn4NsmNWZPiyDtCSwi86vOs4lJk4RYuziPwBDbRV0vZ10HPXQZ2PHAhIW1Bv2RR0jwSbolrz2izUPDotQgAYfFHvc4Y+FFHTJLGpJKcj5cU+VJhX4sr4jbC9GzfgQOqodmLO8tQ6Bvd0ZBskwjRVq0RtT+dSJnxydcfoeSrql9K/deLJyz0F1IomnP3Edxb2f9yGPmg0K8hoFx2lZa/+VBay5HWsrbcqxr/TYk9lO10di9Ftbd6oZpInpxTkERpfyBHwi2iliMhQ243+yqxPIQAfy0Ox7gP8EK8JQNbqcYveoho/++1SArrORo1cfARYazIH9BCC/7ceDOpeF1sTSr3a+qLRp9LYDDuNhmSorPySzKVXtRuuCMv9G6QfKRAsflRr9w8czBfghaPK9ePf78RB1HdEEvzYFtovO+EUWpf3BjWUaC2LGmHsemgfbxXJGROB9XRu5jfZTeOuTUYOqj+TtCBOJDzOVsfaS2f1VeEWqTKT1Uegeia+BWp9rI4V8UFDZ8g2FQ5Bj8QSwW33d92CFkoV0iwLdsGeJWxmo06z7mV/3thLOl2selqbc2p+mX4OcyNel1qxi1oxVl16LxnvtVD2bGX9o1DCBZrD8uAkd01I2pQRBnM0rNgGHGTpeMQFxU/hq2bzXZUBtsu/BqXeU2XN/OvNdXvy01LcFP3V/W3DPopVMaTX7Fvkj2jCcXsII4N7y7qvevrdwxcMXAJZQ1tZ2Dujm4OMTn8OP6Z+vKPTPTWB/WUG7p0J5MHnToh7ddGMZ0IcK+ChwrvSbsNPdasdMelJM66SZBp2jKE/EQ9VCtlmbRGQAztnin9sY9tiR0KnpQYnJlkYFqlW+ZFJnzrw09TMV7eEJ9AJjaa4jHZ/7VXl1Y8jXgeSJ14DhLew2Ww8junQJXyVSqHLB1HVO50s6QCdAN0pdRT3IaX7Msmeg4QcpGZrXqhEFUmoBi2mI/tznY7kh96pZOvFdkMEU6gBWiYxfOz/J4QkFt0h2Uq+vq7RDks9WIaogqEhjkbn1BDix8zoe7wkataM3TDfeyzMeTOnHwRL4i/Nkqi3GyEzlX+51Mln6C6aBWCI5TJP0ZejBvthUP+eA/hHLVLEiKr8R4wltQJQDQwymzzcj1ZuWdLYAnah/5dyEgw6rtVPopXwUbfH17SUkrDCXgfDEHPRX/EDZ1cmMhDF/IUeiVDDsxDnFNZMNu7ZI1EFzKnmI/PhLvATo1QtGaoY1VPraSSgRdRkqIxTigm+C2WKFVNQbKfm3ti0S8rDiRGEjBBJTwxNfE3VGiehVqiIG82w2meV3VrbGK4jNpVxkGgZG7u78XA/VeoQ7SXJ/pFabMJzocIVLQG6JCsuDa2w3wAfYQYBYbiytoiUowGSwoOncHIojDJWL1CVDoL2sxzxXk95H5Ibtw6Hb3lqjGM7q1226HeTf7YKdhLW89UcDs/0X+T/69v53qp1dCwH4Wf1sb6WSHn9cjoH/8OIlgWFNoJzbMYlAGz4BX4IlBVd/mfYZCBszP8Ah3/r58KYWvhPADSXf8HB/pcM6Lqsqw8lLZQX+Ezcr9RBIWBJnSx8LUJruA2ATlvjEUK8jYx1bA2Jo+gW/p2dnjmez1nG2fpepN4vCSfYOmZqTuRBIsmKREeqJhRiJ6F3jugu06dXPvY5YyQRaU1Ax34yCGdDEclLYFFYaVCUjYCzVwaiheQe8HRvvqUX4ew598cbfmFxkGCNoxhYoeqbZ0fJ6KKQZnr+sKL2ni4EuLG9LeM46QoWcq/km72+FpxnbyY05ds51IUULF4S12vtooXrtjbjwMK8NXwzUsG9N3HzH00ezcdRlvqryCvo5945jBiMZ3K0vPdWJSmLnkNFmDACEYNu3In2br44gH5O8Ea1h3AASkF890FNzmznPcT35EPDeEsCCnOn/jNG6ZlL/YTV8UJW+sb/8VbcQ+z4o3dtJibkzqaQ+4v7vQWHvMwQ71Gkz/Ser0FMXFYwFFwIbXqjfstxc+MXM+EQrcaktOYKONMnoUjEzHelIz7fT6o7uvF7tKpHv5IJE2q7KCdFe8j5n6KDfiYo/F6G4tI1UYsIGyOGUG9tm+vmZiMIUp29QZ/O5+q5bel4+nG2lOW01ovOalO9PzV7dQKtV0gD63nNyE2NGjvpwqeq/YZoBpQDAlaKIOLtFPpZPscoUSSG213l6PahKzMYknin5PQOEtBV1MQHwGriog2VC6kH6uswzw0eFLApJ2Blmn0z1cQotwqo+bJVvFBt+3svfBfQgfEfEnpJmqf6aysVZ9SvVj26lk0JLFX6WrAynSw3DAODDa60XXCooQQRRI0AVitSwbKiIFbwn9omXkfcmz/ZKdsJluJIGqThJVsyZUtaPunGKBQdYIfy2JIkxekFwQHO7yfLjQI6LgTLBSpTM3jRn7I5wbKWxpF/1s8PyVLwWjkw6wDMANNSdmC1HVXNVVVuB+d02GlgCipAbrn0l/ezZ4W6+Bd049ARkaU9K0gser6npKoZMPKyMUWPvlLtVxteXicGuexUmqTDi94F/Zb5WfdVSGBIF9ADIfBTeFXuzKDvJaoJxmBTiWxWTKun1M0x8fsoo8D8U3RVrbCF9MBnY5uYgX+5Kc+2fefYM9tof4ttjU1Ip9DYGdPmENTpfxi6OmyJ3PwQ8IPsysQSEWllWkBTz00Qn0ZNnq5aPJmTHW/EEtecaZvEl9UQONb4sORKo3Kev2ytpSWi/X5BFFaeP1I++DoZl6R6OAD3jpzzA9lm6sF7wcDHFCWLaiWTgyAAYn3LusmUkX4jWM+j3QjoGmv8vUixV/V1fpoqvlPL9CBApZfefYDymw1ZmXe+yeo/pCZNAuBwY4Gy/3krx1SMo6G/cj7P29duab3XVHLF+7hW6wWlX9UPt3mU8p30TiC0fmYCU3FcIGfHzoEiXxAXcj6JkKpKwwev1JvyyZA3ZT+tIvHGMNsRFu/Sv4qHvPQpxQWGtRKuF+xFIufOV8NGfhHKWVIgt08QSs1UnGlB/FAyLn7UhmzPFHUHcd+pJeJmL+juWBBbRDzL+0FZ/II2jalgfTpofxKy6jr/wkzfEffH1wg5ZS/U189ljkSrGjDg/rtwEmIfXYmXO8e5W24Lty4YrdEXtCqXOkbbaPh7Y9I2m/kCzCb7fR3UjVXuODeD8WEgsjR2PQbwPUz4bf9DAU9vq/0GEeB+iVG4r1sEClWr3uBLulrOpOfaUkMZ+G7ij+nUL9uISjNfAnJCRwrMpC0vY+K33NLxZ2FI7g3/pxN23EjyGtRAFtWwWOnOhLjW/qBhXCDR60ewAHkNHowuO+pZXGylv7q5CpfCxO4Fx5k0/Cj87Rwh+ASwj3jnWeAXMLDjny1W47lARwz1zsShiKLOYp9+OSJL6lVAF/veW5R8j3Veks6M/UALZElboixDAsLUoj6Tvo1HvnVowDQzCyWXIIGXwOZiZoZbRaIEaBmxCALNWTo5OnBDexnXtCy+A81R5+rsCA+DD2baeENbHPzkuqf59Ji3YfPd6W1jH+Oo6KIjR41BmyeuaT68poGapd8wr1t5k+7/+o9BiVmPr82uyab9UstQn00YQLQf+2ns1hHJlaI5XOBEUOloWGFFZ045b2y9a2hEogT9eynDlSJCuSdGnIezKS8QJvmADt1NZLdZLUENZvkc62pauc4F2o/V4qo6uL7RpUwfjVq10AKPgvy26fmGCO9f7T5zVPh78ntYMMbb/UxF2mAEwzDquxg2zU1BLo4ojw/27CgXiXaL56mjmAt2+V/YOXLKkw2ztnBeseiA43dZIXjx0HUM2NhKLaRWZbLGOeghx1RxejJ0Lt8sCr50pGOG04SA6Y1Hi418N/182T0U2Jror8kVvt+OtFD8KueXtfg6lyoZevWGqf9OMa6DE5cOs1u+ZT9ZzZPpOzwH2LS7JGia8oDJooa28PS/BpHAramtbv1Ro1u1JQM0sF05Dq1CIagN2mIyszsdMit3eamj7vcO687yOZ3HhF2IywEUlhK+OZ+kxvJUKCRqApFlM7tYDmJ7ijxSJ64a1WqLxOd/J1Hh4EZ+IKW6sYWZR56xaQwl+uA+TcIaGo1MqOF0PtClNERjN9jSA/Cm9aMotVA4LTK6JXwiLzWDJb6ulv/splLciDMnF012brivjwoLXOM33YC//yb0WCBm7ja8InqFAQx5joZlBHvYVT44HV4uaPvBcJoiFOdA6/Grr/EcqRPszJqlTguWKptL2R11+iz14rAsXlKRaudoix68qK8JYT3PmGgc0nfSdmYiO5F5EyJzYNoylMt3DZp5875yfI5nnvH+RNrb3y02ZK3Pqj67dd2Yf9/MG4s5W4nFGNAtKg49LH2C9qR6/8hTYNzYfJqGga9SmRUTjR/50GrFT5mqSDHOh43O1xguT561QEcZWFkSYkp1c+pZV2meu2QBLkH9qvrphtVYXX44NSOjqR3IB3k7XHLuuydQbjZR6ra/73pRslbcsTQUiTNaVrH0gFoWiukvhDvnzj1wWOry2NUGx4HegdllUUehZIMyvBsXDH5QkV4q9YHHZmcyoAyrctB1iOCIw4rHBrLxdO1+MNPeiNcxAminBygc9kKIV5auYeQVLgZQv81gVWTmUvwOLpnt6zGJsTq9DlEG4dsojhajTVAdgLqkt27qYPvhmvsaj6igCTz7VAPXlJoWEVEPx43S+yJ7FMZ2sA8w18AI5vBhBjmhArOZ99tAc19r+ipn1YBvaPUmAAQanZ7cd/80Ka1Mjf6RmBveFGS9Hp0Yi9SMiHgMvTYwLpkGZvt+rYBWkdEy0gHClkThmdG0JcV9aHn33LuyC2qjnpziLYJDI7niuee6sZSTaHOQ8k6QzSYl3BBRgwN5X+ggxPI4VGqaVYfFfJSSjLB23jLlw3k8/Wpir/V/1b9wtWBcBmeo8wb/WKzjtsa5W2w5fL3S5wLqMSn3MiTN8twJZ6irzBEllyz9MNJa1QuMDvAYnlCtGXEplu/Kt6JBOrbmB4DzI4CotW+JOqhc2DwxtgZuwtY8+5r/cijga7TWz+r+S6stmzHxfyZo4EhSALpeALSFe8Wvlsx3NvupBVGHR50A9tBBsmFtf3L4walNc68q4eGPs0l/PkIZ1Hnc7HSkcoPX+9gK7xlQbuyXVTgZlRsps4GhFoZwSf0RFaUhWtCSqvc0j/gK4CfstPdhg35lo071q1+exa4WQ7ZlYTeHLgm45/IOIvOYNq2awcnYJvXv6MMv35lNKrXW7lip7j+7+mLdjNDPTPEdKABeonjHx1PxfRXwWGPnRYFhrIyup8k1HI0M+3p/41XzPhXqp1dNoLxvEnkEIicvHhbtAorEJq6AbHnGmYPuo7Qmuk8w2mzKIqgUphGOtn17IQ6mKFh324GXWxzJQdgBnz52Balo7ruukvlqxTjUINiKT/tht3UAoejSQntm8+a6RqsRsgSemQEetoHzZxyUNl0nJWrkV4TukNLWV2Cfb/LM+c+37RJkeE9ri8Itjudxfr6pl65s3wlDAtZtyNHz5SFFUNiGrz6lpBMcbtoKcW7yoh5K27PcHkKix5FRelr6J3kQrnErBaYHpOKC4CtuoIYiQfI2DDwrWGqU4y/1h268pjHilx2pgeCtgxtmbwcboxcFYhEc3uIU5edwsLUmKo22BhEcOrUEfywjaP7zJsDesLlzU3YzCIhECq8vyJ9IwOIFDv5yYEyhIO5ADpviOSgXzzL1mMXzmhNTkGJsANHgL3zavy5fZ1UNWcgdn1V84SQxhLFQphJDaxc4cdhRiq3InyDZJ/+I/Em+nsFGfCQcc2f7I9nP/+AfV0fWG1QgO9u0rqI79V8u6loVTtO2HimfdSP4qGzvDcJ18xIWfnruMXQXfEuclA5sCwVC8XIIcsxvEEltVFWH1i1e/T4QZj6DcqMbVGlivk00wOndzsHiftEnSKwWbhQBg1hOhwuuqe1UfMBJ9dIw5G+zw5s8qDDtV6rM9B6EZf35wWHyKWfFc+s6LaKW980+7+Le81ylnWA8lkNdN4r29KGNjQHsMwwVm+A9gWrAL6xEJDWhKvMUD6gbhC62T91cciYcIh/v9w/r71Y0M4zT+tqj0oPYDr0oaavzVrP5JJ9gnCnI4OTrF+lej2SYg4rjwHZgAwervPzpSPP//b5IlPH52V9gbKwQR9pVlVyJNaKXGNrQGeUxNwAepISPplTQqX7iH79XxOhLU0IbAU67a8WXockqt9l5MD9Qq6QzLPZvIAaeX/nkpg+0idN7HCCyOrMnbC4rmS4QCnvgCENd8Tl2BJlCJvb8uOxGc0eEH+61u7gU8Ah3RhZfXze5eKn09Ug2dXfO45cA4ZGPvKKncu6UWXFjEoz8ZZI0irRkQCMJXPRTOso+3aKrmxho3MLKVxZllrGNFZZw5q6/WBurzSY99uEuzGphNpJeYqZLKyo17qXNfauKN4gFAajLnh8P9S78N3ozsoR3qePzd+k8DI/T+NMnpn4AIG8pF/O879MEA4ghmRZ2jO6Xi0iYOv92A/u/TEecLhxp5Ugeg64Ribwb5o6lWctcPS86DMH216K7ta8R0nKKXGucBIRV1nAuqjX9K6SMfzk9/7nvct80bLNgPklIU9tJn+Qfd3oOFqAciBMhRU0k2+iaKKWG5lukUZFMQbgaJZCTNbXBjnuIXtGGi7ytICj/PanL+BhxZRdqHmOnWlGDfxih24yzsnCzzpw/QmHijanOVjQmVyvFhQyYnFB8QJb8h676CJYV0drMpgE7oRnVJoTl7mWcUs3D2EyeFozrB6HEq5njf41REfAHXrr67RAn7DaAUB6DFIeCwcgEuuB6dmh9ra92itU6SQHBvPVMnBRDIK304/hKShhLY5GolPHcujadRnd3Hx4qg7zThCwpR84ANVXtlnmIEccfNsv8mGq9lf41lygtuzAeq6XDYFMNdCgCWCLoiQkJrucG2LTmnly+O+gAmj0AfBNmyeYGBezmMRaLQdBX/mzRE8ZKjcpHU7BvUk1Ai8pysID2meh60Xz9a/ZuqP4kM6jNX9spNGxubpqmeaFxn1M1UUpR7TPQ2fDd4fVaRmgIVQaYVt64c/YvHQwCYR9QogQontq1K1LfQLeoVnDV9K7JhClKAQYdP1kZP15GL0GpOzETvtEC4zq4kELTJEIFD79AjSGjkfqGnHJU9HwQUT6PejiYswjNb/JJ5MTshPljP/jRV0pH37s/NmhWZg/d/Uqpe1HzmqEkTgL91C+3xgX+LHeiy00Cwl3XUL/MvuLcNKVDDxdU2ZG7j+e4U8ZiYonmHrQka/GgwxH0BweceR3dMuh7AB2pWkkhl4JmcV049Z4pY9hISLusLigUSJm3up19haZSXt9p+wiSPrRL1jKp1YVcN2C+HowCZEN4L7NKtz6vveveeBrw1JL+pFYcbiLzhXuBHOm+cPG99GKIRodAtILpLlZljVV/pc1JPSocsGDtvAFYXjpgc1curc1h83e8tZ6gu7pMMtj1ekKEobo0ct18FNSFsVDgVWqUJp+XTk+EWePQicnOvWyMavGBKeeEw9xHFnVy6yLhCFhh/+NNFHG/YPNFgh73sULVl2UhtjMYaeNQ23gxIV+ALa55sI5QWN9nJRP8KfgY4RgrLIlfOCL1ZE1CMMSDI70Iar+y93GnWz8MzcA10oei1znZxuGsI1VDpoJlyZ4RgPHYsGdW83jWjy9lFwoGTgyZ9/8wymOLnHK5XCWMrtInNOuUg7MsvN2Gm4vJ5qqqQToEqgQ+Ax/A8nNf2tLG7YMaXAQVq7HUbyiLfsRY11x/1vUXTEmzf/qYXprVUIGzpxcUhYcAK8q9kGeUDZNdRmnSZDLGuCRngCAz+ow/ukHcG+rJZEQ0wFZvMuHMIYLwYdGnfB2pDPlRUi69TevnB82V7npElumw31bUQmXImYjHUwtqElSUiiOSiKRPZJT4pP9dUtGhBhELAX93zv4dQWXwCwIKMLjoBcYJIKhVkLegxqVS25OHUPxPSD2gDsGLrm+vWc4f0JvLqI4cw364D82GFklscYV/qRgYDgr19S33WyWKumrPQlQg3EsLWJlP7tl3y/fkUc5vN9ZczHCvi9rZXxyhSBfncMuaxzef6X248iTQOwUEqe7zl9GYkpWBIykXe9TXr5n9ooT+wtf54ZC/IQon2HMTWzwNZ5u5U0HeDUNtprTtSPCSAvV54tqAygSSpQhe2qoKKe129sV01V3wY/VQLvndjxH6SXZjFzwQiY08rBS+kZi6RLViaaIEQ5MvFkc5iKnqsTu3AqhdzqYdc5zZJHr2oDRudufgYmc/2p9EYkybyVB/PTWAaa1ZGgqk9EKXflc0wwo/uaKCeNRbTE7OPspuHww9gX0h2jZ34d/3NFIuU5anKGD8y5/QSeFN0fbRrvxdVfeUlVEzB4qse/VYWbYiUX0dybq63rlVQDg8lxWp0IzK1KBDr0kmIhBlfd4O7WyC6bsvqfd19uVEFPofow49SmQAb35j1RMAIra/IjkrKQfTPbJP84zJaPxp3CdXhr5qmSV6/JrUkmbiXiCZkPMsehhohd+3EVRWYYx75BtjQ1xu682NlYok3I2BVkIYW+sKTlHXv6YohyJXwZ5zMHHNL6E6ZJTAZxsH0KCKhpt8i2Uh5BZ96U9ccVsn7/7oXIwAkAyZVdJxzTGnDyxuScK52PL2rXrhRNW+jvLoLRzABoupEocQibep+WO6OH9OTNAL4cUyfmZBfV80PZI1dZ18cWqXw3InuWBvWqSKu3HiQrgJgSeHVco2xSzEDTslm327HNQGj4AdPdi1wlkfM2srfbARO8WGXKQBWa/y+zeH2gYT18Xi2yaRhxHHIbQYthBWLis/bm//37s4K+L2mYAfKg9rF41lWxwxCbdd5B0jkXyz1O5GdxuXg920pX0zxJWerL1kYTRyXHpida1AkeaiHFtNx/HxUaD6gg8Cvx3rlHlGGbYIJOKcNnNxLYHrjBIs0VAqBqQNRdqEeeSIr0R81SjRDvHcwF1MOCUw0/bkslek1M8OLLRgF3LJ8pHpNa62S2Qq/+35jN63xi7OQFCQoWAjj40lTxEySrfaN7420c+dXP+d/9Fmyjcgg4Df/LtNzZlmW+ykwivN91bqsd1Yyd6iMyJWoRMk76SKNCkx+Dm/ORTHgNs8ic4sDLxR8ZQRevFDMc5ZgJQMhVajmRH5w/mLRoQihRBO8IYh2hmqiFy2iHeVpBlc9FXY06ageraigFrPW52/jABXBqoltTENzynjga4c331YK7rAtxHu/IIoiAIYShnzT4o/wOGSL43vIi0jriTa4sDMCjIORI/040QwEZfNDakvlOj9RB9s4ViwtoQJkw4SMwLst7tDxS4e8YZHOYP2gaSWZlPH16zAS1+DWVAVZHyncPwg2yq2fa3xJgGSdpDqPLmnVZ6x5WdN7ZhyMdIonGfd6Re9bVu9sjujhXOa9WAiO5d9i5fB9LPD1Hw6nIGkQ8MeubH3zdEsfE2ywJYGj5hLCmMe2QTFQ504DI1UaYSRZd4B6/np/3LvcvncOTAlNagW4R8qsCjtLrLe/4FHwEgG0VbDDZNH18iZer4JVK5wN45KVQSjoJrgGC4CmBuIKb9e2gVg2nEuPQEbkDAPx7g7nVsIJFsH2hQ6qL0SBky+c7WAGkEsv/0X92b82oO0OsXxYNEbZ6FMRG06Pn4gDnHc4os9SSb6h5mtAg/1ZtuKFnIzltCgazgrr91UvmSEdwW6ofcSe9SXkdj7Nn5rqnlOVcFZ//VjhanBrob+mMueqNBeneIqejr5jSZyGxrOstf3DX6iFbpj/UQi7jaiZNHV3JeM9ODMzblGT/mwjK5ViD0Uv6PcXkxIzp6ZeHlhArYbYyqx0xIMlm1upeZJHT1TsI5Onajx+dUAIilLnS4sbOCP/XPzBOdJen1p2lHR/h7kvT5n22ML7rPCnNXPdznawpo9Qr3DCgUUxH27bR6Ent1Q98SrPnhXg9AoRT3um0o90+G0KY8ZPfA+5y47q90ZsariPtgq/zGWiGymQObQLV0MKLP8Mx3Hbly9FmxODpCuVrY0q+ZOthbVlK8NolD4zWnK3psZnav3a64lMKkuoJ0bTdHklF29Vo7V3OyuKchWrGJksD3ynON8tzCXsmS1qtPqYHKe9g+iLvJma6Y3kY8r/CJor+v0yIklZBnR+fw9B62tclgxarAvgu3iDEOvkjMt86mhW2fY7s3+VXxUPuwbOmp2i8jws5JnEsMItgGJ72gxO7cGLX1eYB9RITZWxs5WS0olRamQrTARYlbbN9ezfMwB12d8lmPYq9T9PmFGci+wl0I8PNS7dtAudVU8DysvFauY5H3L0NQhH4WKY6Qrul0qeRXKfUoesJAgfaBnkSWQGVmQEkDHsMEq6x44w2NKaIgNWwTxhaiKWodFpawBcOe7TNEDXiN6RSC8e8vxUcdQ3ux4J3XO1GSK/jASutZH07xnp78ifJeZml65K8Rly9uGQYnHsrhwkggIjDjt9nyqsQ1Z9yEKdHCxwCTHImUpglB2IgN1HWkMHg+iibaQjvuFaL9Isk4sk4EDwNAZ07g+JDWucOYQddkq+T2UY9/PvGkESB0eKLpb9SjxFNws890Zt58xg1XCcLqEOi/eI5h3/dLLUasnYkIIQ4FE9ORysJfQ25hFvhxo1cMuSiydUMHNADt28puCTiN8nHfq8xa1nrwPMEAhTj6Zy1Oeql0lGvyglkMgHg302AD4RwdNeWpfbS5FdxtRyYqxBUUvZs0nVDU/YRg+6U8MqSjXM4Z+qzac8TtyN5yZz+CR7m2MiffhCU1+FrJbjoSZBVlwTz/q5UdTyIJPThsb+B1PurwxJzYEgQFrW3VQvUmwB8rtibvB+szytO2UXPWVLplw9uGjBeIT1ytN9uytbNGrEKlgapyzlNpWhsPUkcIPyMVq5xm8wnNsm/C4L1/Jp773umfpRkSXvGHa1SNDhGGF1W6xCAk0Tt4m7suQK9YaQ0V0kQEzuhEU4cpAvBAXtp/er8xTbrMJIvlfUz74cX+7/e0vhLS+awkiqgSCdsR9y6ucw7qeClNiIuP05Er7bRzrRwdLPcAHr3hseVbci8XWqHfiyNB1DezZ2nyGW/jWEfg2PFdPdrykYhI1YEIFI+Vk/j8hLG3sXSXoZV0bNUyaN8S90V4EG/kddkkb5Em/Anbgp25kuYETnOtHPcsYeK5urkxYmdAQrVG23FfXOwlT5cZwWYZv/zvf1haIITUbIvOO7LZodLdMkZUPcqRISBoTPhf3uxk944OwCNCno0rjpwHV6cMh9evlTASI9+TKpGCmqCZY6YfcodpmJ25Ncs89pay9rjUMoxzv6V7lXMJDP25f3Aof50XUQiQo0guoqaJXZfhBQvnCKR7pKjDFu6CcxJnYs1DsWo6mthM1g0zIZzVY1+9/Mt50edzC5yWLrwA+Nrpa9cMh3GoPBa+Jlg4PmsLU/APkZh7s6XNZkcYtmh61pWHi5jzV/Jf02l1HBX64pxXiCsrIlO2SDp+9a3dNGIE3vW8YDBTwVv0zk9QARXqzjOYBMQdsJSN/MDncNxUxXeOiKAkwusR616WIsbFDlZ9mQHTguMDl5i3viNbmzjc17kKDDlmLwdHOB93MufImQTLVq1xSNongk38F2uPRjJ6O5tiu8h69F1cAmXmHEKwDqoKbA5BiTbR6dg6DE4Mk7N14299n/K7lRhpjUaVY9TeRbAHbBrb/ZKfQVfdYaSwysMk+OjIBxm9wTXHYIVBy3C9pIsXpv0FGOa68meSnIa71QRPuRplc8eFaKt6y6HDfouRC54YTeiedisY/IlWO6v3TSqckwC1q8uWuGFW95IM2qbGwprG1NjtheDCppUbLyWnLIUZBIOur/HPF2EtU4Ma/gvV/RwQbpYbj20eITtQQGRN6An+sebHshRMeGYT6ExVR26DzBd4llJvMeCrwUsIh4dT7AuztFZwDLq4Qr8GXXz2ZPbe5JlF8OUYnp7xpObpF4p3HsNa+I/6cSEeEaJQ6pleQMxD3VR8UIKDx2y2wKcFTl9B4hVCIC54VXow23O5fl4j+4fiFUclj84oRT8GLdCz6i9ZmlMIVj4LSiRxTM6Z34niOqAiNd6x9GSHE/y1Zo369CQZECmCAgeej4CFK4i3eKMGPRrISlUCtaQAm2IVD1U3vUHt3GG0mrMuIoRp/P3pCQnQ0tShU9UWlpjDcoMrTa9YXeLnmlhrBINwW008B5ODJRvU3LrBA7ievAdHeHhcJNAhv9cuHlgJB8qBVC0X9FyQV4d+7h10lSUZyQBxJLSOqCIhctlJ5rWbPsEjW9OgpEmDUU15HNB39vXnxSjDOQjrUrOouXhqUrgVbM0CIEpB3thKN9Lslod7RsZJmYWEV0vgGQs12K9BU1+DQc7palKjciyoH04siq21yQYbWlDidrKmE6bbInhv06tO2cN2c0xjk9sTuhI6fc5rXuFG89Smp3S44PcDNHxsVz7JVYdoBXEa9TGuLoefzyP4Jg4q43+lX5DxGOq1Cr3KdH9MYNE5z5bwNEjkr5e2RgZFSrmQEzyn9QAd0tc9+b+vMKQyYCv1u/jyD1MiUXdJhs0x87/Vm8dtjWonF/4dJZ3XuhPFr2JU/mHq2IqGTn0pa/B5rLlnVhtPrhKpTgPT0eDwAPRfCyTApeyupIpwvJ8NPMG5Y7I9cRQJpfwUYacDCJcmqR3CikogGY0dMxypGIgIpNbcl5a+nXgoIGslCWy+WrvCeq8WfhNEPakDat33TJqogE4BEw0N85C2t1fLwfF0UmyKd1BWc8eC9fnh+1f+ciWAD9b3h074DUuqTWHmesrm2KIL8pAPqq3RCdOU3DIm+FpRNxxqztVhoimso/ygo8j/uqxcCK3AEQUp6h2BlWsh4q9Ve/Ny/Hbt/HwoHilNXY2iL9P2ymFFwyYJq26Gqa6vFZNFl8Ow+deWJr6PcE9sRJPILHfRdS0nGwAmLTGmUBjPwQ5c6UMeLR99TrHoBZz/Zo+teUOwuPSkYfCVeYFytj9mQeP74UAfLjHW6Iuq1olBUNl5pWHhXZZUgu1w3ZfTevx32b7nWJu5i8nNiPeRx+mkHJs08pZEAes084oknrFPnrl/i66Pr73pK2j0YyyQ0NqTcazDc+te6PtP42LmcovYuOAwUoBFNkfeJmVT8IgIPltMG7akP3qrStOhQSPuwCxmjdwFPxwsVJSHtEVv2RoRNGwaLz/R2ii6Gr08TyA1vSaYiMi2LNTQjdLraIOGvdrt1D7SuneFEshWaNSofThnlnGU+UVx16Zlb9XERr9NpmVJNGaTR0YP8qUObHoNID8N+bPqXTwl2DY2ImyPb8O2N5Qry32diGpGWsdbimkghE+3+MLfH3bJexbtjO8o9U3O+NfGBrx1ZjVjwJi1wfo2g/UMMXnjwwAr4oF6aCWb/9JF9VkviCgYxdeBUNybXg63mO4gvbl7+errKZodJMywROUmFoATmzJJsG22ov5/lQngRTNJr6pmXd4JUeLwjp7PVHZNDtQqZxfv4Q5ybZ893InORqWY0j7WnvgTiVAe2RqZwQzofg69C32bC5B8CllgeAYXEBPJBvH5xuuP0Aa9aIeqvPrb3lygZ9HMQFtQhsNtBMlQhI9YFspHkmQ4XYhTipBh85EXakMa9PJ5hmBrYjIzKvStbslef01B1fR7OnJ0BjyIfDxUF4EL87+iFk5MKBrvi9B3tyV1xfdMtKFU0+M9GCxl/+DLdjdQjUzG48XPGdjXt0QeoWBF0218SJQ7kK2TCgvcthi+6mU0+x0j5DA9275DvMpD7py+sioRGwEIDsFGostCUpb+QwYEoGHbIDoQfxOiadTPJ5BjlWn/1eDiecSYMGsYEX8d3VNnXISwR3X+wg7e2wgvynWqDdqLTOfynWJ3wzANzI8ofsm9a9AXgWP+pzf8TN1nDMrwsMw1f0nR0tvh+aJquXkdEh3GUFxnY6jGjgE/u17wxIFfkyZlMeMMPysSvsFI77lMGg9DkUL6VmBI//ovy7lk+fRGZ7fETRhTDe9sc2gTCWCKeBICOKuXKTCN/Fp8dFV3AWdHlb7wggpVMESThqrY8qNNAhGUZuDp31FUOSb+UtwGnqpwShCPvAXh63r0+r8lDtG5u714OGkyT/6ieQQ8cszbrYVQ6hW3KTBqHPSEcPPAPpTYTEHn5bTtXhZkJtbkH/kb1GGL7RdqwVtMCAStkkr0fM1gF4W6bdCKCJaLUJ7QZxx4xGFLkXxg9iMRfuzFy59mWhY2QddzB+uUp3i91KB7yCtQ8IXpnY1AJXSwyNoi7o4W75X6g3Ue6Vkatk9NYgbVJg65RGzPQGfWN8Nsq19IPs8nF0e0rlIL8n19a1V0WQBH+wjtnt1NPKlRBD6wDUM/zVciRAPSnf745NsUNTZE2PUHXV/ekjx06tPE/r2Yf8yJr8A3ykCR2sWgnReCEnlXKzEOh8rbfC+fz2+nB6QxV0LSQlayUyeAy/+EYg+whvHbZEhpPF1iFMhq3dlpyZexoEsTtRAzhPUw/yDz0dyWvtIb3vyczdBTRvOCflJSoGphHq/sHCJrKwx0HOjuQ58bJ6cV5kfojg+Fer8gc8tF7YNIMggs239PXCIKEGJxNVgTiCzp/+93Z8OqjqkD9w2fk6Q+Kohkljh5FicPcmHqOoRVBuPPKlRMGEh9HBTKrjcZvquH6CDH67qBmvuEcIGneRpk3qjbgwJ+1u5rP+nA6E6PzYH5hyev007vWIlkiYIZPr7opkA56cCC/LPIp6LbhuxEJZCw2esj6GeQAHpWXyCFGzIQAlgfRMP2V3P2xmTB6newsTVTNK6bor5wY7X26JRCwtaRVpKYR66O3yLlk+kgpfpdGE8ZVk0Btv1eblfDpEnf/GRnMI+yDEToBzgHxhfRY03oLRsplpOlc5T4tCqkSJUc2rj9xJAs/eg2I2/RHnXs9BY8WV2A/rLxFhSExozUEtNlb+Bl9h/Nga/ZRxZoCPVYtXw11v/jb7IlaxjjC0Zl/OkLaJtDgl3xAdpbRRUtV+ezuvnzDFRvOL9YOHwl1x5lHIXzWtOFTAxGAnCRZ5XLjTSe+sFQglN5JdzR0JXPWV+0rwdJluw/zj3G82JUKRSy+erc5BcFI0ilzeYGvfVRsFCgsFQq8ypIALBWhV3JiEilOcVL/k1rSYvPYDNcGj6XpEkcRDStlChyspxKc0YDD5SasN582lzIetvxp+DoIFaoY7S2FUQLvwMWOHPxoYAGtPOXqFMgNxaeWohzOnOR8OL8d/GNb0Aq+rlgKUJWGax0Pujqc6LTvzpWkMTN6aqBG8p6YiORw1/l9CyJGSugxzTUoBvLfnktyJDSNouBARwv45kO/rivk2X3k3dlWNRCvvB6BlSTuoVabpfLWlpMlJxagmsgHIAwsJrAkdYBTJFX0wiNdU+/pqVJmiCkKVMBl0TzfyhE/m5j4q4IJHlqZlNJlpTCpm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5930" y="1750060"/>
            <a:ext cx="8232140" cy="48793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9351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24659-97CE-4DBC-8A90-274D9084D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705" y="338863"/>
            <a:ext cx="8229600" cy="990600"/>
          </a:xfrm>
        </p:spPr>
        <p:txBody>
          <a:bodyPr>
            <a:noAutofit/>
          </a:bodyPr>
          <a:lstStyle/>
          <a:p>
            <a:r>
              <a:rPr lang="en-US" dirty="0"/>
              <a:t>6. Compare Cost Option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F0B1848-BF22-4DC8-93E4-49DC5E04E3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7705" y="1143000"/>
            <a:ext cx="8229600" cy="685800"/>
          </a:xfrm>
        </p:spPr>
        <p:txBody>
          <a:bodyPr>
            <a:normAutofit/>
          </a:bodyPr>
          <a:lstStyle/>
          <a:p>
            <a:r>
              <a:rPr lang="en-US" dirty="0"/>
              <a:t>Use a stacked bar and comparison line to show differences by component for two different options.</a:t>
            </a:r>
          </a:p>
        </p:txBody>
      </p:sp>
      <p:sp>
        <p:nvSpPr>
          <p:cNvPr id="10" name="Rectangle 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1h9D1Z5GDtPW+wuCTrU5cbsTyeRnoM7v2+KYfNB8pPDHY3/N/nQDLg73FVUjs5JX80ZEMdZ5aXYVE2SrM7ljDixtoKhF4R5tzsuuZUVsHAaZq4gGW2zqG3WZu3mdqAn0cgoB0oDTzMNKP8MDAEtbbyngw8MjIUrUKSBlUy3otxcc46qFCaK0dPMupjWH0b1Xm1YD9xOjpgzYBk6KEqqsLC8jpgwvfJil3R9fUBSl5HbHAz9mLwUrUSXLW2Yia7kiScqo5CduendzCDM+OcEud4AAZmjxI/uzK0hCBeBfRMvwsL8F6Yhz+1Cmrc/ODW+uZnlWyVU4TwgpR9bvIylD1c63iqeIMitHJHu/xLdlBrCzDwVJ33xBL+CVgG1EzfBCpwmSieHv7kQPU86ArTiqCY0lnFPKhSyH86rODJBWcav7G4RjyAm/X73ZqHGY6V5WpaOXfHGzX5dNwQ7w0ea3gL7tsenRfIOLbG5l41Qw5OgD8HRfQKG5ntjF6kW4JW3q2bMeT38n/Duf5A9K2z1jFhCjmk1rWh2ddcpNlR6lNi8/uHPgLr9V5iyVr0JapJXmHYAhCmoBiRkISCF81LxjX5xcgqGR4qc6d/erhc1xW53N2P4kUlr4HwUi+DPW0L4FzSqgcJvBAEgcFxt+AjAv93Nr/EkyzuMGKqcc/0+VkITaf6qjVWba8wAMt7RuEFZ0F3WG8cHqxGfrvuBBgDakm6SZx5KuPMYg08athkgxQwl3SrxS4V9nKIN5JBFj7FNSa6iS1QyTBWGOva9zuv+qp2olGEApMtzjhRXxQ8PFxsxjsThwAhHXuLPpTnbS1CB5UgXTmxtRM+u3tmdpUOsdtbF9Wjg9utP5MZLezJOL4Ois19qKAuQfnEutUflm25IRlsHIbqLdcKXA4msHU0pq5JVVIfKS+tzUVPhEuyTwbs6hxYm7VxwI9w/SvyjLLxEVpGqE9Dqtyaig4trXpWtCm8mFtX1D7cU0zTbW39h3fDAoCyC94odMa3TI6VMJYWaQH3xxZuDjy6wvwOwe0hbtsHWnbvGVt0KVDtmTJSj4gajMsPmgTfVjrGzHHvrv0fISj6zwBD24DrlXzNll7Sjvb3PjVHYTMH7ghnU1U04a4DlzkySPCwERoa6MoQnsV+hXe8gzUgoXNNmn/sNu1OSg7dvRZkaerh3pdUo9H5uowrpvFYojxA9FtJTob6Lh5yezuyVzRCGx7DgOXJxuVVCdGHQ/UHvv743vAk1R5PTZ45BkbUi/inozCSFShTkknrcNmoDekvMP6C/c6YBzL6PN1jsshjsLWi3/RVhjnILrqoGuaO7EAGS5WnlubWsUZPjHDUvDpSo3FPzCXSd+fKcpPA0IuWMLY48ScvjtVf17+X93ZwbBYTkYCXbcVw+aIMIwIEQVnxspBje6J0SLj+CYYOOT+lN6Ka1kgfD2xwnG3bQdByRzhz4h8JdlrnP2HNEUZZxLO/fov1+8ZhqM0wBpm9hMZZkYM1SpktlIZ63GgnZlp12wRlWIG7OvN7WXjD7yReCXDuiBWQmKXKwpEzze9x2hWxUvFrWKDEVdkJxh+1vFfCBYbP6qp0e9PecfDo3I4y28mHIGiBYslMgvglN2lKol4NlbIDB7Is9503F674tdk5pp6yFG85phIyb1l+TwDdv3h+SdF8e/vLUikq0oMGnYo0RPYIKxWW8KMGRQLFGh1QgR/7Dy4DZ+HLt+ICdgsZMWPHVNjLYd72baKTHv9oCAv90hZn+jPo99RNqjAe3FuFUMU89YXB9RYAXnBRUDDpqbnDDr+0Os0hTZH9rerUPfC48Tb+S/0hryKygvnoMFMjsecvRQubuBQ55jyoj0QXmp6NEG7AqUTr/I3PjYwgItu2u8R1WAe70aYE3mfL2pO/y3WbmQtcIm4WtLqWMabAz0C5n9cOP0hmp3PWuVCeWJ3K7Su6Kl5zwYKD7HwtS831EjFzqm8Jy80xibnyGmix05QnXmlPZsw5j3qjILAQ80RbRKMiSi7910731LbdkZn+xpnnsBz++eA0JCO6+eptRzOnyTqaYq8bPbhiaE3+CSNc2KaxVysUPG+r9hYp6rXxtc5R62CwOd8ibJVqzyXgG00rQazdq6np6C8nBvy4sdjfe5oHWSHpe8D+CJPmfDHGCumvyIz/JaSuwkxVEucyKXmUL9D+y32yvI2GzD+GgKtW+D5kVx++vboW7a0D3fLfrRvxf1YQynFpyxHWnPWE3xh9sBlWnz0Ku0BfJwkbZ22jb0rZkExoImsACn6TsgPNhv92R1Umf76HpMEpjqDOaVHFtcCdsoGKVKSJbcf8oafP7YAZ3IEQrHP74Hq3aQCyEHIq90pMpc1LQDaruU3Nns7LcRV+cnKgt34v0IJ7HrF5XlxZ+2MgMkU73u8Mie/LtZMBwp3qTjwBssNAcZgcFYljetP2i5zFQ/kEUkIpG0Ns6QdeU0gMPhKn00VDDxe21RgVvtrrqen/7b68a2lCbBTASWNhA/k45zGhmY0P6L+mPA38x0PBBIqQOxQeM7/49+dpJ4i3nIMaU4MAZJzUhX8UVJHi1hUV/Mjrl+h4OKC2IJSip0B5TTUNJzvLEFo9UEbrkCvyAAgbc/fh4VX1GCuDObi+lka2s73ivuLihEGcZT8EZ9hYSAP0C/Q5Y92W+CRPhIQB2oTaDWqLxQfeoxuJwfyGrBRPThNKRmLFZu9JkRAvfeDwTsJV1T6xNcBSMpJo3WHHrnpPS8E1ndUxnSMHlIyB1VvjXOtCqSEtbp+0NvQ+J7zThiSOHf7mORY8sLioZ3Dkyf/25PXSzZOlaM5eP1lEWq7bp03wb/te0uAFkA1Z0BuXNYyqFh7IHGkVim5oJwwJsgAVgd+Y8v2VHpBQBGSdOLI6hpWT7ox2gU84bR3iw/P8LVYPeZeqVScri35D84/eEL5GkFvWuPEx2tTMgOy9t/+EkwrJQj5ZeyXCcgYRfLxNWkygdWw8gz13w0z/tHkz3JOc2xKOUxLadP41mtZAcv9FTxA+bfuxvACOZgnBSsV0oY/7mgiWrvOrEo4UO59OD3Ftwcq2nqDyJMRc/wsGwVS2+YCu0IkbTYv4Zdw6eCJ7+K+xMPElmrMewuIKcdqzCv4p23oTh6pOTg2ChSp+6iU4RX3dsFyjsE644fkZylGoAWfv8AxkG5+Xv/8xgjSb2fa2p6agy3MOwrWuPLtopDjv2Il6nxP3ku9x9Ub6jPOtDnaAyPgOTni2RLUuDiSXtA9jpkzGqh0PfEDoGuGLBo8qup0QUMXj6nPk7IZTwaOuLE/bwr7+lXJMVn/ScEkzprz+wVPK0iA6kNF6hJqNfS+EuBodI6z5kopUDnL/bHEsBU+ZUpG7qtOux5K60biIGmq1cnTUTT3ZlYwT5znZbsCCn0EEpOCxIIz+J8cFvoS30OAHiHVa/Cq/Qdq4/VT22otxhZJ3J8nk23bjwrtYfv8sj9HW8WZmqj5aJxtg+U2sg6EmCJqCO5r9J/MaPSFUwzvg8YQK2e7uHWEnCvgOtIx8BpDfiPD+AguMCUdOy82Dfw6w3Da1jYH5uSZXDmhBg+CvMQjRzLSQbqMJMjolSVVMlu9l8XL9n2UtscOc1g/qjPBqUsAZsx1ScGpas9Gj3BYesJS1K7P2Y7tc9024Icynh/+yJE0RPi02Vlr0MIQvdprKYBSYCwyiVp2fyn2SwMJSPcus7Kx4r+Q6tFwsDZP6zHLGXZDgdWu14jGH0TfKrx9dgYBVmzKH4hOPk1E4WKNhzNHeV9+rx4+qDyQcyS6IUHs91rsqgMTA2lOwevF/6tfvFPDN7+jQy7FGfTxI1nHVgfKM+wDWVd/u/Yma7oI9laXKVsundMz4QlMfm4lbss92ZVrLOQ6emwS2KEoqTPiE0Xlo2fM+vN+ymC7i3vKfrIzcUHXxfVk46ufxitugxyzlohIhABw6zJjM3xALW0mVdpvHODYXAX2eg07xpUdY5j8dhX5sC7E5Cyrb63Th4msQntHUmMn0eJgIb2LhfD9SpUsD74Hi4GYPo70a5933y6Gfe5+iHRTcz3dLrFtNBehZ78S0d4XR3vqZy7Qe2YQjgWCAh/Kc8anFvOM2NTgzZ9gm+u532E6Jo6Rh96KTzqLIi0tgI0lYI1pyXBVka7mItpgmMz9Mjjnn5YvEUZ4AwVGhBBeCXXCl+g/UlZaSS6gDIxDM39elc8EZBI1BYX1w/KyCLgHRtJ0W8wLzW6c7EcemTfmpOYp1m3X72R2NR9ycETi3celTtR0pEGJrI726KzIGOWTBHCGPgKqfOZNdDdo+sylOoZOQOkUkwkbOTQmr6U+kxqDyXbyS9ovYcNhiJpiEWwL6RuhifYT8QP1RJzxulrTJBznecRpCap+4dLJa7fKOvAS95QqBo/U2qo6K8biUzpSQ1XvL6JcDHtnivkLiqHbykfC8CVSQM1eOxXyQu75KSOH1duV3vmrRSTt5AsClzEbQsWazPOv9dt0Y0Kvl4KMtA3dht1d4yT8Pm2VzWTe6OAugnFHPADORSoXCyNMhryZbvQ0lLeB07/Ze70fRh4F/Nlx6OSb2rsZ8d8pnlesgpSJNTnZ4FLem+9z6r9eKa6PjnESU9Pc6ent4Wj+QhyPRnjMznIDCN2KejtN8Rr/HDGahu6bM7853T3zJYN2NK3gAgNSnkTL4LnH8Sy1RvT3p5nYzhEVkEgo3V1npI4ctzwVQa3cpzQVvAac4cqYr82i+2SNyzi7eXqryhu4dLJ/dFl3+AGPSF6Oms1h76UbNTxsK775r1J9gPkd5bJpAU/EV3LaD07DhbW6X67edItpYTTHAGzMNWUiTFL5lWl2ISQuWOJXiyViGc6Z+P1CJlWAuYsXaKXfxH90/a+OhGy3DGHVoWG4se9YKjdv7JYlPNm3FouNrcFKUijH0at7gQtBTnzhofoM7RH7sUmjHVeryAjs8H6Wwr/kv/66DNZ/bD67nc7uV1Y97pEGRYbb2L6OG3zALaM2fbENoXCvIHQ7Ted1SmzCBESqmjRG82dHwPBgaS87q8z9D2JL/8+57WVfZA3Oiwuo3PDSBvTnt5dnUDB/Y6A3iswuxByCnKj+e3IEUkKHF1BJqVH17YpPFRdmxvAy54DwuAoBvUZI0jxZZ14UXySC+0Ecuj0dKlgyxK/r7ZqkxXZl/WOr/m1m1SiBUWCIFJZvtOoXgqOLWB8ikwO79fNtMShbRM34rE5CH0vSNB/YozedCNIqm9q1e8amgoDNpFVs5bYJPl/kijOueAdrdIPY+ibZFOyaKZL6LSG/tdhTeanMpq+JhBWoe1qSVS5rF3H6LDSQVu+/P5A1fKWNulSAiU0lDm4Cu8PoIijgdQ9iGAGU++kD9gj6cM0eThpGTvpLMVtm4kO+aOUXTH1QyvP1dkuE/gEctIm3/+fNkdGj/NPTxVlK+TXOWa68J7/R9ZCRWni1f0thaSBBGfWDW6LvOLJML57g9j4QEk2MY4ZMhdjDeIyJCpVFBw9cvfctg46wm0i5NdP6jJvmQlraI4G7UYmQawjMAt4YicAi+kM4+MLYyisSM38LnMLbGJm9BBVawAYsr7jtxXhyQTrufpdEpCeetHeoUGwZ4CJ56hN0aA08mV8dxTEhbt0MlOA5MYHvln1UTXjjYcBTLr/hR9D74vAXUOk5q5+2Dxc1CvUzDc91+ON28LtWt7EQycNVhg7vkfwEv+/xm67wtCQ/XFBdOAlob4sgxhMAcUVVq8k2nL4NTYVfNubxfkgX3JhAYX2oFQW7hdzpHkSw/dgKKCNpE3NmRqT28oxNgvufSaHxE+P9TCN2Np5LCaKwa2IZ83jWM87aDCHJeVTDhv/UJNRfiCnBIfdGERQ4IJqUv5xHALOlp5040f/+z1BwpqBHa2ZzfehwpCh8mv8WXol9lsBAHwvdhkOL+D9OFV1YYfOVvXPRkM1QNGaAn0/K0NzYQjjxT4l/Q7LudhVyX8L4VyJatK15hFNkqyFu4n0BUpcnzhbtY1UIlFDWVz5wMcVbYmzLe8O40ibHVaKK2pLy448Neiaifv6djjrGwmNCHMTVYk5qr362qHAyYrS5IWJTBSVcq4bpweWXTtEFNuk1zaFvRiH6tQN8dNsvdO34TopQX48lQV6k6R14q3/E/IzQ6q1iFWd10nsVWlbfnShJqtI7GIgfrlB91R+deu4+GCokMD4NZcS/l2/x5mpe6SaU8kthi+8UdGFxB/G9NsKK6eZEG4bX9/BM1mcAJiGlHllxgxv/fCzvYig6Q2i5elcW1V66Yg+w3K/hUyjJ6npzA+KWrxaHC+6eFzx7p7B0RVKvTxmm8npjdIa9T+6K23gg4HO0uVQEz91LWA6HH4d/PmCxN4NVH1DsiyEwM0Wped/v6rbY0MpnSnMqB041sL3l7M6yGUuHGIHP5GnV/77Rgwy6ek8wzqa5PFZtkdxqXmvq+k7d1lABchaLuQJCHUIyLbwSg/UnnumsXvJ8dFi0SLPjFUcOn3/C9U5JH3UfFm8Qjl6AmLkxxNBm2RItaSIroREnzvEkVMGd3w0dHGskzRVel9pWOAQX5AM7XaH279LMKP9Z1G2lGqi+UTOYGSZR8uFIh6rDsJbCWgzrqQVgkAYWq6Ko2kVqXsBIv0/tcH3VHG6UTR/cY2Nqu3AJQ2F4CD8BXyDwnVwdezK/fR9+AdJGl3mlIJCojWrQJft+UMWkw726M7v4YIxevQW/z7Fz1WaUydkdVd9cj60/ykucZlstY3N6RbrbefhuLThxOAfONtvwrMYly6YU//myAvew0u0bKJw5M54pre3LIbEvODLNGkSg6jPAR8RQQSsJt6Gx1cBS0Nw9/qODqA450uz9hsSlMguZpw8ao2R/fL1QZ5IG32e0fivp8k+0VzraaleWRZe3qLvev4FOrNekDofdWq7Ks1Gj+BuN9AvKTTjxbINHCMKVn0sm0RK9bdWsSF2lF3lxIrkN8Drhjb5TYWO3F7/eTktuRMoymx0UtwypXoUQ0DPjbAwrmIXm4TY9TYiDh88ZaSuT0Uauteffj1C79xFkspSrASjuUxn7mMaAoh4NC/7T5TjmC1KSXHb7j3V5gPXOkR3Dv2TVA4cwVxs01TtIpCshY0YuXYlmH9I5Ya1HuucOuLZnMR2fScDi5OPmDeIqMhG8L4gLtXVcN8otn830opNLjWuzJkDZs1gTy8lQTjGsawB4ATev2bafuC7mtipL9TpThcgos6kkt64G3jIx3PzP1N4KqgubX4mB1UCirLu+QhCCPlDixj4P0EQkJcbDdbxvqd24GOhsjz37CxRFwDvi7DKm4r67KfJJ1V5GqO13X7b9WizMhcQMwtheJYg3uKjJ3j91ceSlPYp/uiMBk5XRmAk7wnllkSmuyP+SUCN4uqcaqfnaBNBcr3xf/3oTUVcKLrJH69Gh4dCm9ufsxNsLTozeaJq+PTi1EhQqGZWB7sNgijcx1zBUzCmVnPGBeNAFykoS1gN2EakHy4R/9G1A7UqK0oKjohUIxEEGpUOWEb66PrFGKvPHAhEHD0x1smHQu81nxV6wAe6dfN8755IS/J5A3c+yddu/gjOWybGis/PTbX1vhbNJWkrbCpGCnSwckgqbTV14sji6noHuWjEtkEuwJ2pPyRBiQ77wUfuMAPj6P2rCBW3Ov+10D84wpfnYUYd2QMZPI0tyLaRNjwt4T5Vo+FsRFQCnhYtqqGqORbh7RCgN5DL3CKjg6dDoSuUMBxWm929xD5ms3P0xM0Z4lLg8QkkaKNh49+uha3HKHayERDpyxf1BY+kszLsfwjwLbjZdmDsJC7zakjUv1paG/hgLRzm5S6L1j6wnn6MGUDUclt5e810SqbwYGyZ3vtB6r2i0/5rqBZZbXNp7SYHcTnwx9uTyrhzckATDwTGli+tdwEVvjh3j9ZEFCiReowafijKj4V1rN+V42KIJnfPM/PXwMUQjcIn0R5lJ2rKytaXZ5Kz16GBAMr7Iq26yIjV8YgayfiWd/hslVq8Ct8toKgdJ77+EYBAfISL43Ce+bC6++tyLsq6ZfVGBwZirfpzorkYwssUjNEK5b1BrAm0i4yTsE0ce/oRMl7NmRU4SHhiPnKH4jXjniLLCBmQG8hbayx+NYhmeEcFOxhaTvLNLA4rP87UFUmmxChSl6uIl3f7yhk+F9L9jceD+nFqkMqKeNJrTNPhe553qeCcAOhHbEwtaaXfincJLoddHSC1F1XDafOIMhKyPg9uV5PYYomNjfHHEARtTaQaJrHron6o9yc6scwaYuKmlLnqy/kwJDh9jXPtHEi+V6jKAS3mnF/PwcX8FB3nlg0FPTrpSxd3KSjNgF/HzRX5z07K24lEiliMTvEcee465GnHoAHm0he51wTIyHRwRJ4usU5A8hq4GmXcSGaE7uyMlHNV1Fv5WfixgjxraHV9v1piuQOgJgcDSAlBfQa5UqKTB0l2Lz9uvpgasS1rowWxvOWllPCW/7m/GSb9UqLbl/uP5cDkYYReTZ4hc+2xcOQncsfmey28WxkgXFrznQGDgOicpdGkuEPaPDpkvNVaNGTtDGKMZO7ox/V4YKLW0HLe5zCfvHW6bcVwPoZs+LCa6B0rQqOz60/FaXoZ27G0Cj5cw16+52L59TlikstrVkSwl7rw4LvQ0oxCpAuM+z4zddFyDo9VlRpGs60GQ3PI+afjoW/ybBEHseHck+dDg1UrlwOXuH9tHeiW/jrQLabLlDnbsltTGP/DCYbL7vMb2aY0aVs9p7ghS2xMz3EyfqPdkFklJWepLVaR5+cBLVlGMbYrp3YJhEyjnkvx8+oT7BpUwEyTyoAfRblo0p/sSC4qrk9IsVaLub+sJkv8RaZip2vr8DNCpodigBEj3oIt0A5zjf71WKKnvn/24TWuIjsByZDnWK1bm6w4jDwAhpB1ekI5tVCv2kkOgVM989TTI2QD6Ey1cAvvmEHHntdnniCD0MH1co7AHL4TMwI9Qf8QlrES088SWmcGdnGrjcmfp5w/C1ZGPkW2yKUoyVzBk5Co0+jZuXnIZgeiGxoZ6rS3qd85PMdXcGQaB1Op9EXNa7q1N0YdD1yWamVf1byTQ15DzxDLDXwtYwbsWvDJjoqdTsI/2OOLokiJ35FzUpZ+MDlSGdcxh6F8A+MYuckUr1kYNbkIzhWjTI0h1H5A8ImZZre/db+6XPcCrCdJrLFly4gKlkkWfXV/HD4hPSEgz3AW1RwushIOCOqI2AQ72vygrgjas5jiB0gi/D2Qd9OmWilYUMGA/S8HYaPZAWLeS3+aV+QV1HzJMeNpWxj6BSw/N4bgQMvYmuOrS8XMqN52aDV1LboCcc4KpRbPQMlALd8+/ZXXHlyqdXbwsORymOAdqkxzYCgmVWrdOUrEd58kMcjJNHKW2bmcx8/5L38k7ax+A3eP4dMSGJNBSdSuogPgXNwcO3QXl60ttb/yilcmg5vqEGxaVuMN9hUAPGo14nfv/XoYXmejfKrB8IOlwUMRw5iLiOc+ysu3/Kap1THfdyP1/39wOi78KRl6wPnH9NG+azlNaKhIRkEA1/8GZW85OZL8QXRNbe/151utUpLYjVo6LMiL7s/GIE6wyaOdMe9V86ji25e6Dw/X9S+P6rcqTlHIvI9IC2rhZPXjXYHmwkTaPsXkkkPpMNggLyOyL7DxNAxGh52ns2NGwmu5mlZLVQ2+HA0W5F9d6jkUwAvOMVruLrOMNHNMY/ux329yUPbiGsRPoIpe2ctnnllhtzSje56YMDbvxRvRRHTk2KSojBPAbBWHvOkWt6eYcNrnadMG3nMM/rfrP0ad/YrPXQMZwqaTRikJ8marihtpGy+QnR/QvzrbwlMUhZseKQ5VukBW9NsBTkvwROR8DeLy7VGtH5GfsqO90rqZnW6/UrImWucBj0HBSIO2C/zN/PRZCU6/lUhh2uyL5VACco5+5WZCBJ3wuMCs5wyk97wk8xmHlGMdo4CVuBJZ5o0wn7+yZN1l+vTATqAV942fWXV6VaO2KNtrz+EOdUujtDzAsyyg1ClToIjHGSksIit3hDJG1Mdu+Poe9tHUTjhHopPFw916M5WIIvVmtA50+xj862dkFtCUWRuOoE6eFGy8ncb15VMpyiWGFdeR79ETJSkTpScmOBP0SgUkIcJIvnEDey63jydla9WkmZ+UyogE+VjH24q5obfIy/2OMuYFEP2XNVQXaE4prxWqkb/YED6CjA3z3ns3JSBy0G+uXlbPGT/kb2Lw2o4cUhyzdV/BZ3z86Hik5VfOWA/Cflf6yZ3jfte2PD3GKd91g/l/s645OCFINBB1K20igklUbmvVj8ylcYLrqtk+xqecXqPBGnjKp/RKaRbQcn6f5Yi+yx/6gHfbRvVKHZxng4MkSL8XPZ5v9Bo668ND989yzy6930+AfFkYnEM0L+bjt0+MHBIpP7MSbAaSvSJZZiBhrh+eq6jGE8kGHiNz/ZciI2YoKnIOTNeQjTO+xEV9JbGRc5sXAI4lOGlpWjX5ybFVNE8eMKo2tG6/R3ZxSWZYFBmbL47fV2qgiivC3SNymH/ojPDrUrqiKaeLKe5pomRoE3DEYgd/4NASrmIFxSk5FYf+stuJKr4T0Nug7iaHZGS5CXYR69Mqjr/cjWsHwooAvHM7pNzchIkkQefW7lxJ2g6/LPcrNs0r0ROfHWt/VVpDDCNKv4urqcSr1Gbp7xpHkh3fpiG24qxySr/fLHUu0BHYYCnIDh6Rq5zEDd/R+AIdUwq3yQlV1FTvRqWBNaTPaKLFjFujD1eUlLq1OYVM8jMZTJQppuVHmwGvndeCegF0YDpfWVfj2qjHM/Hia7NIED+3u4BuHFdw2362b1aDOcHPRHdZMLi2twO8NvJOityGv/SnzE5MSQH5v3ykWQfR+dNPA/9A3BeHh8BkOon6XlbwaKoOm9Uddmy5z6/pvlYvzQK5di9lxRDHEbMaC1oDP51swrSoSl2vKhlIGFUXhDMHR7jjz0nJLiqBlMZm2klYeHxw6iJLU6k0tOTNehC2L6zBem+4LcOuRPvt+eqXUjrEMIrn+vxnQvEiYXmGGIO2ZtupJ1FB1C61/4VZAZJ+fIW/VTc4i5pbzQQG2FFok7POGYFo3WU3aN6bwCGOCIYdCyNJa5oTSZB90PZjolUefhYqxLRi8Lvirz6Egb7oONmcFdk9f4S8XiI1fHWblZNIWKZqgKdERMHYf3WrabN7IAtl0UHsyWOAje8JetoRmmjbIjGZGoDSoGvT269Ftyh1KwXAq923iRh7Bbxb9MiwluLh/5MwlEEwDpNF9iFxCY2DmTL8CPwcT7kYuab41OWHXSj1V9UlSb7/B/p5OlAQR8IFt/VScyrQ2sD71vwgS1ptJOFogM1ZfMVEq7ruvtM83fcHPvDkNAxFCnVJ5qBNPtDSS0jGs0LvR8vYO8dfzvaV3YIWJgta5EZh9NmPpu+n2LKseQq8nmQcUMg6wgZnYYRdZ1LRmAHeiHLe16GPrGMBihhK3yJVNmYUWB+OWr1cy8bMu4L+UMOGC7G7jrbbPclrqJh/zL69lDdO5C12FXDRnWF/C9Mj9LmILsLYyMd6mPU2KUX/pgvkrMTfb+MzY+uxWSwA+AeiR2i/NkBYXHTaW83elANpEd0n298SyzRDSYlwt0RdaugDiU/lISCNHHV+qIwt2qJinzHApa/Rvn/xg3VmBb8X1leGT0T00XTGDLQkw5ETNmMK8DdCJF6/raytkTq90ZKzigrApQI3qyrfnNfHddy7bhnrvd5EuzOgHEuxbyKRkRcBXR5vSBoykdwrJI4tecYPay1Abo734AsfQ9yIhiqkqEM5Bcu7zlSzzIXWVs2bPvFIDd6uTe8nvs7IsIl6wrIJgc6G3K78tNmEeOW1jHJWpip65QDp0xIu8WEfutO1Fx7a1dNnmnsKcroN8F1UV4VNR0a6qmmC3nQncoC+juKe4g5YG+5C8nqwIYtZ4zrD+Rl+Lf70QgWqK1GQWF9O/jZ1P1hgmPDHnDMnd/Cs3MuBLRh+1NSeB16szYi1MD/JakEIVGfOWxd9d0X1Z7ACZYtMhQasZJP9Sf+BZsAMzwe6scD81grd0rMZp3H5fgH80gjM3XcH1/ZgrhEcuu5n/BzCqvVU6sUy0vPnyLgGC3ifCg0MBpwYHN/uYHyPq2knclQTvToiwPHBrarNLyBnBp+ppO6ReVudMQauBghfmxlTXv2aYnHEojYLwqlzKSr10pOXqz1W0jjP5wLzK2fQaCHv3JPykmG4unpItnijbntPkyw+TrK4P5lOr/5o7724vEOO/X9HH0CuG3qFVvcvNPmZKvQokb3ZoSTgGXUi5SPpy8sZu9MTpch+Zn3ciAsTtu6+mLDZZjisXrYcV2jaM6R9zJhvnlOz6oBrgB7g6KBXgC+El4zse17T+y76RSzd3Z3aoZhWajSFRBK0zxhSWdG8gr5tIXkq84eGIBMgmM7OswpZxKcqZnVS7yjhaHhTYFX9OsmG1x5xjbvX+fRK8YCll5U4CdBj5zJYwdztcaaDzNUsCljgXt+IqOTnvg6N8grjS9tQMIQDq72ZEMtzI3/JJ5FAchgIKOfTtu273ocSOdFGV8XcofWmzMB+mRbma9j/QfFs9pfnEiiXxZej+6holaoqoU1lIDWlDeEUpFMDG1eCZ4JLEo522y1HWFjMp3fPM61ayuEDjWjgsBM55ik514ZoM7n1tQAYwV762kZosVvHtCR4n4DAD9dx0qS7hAvT+UmiZbiu3GX+tJ0ngWioplT6M9tOP8Pi4sKzFUCkk2g7y6knxVLBoyBoO4+I+vkst4LfocjxnYGqJiB1Xt99g6YtmAsKeZ/DKICNmVr95htxjE6r+e2dPn8bcnje45KfYTpD5pSGqBc09N2KOkA9TnZu92MXzXC2VDJdlxFOZsopHO+F/omvjtdvFsTgcDxrN/TpyCz0Tio33VHROMaaW964o54+Rl7xyo3ToYRHoXHZDGFcM8BXIpYwxYjFDNNRgcbhUoPh1KTYdLcl5jrJJZYY3M+bWBkRLnHAOpcKAeou/4bNQv6kuKNaw+LcGBEc2n1bY1Ix2J2V6d6UvzPY3p39a4k9edVoUCU8QbKjJSe8ST74pGwhIkZ7UdWpNDTZ7CYSzlfQ3gLWSLEbO8P2gobEdUnSIJqonGR46WiJ0Ord/5o0cx0CV9FoNVooCI0/3Gsyq5zQkXmTGWqgZGKGaZvf6gHjXo5onvMHsKucKBtK2LHRKPQX6RVeu1x5v+Mkq4/VDjNkcYjr2TfDI/UF2d8g8uJGpt+XJYYfTDjMwhRGA1FyWNpn+/QQ1CT6MnJi4+1hVuw8d/ZGTyYAJcWz+HCNMwla1GgpBeY2ugtFC4hUgQWoGPMpeh8f4zKG1QIs4MN6yZDBjyKRToOqvYAwxefw7z1yW4Rl/Ee93qyPtx9BBeN91zg2uMI96RW6REdbgFT1MG6fVrZ1MbIwfkkcP80ueq86GW9xGo211qiq29s09x0ZBs06kY/SVlpkkHiVMFsT7lAFmam92tJsgprnHsutODBmMyW/dOv458PduD4cxilnezaH9mlZuWm2RB1WDysHOdMi5wkWDAOwlvCFt2qwPQTOw8t13Ookrj3JPGTE6NtHNSGbm0bJVNs+H8/MAIw3pzKE7vowfnWyECGD5aL5rsHAVtEmVUmnPW0ssLFGHT7DP7OSzMsqAQcNjeHMm10591bctSFp7VUbwp+oqddMXdVVcOO2x8T732j93iUPv9aWt4Ke/F8ymJHn1qdTH8FAcnkNf4ALYWLNBaSagYcAbPkCnH/xZO7/Nudgk/PS9mdOa9+zexfmP5S3H5fC/7TSf71vYI9h4wWiMi3dqfExZxY/LnCyE5XoDl9utALXjjrlWOvW5JskVwYeVgjMbF8UjpEBGhWqHoZcy8Ulb8EuTxOnFYmwpEBdqjB23/gvnDS92mlmdiWebYtdCCaR4bREQcc+rflZw2fqNcGAxP00hS48Mmf9N5aatTASQE+fiJqgmp/e5DeJFcjeZKWrfZNnKSJhqAF0vkhOz6cMCSK0DtvtTxVYAtAAosFi2z2fm6P7kXIj20P80aHQlCPX8D80LFSSN+QXifyHo1BFho837EcEETs6IMmkSfCOJEFypcVoy9cSA048i2bUOq7QnVG7Oo2ZPk+Ff6RyHp+0ddUQYWlrC0gFSkYarXHA8Q8VIuiYuLt1GIypXBH3gFq4cd0AYs0cXSgDyR2mGVzUnwndKfIt1x8WnQ0lXfliy6Tvm4F9TCZt762qTwec4CqGKAsYC+eAsR+IcjGhxPdDPu5p/tXO+i2J+FI0625Ys24FhU1ET6zNvwjCJUpA+TbKeBupd5o/NzPyTW9EsIyMQcOEg4djjNboPsDdIOxB4G57hfu8Szh/LvmgbQoqn3e3iYZiLfrJrB294jzaLNTKm1Tugw81T1txwFDGtFMs2RT3d+GoasW9/rY1X3t0TXtNoXdusRrmMBtCHVO9N5Nf4ZPh+bUoB5QT7NhiBuAhDe4H4k2vLnwIa6TTl1uAywCPDipeAcySJsDG9JhI1VdKUM9Z7KbIVgc5PBh9l+WKVFq0rJJaWxFmV0XGmDA2xB4Lmhg1Sfh4E7x1O/RepSimvR5h29YeTs7vFO0PMdMH3ArgpV4OhDnJVxLrk7jINy2ZuxpUK86/q3V1ZwqsMpY2O6aBHKBLLdKfUHmb5HrVxx4M4gRkgR5Zrja+sRMkej33LjBOafRqp89auXklzGjPhbK25el7/CRxYhu+ETir5t6nn76q0x18trYe18qT326vTNoc06NGIOPQ4XVsvsbccpdHmw79FV1ZNCaSO/HNhmqKs6myvPuksRKG23L0H93vVch/ARklvCqm3oINv6IiJL3xDnib4GGQAZ+Cf6WkkqK0GmUo8NkXpV6LGepdlaOvDcZWE2F1uRXwuZ+Lcm3IwfQI5YsNVpOlJeKH/Wl7RwyHW7QxMlNcb1k9R/rFWusTAZfRQUh8CD68bmHElgB6yzqp7svEafpAhcuF3GFp7MHmBWi+pBiKMx2bPIsmBBNQB9YbyUnwraKSNyRDIMVg0IhUSc6BTy58xnVgOiOr9n9Dv95IgwzqJUWqz8TIq9BSpNoUaW+RRRaZJBY7elfP2BB9+/kIICMD+NBgMa4x+uth/XkRXCDUnKnjB0Y4QZuStZsQokPhoEQBjJZKeiz7LiTpEty1AiJAtefYzfbZ7G0lcjUk7Dhr5V4sVgDKG73o3cs5podwWZORFmI8HYhWf8y+vfETGi7sSIIMOEW4nkYC9dOAWCf9Q7h0D4F5eWzcMOeDKcu6ANbS/p2dQldG3lk/gbSg/74OAX02F8QSovgRD2r+zdQZhwCHB6X7RTj937EITD95QB7H386vjM2akIsx949KauhPxvSqDveL6MbQLvnNd1+OdI/o5bfFvCYYv4aKwEioY74Q64uQ/MLfPEm+09ANsQYsRLjtcxOhH6NCXEhH0KyBIr/S52/S5Pb+II3/WLkCtg2xSuvXq6Flzt9lTpAfHi8s641FXIAJqTliYWlWEcSGHUaWHjiWKG9r6q79HlazETJVb3Stco5OaPpFX/T6G6TLbyGQCoMFNkDPwLc5m5GYQQeC65sN+e4LsPceliVSDOYsQ6ahXwTUmZlvRJRZp5lVhUTAVe8tM+FFJdFXzj3lbiRtpfRLQTtYCSf27ZM8MDcKgedeXuaUrsUoLq+uscrWtaIVxRwcyrysWxBb5Cr8B+VLk4fDXfrcZbOw0Iu2+xkwRIiYxwW+VZVzsgVEeVRroBtB1TIXT4Z7p8QGedf0vWNM6VfPGOTkqjRrPDE8sGbM3Riql7Vpmrg2fQ0h3ER92ecjSLZe/6ycck6WbkrAfu1UXtK6/DFgkWEcD2b5ZjlqQVMClNzN1CRkdtMoyPTkSPkj59E/6mvy89INjR5iOHJu759UQlLxqURPdnQADy5y0aBqK7vRt0gp1kPpJNT3CNRS9JZYNpnn76oF6LM6LX8BKJeT6qKkSglj8Wb8519tx7271glfIOp388vS4n4hdSQKM9rmD116szGuSyPJBywyDsAeCHvU2DixC3gxGzuReRn2THk5ArG/mAI1BIjb1bs2THXAYMEmEIQ6WKqZhNBWsrrq4V97Fkk+8JxamWAVDmt8Va6GQ9IgUEGWTgya9ccH8dzmZJGCCQW4JQ1Yd5fB+IYBzqoo1pXy6uS1tDsFqZSIQkf/bAkt1uIRulL/YOn2zvjg0IWJVNJIyCqvfx6G/G0c2a5plZaPRZmd4Y8/Z/Bkf5rCV9WQbZoMX/ThkBztGtQOzshx6qMjZ1wd2TGQCNHC7JaNr+EHTALoZCOtIBfjG/oUA0ks3tDi24OSqp0orbWzUKYO8asYM7bvZWsxDBuai/t1ei9Pr9a0uqBYzOWfN1X5Wvr/oPZrAYKME3ccpTJHoljoDybw7b8Aeefh5K0W+WgHXnqdeXOUPWg1Y7YcHIyMznzdpzwLCbbPjhGe3nP53LpsglWii0TeY4y7+LrFQq+4tSz5P2FLMMpW5k6R+EI03DdL5fD5MYuMZ7b1yh9Q4AGNGRMF1nl47OHzywCFfXBYaQ8iwXNdmI5Q2n8Q64rUtupz3b0dbmgrWlkWS6aa6HV06Mv0h7qGxG8UBfMCmHdcdQ5vseEuOhUknXEpujW2gxTBPG1o6WhkYTbi0S3C1OBgrRGvys0wJW5mzdk/SAzRN+H+4L//xkpAZpLY5O/qaZ6ld9WcckY2UwZppPIaUK1gSbg699iDnOw5Lz9naIktZGyeZQBk62DVnQSBVvOYTSCCByxZZ6Ehr/GuWATpgKZOIrtNvZMl7h5hufYjFnXpRWYI/YV8xCe2NTzrzddGTv2e7Axr8evOkohlFWaj0wClHkbD4J+oOvgD9PHPVkMPNASQO+vhOaqpjyx6h5kAzgQsRMoaIFaHj2ZXiw+tllJqxVy71v9epSvklQ+4ENU1Uvkr6FSBWIELuVlieea+fGVz35A4HMlHBCGd5O1qMfXRT51xtpxHECqZWRKiAZ9qwDD9MjNOIb9gQU/CsO5FBTyAl5UkiRxqHLSYMgjJWUisIIm3Bh/OzcfqcsGdStlRdcTF8D3S8G1RnZQrpcc/UGCgIKH8sIMeaDRGgExwHmB6n57EH40svdetjlGhyG/1rHmysjTEzneNDZL8sE0HEYNKQPJpVBftluI5kl0x4k7VMeAv9Qp77HbqrghNr9qL7s9yT7CcvxRrdNMW/tFEx6ZiKGp35ySJHqlsPgtVYUxgaVPrA6ay5G9Of3OkeKphLyPS6+6qngnonmiMd81755tugTT94g5FapLF40vTbBbanMj5rfLf1zhjOch2GV8mTRjQeIdhPf6HNwxp7GqFXN2nwyL1EnbPPJ2IxGgN4XOw4IQ988PoSNX2mvOKBr+1ulDYLyBm5bnzH2r5A3ymim48EqYw+yXH89ho7zVhL/wSs7nU/1K4a1JAaOG0rggApzEwtKkSBY/OTZJu5dGAcfeU6wzolnQxiNGPADe7g7itom+bVfXOiHj2nvyHAHt0fnaZ2r2vHP46nMvjYekrxuePVyTtTbkne8gPqJvIcD65HHAgD4KSc++9/ZiTX477vv4+7BhX+Rg+XH6OgfwUvLobfywzEgrBfLDgJMb5DD8sbtSTgim5bzWi+qid02MoiB1aIEMuHa4ZVTUxi1YovQ7g8c6nYW/NltjysSMorPe3itMCf3HKfgW27SWofIVnE26do3OTORjgyXI7Jv5J88qEVUOTKOTdA1IY6fXN68sZWmXbRROrhNoRUwzMB+np5Wtd6oBZRItFvYfGLlErnMIGyJIx1du8ix2NuQQREaz04/H+sNR68K14k9KZFEnOrk6pKB6Ga/JUffmNht9VSnLm6VyQW9qg4QYFu/dIRqt8JsO7UheU9gfYOx7p1tzpxlZ5zZ/oqonkxiDrP+c/KIauhSiUO5aKins1+MtQP3Ihf8odg0wBBmnFfXnKAKMNQwk7DjCx7TBrUg+T9lPJHBsATJVECtco5SN3YtzfqiAE23C6cODhPsG8kR7/TeXvhhO0MmHxmhPDVDsvWhpAEVURcwh5kI00tWSconfKCy/obogL/2fXIiOIKUBL8DHomiUB7sZlETEs+JZn03v5zg2wWDYyTIxQtbl5z9nsovGay9fOe4j9WmF+2V8OA8UGtx7U7Xcz7Wm1O0A9CTy5FzIu11U3FgAryOs1jrHdq2j7wvbes4Kkei17fJFICbZ9WvkyhsERxwPVkOc9+CtVT6Emb7UTbPbOthfJbsWE1Qi2Lx0DdrTascl0RfMiurwmVFokbBYBnkEmppmpWFM0muKGaP0M9/kzDswA0azNzfBJmSqPD2UT5lakzLBkXUnyUaicNquyzxTtSbfllAVrm0DEmYdAc0VWp+ktIwVa1v0T3fVaDAnKynfOrj24q4MyRCoP3MhRljfXLZ30m/38zzdWw80kGP2vSZwl9VrZFiSyhOEclqwEXy2MpeoMWgTuaAPJoXHv451kxMge+j9hlxUDOHgyLYqlCR9u8an0e6qiwTwUhYYAq2iMB09GbQ2Tgz/4UOK1WEhDJNQLMj1AOKkv4OgKc6kWsCkSk7gMqES4zDaKZ3TUgUyefCcA+H2Eb8tb7LCq3FIPQ964UafQdfcBuViF6lGRgAsISBRhz25kXE08vL/Npr+hGMvv1u/4GL8pwVWY/kCad8PW1cVyTqiSfxKM0d7Qq5k5nhadyoQDFloRJe4qL4bQHpKf0KcsUGZQAfzLZm9kG1PFuEtUoizS88ARQvxXGmkev1KX8CoMujniLh3CoPpTlHZqSdQY73oLlTEl6Z7sdOtfKCJCOYflUrw838+TjO8eIXmuTLCXp6h0WeIACt0h1Rw7YWp+p/zNSRKCJjMjrwehxH6ZqzK1AQIwxosnba9UAFVBb1eDqnfZcJpSVQWHXJ0EUqUlKtzMfthjFUCi7OUWCbBu2qh3w8YTkUEX3Dq/ZFrWiCS7TEN6F3Jw6LfDNMICsQ6N4Ro7zULqoZZJlh3yV3oNtg3Zjp9Nw9NiGVYeAUoH5pQ3P/4ntMNNtPqhXQQg6H2L5+BJdOtCW4hjLOIpXdRDQ+f7lMSpeCfeyLxk3/bFym2AeRQcxn6AEpRmZs71VCcNIImGA/CF9E4gSi1PaPIi+8b1oZ0NqIlZVauVxe2v5u4JMILTxks8ICbg00LYZrrb3Mp7snr4JnPv6CDf2vtyACy0oJmSsbksJBFy2RxADlRRX+cs8oztzuKpGgJX0j94mAgikmgD8h6j/kFfS7NHrQBhnzVsvvDauupxz+6++UklUFWNKprkBo04J4Em3Mkw95Uz0mP2IYwYWgKJnzH2LzKNOpy1G6yoN6MUXH5aT1z5+QQjWAJyY0Ca/nw6co3ZctLy1lLmtmmKmf1h+OF8VnI06edEdjGkqshBID+NmsBxVbZJ15tsmXvlQIBRFSl+Eg+lXBaeHBz4lio8lBw8alBb3xeXLAobl2XhojyIfbzml707/GhR2Cis71gRrbYjT33/05nU318uroO6FOVwKC/53FuyEXvb9ZNVHrNUmX6oj2ez35Pj/BTKACC1l6QHXrhBh1DRMre0MLLg9z6I/qF5Lw0xNkQTGqbR1YF2ptBzZeY6DqMQN8ysRoMaHg8n9f75gILS3FGrREe2tPVtL2S48do1y5DnlTcGYibM1fp0S0mcVD8SLHwNykGlC9gWknGlYckwKt0/LdDfuZLTJPDlItvll/ithaGIbO8dEhb6z+Aa5uqqaQEzhKSU/wIBpMsUQT2juq8umv/Y00ttq/qlUTWTxq5fYapWkVJz2Nc+fEncxZuyjdRT2tA23XakWup0KnPD3TVUTTeM5oWCqr0v1quEmmJDl0MvMYWP2zNvalyp/nrB5VYG6sv6dzBhhxjIyb70oFpux+bbok4eDuGEYmtaUQ8dLmO1XafuqeOx2P7wb4W6VKpFu8ZdtvGTNvZkVAicA+eTX0M9v3I6cDHszrWX7o76NvpVtJxX+pC876wZ2W2k4CInYUkBniOl+B0V1URbbLHGS42XLSbY4e5f9p7S6lZOoXk0muZDQ8ReXyMK0twdzIhhN3rZS8uBb/8slSSzSjvaat7G7MPE6e8oOzzih7t+8MEiDh4wP2SVh4w1K83SBNG+v0fvRF6wzN1MUyUiRzlIW6/Vzb2qxGkB2IpwK8hmane2XEOSTaVRO9GvT86pynFP+Bgsj3IXwchCPncObliUKyFcrtkUGhhE7Y+Q28ZGr2mE740rJb12uX0VAJaWK/QJb2KEeRUrjQcYlI4jQfAZCFy3MIIUTHENC78fwfQB2XI9hKa8bFXbcLHoZAtWLBbV0qv1lm2oDzrHBlvDOvDRE52NEO5/n6JmKd6k/zGH9/U6dBcWxuBmXrC9Uh9EGfu32YfdE83G+zYCmrRfUIuvnSVEifJNxUtLbXCUW1dnNVv7buS8eytWitmyvBBM0Nv370Y0XZ04kzHX2dJjW9InELv0zejyVgwZloLibCBHGUVIPwfIys4BJcmqaA4lex7EYOmlLWps76NkfLdxNwMNQDZV0VdntqVgEkspb9U+5JzjJcEPs7+0QCrCMKYXbKrEy3Vfv2fhHcjf2pHxKZb6XPJy6LQki5F4rtvpcgu1dmQBdIMRbcJC3ncVjw+2lZDSPlnrXYjPFPeT3Lpq5osNA+C/wDRxK6zFURbAPPGRcWcRu4bNfzXjIsPgx0FryjA4vFAQsv0mF5iddTGsNRoGhe9ykE50E909R0HXLF7Sc0WGsN733r++PAJMCZAs/Muxu8boJo6be7Z7DSoWl8ZXj8iT1nUExnwqQxr+I0606Q9LLrqxkLGspy7odUtiA0VweakvUKKwOoAIggxJUBBMgEz3S4J+0Tv/25zrTrqOs0Taui91XXr2gYCM85jf4vrdtTcycDQTgVrzcq1dMndnQM+BjFydnDC9NGIwyvFSlAZD0+4QCbQMQLM7h6e1co/pSjiQfT370MY0AhxPHxyKVwoMgwzaY0bFzyPg03RoqIiqGAOYZ/tex9JY+z5joUEyrwu7xKE1+QCa3tWRavwval8MY7kw093O69VseHdwsfxZbzanizdxSMf0Q5DBPKPGnNG05AJKUobABiSJKa2TrQJsbip/Iug3RygAofrAGp/2KKd3b9Pn3Wxc/RmQ4lGr2QI6hg9C9w4KkB+OHChVJTudG6wZrO4BAypoys6sy3DmB8FW+4EAfkMvv+x0voFOboM0I9gV1z+k1zm/hSFQvqdQqfzou0MIV7ut6oiyb+kWS7r2yw8QHO/aTqqCy8wilsuHvulS1oI3c9+nfVvoUm08lqEsSElVsVuPgz5e2F52MVbLyyvlcqdackyucxwsXTCcx23VuJ/KAP/buvvKmjjvdaBwPRUhNSe4vp12hnhpMcNPk7YD2MBdF76mGkI2KsKdn6FS7+ng9YftQ//q9M0oyKZSlaApyOTMKEzebkXCopDoLgqHFm5mkO9qyWlMdsUFsVbJnADbh49HLa9c0aJtA85VzcN+KyJw8CCwLPyUcB6dT504ISxIBFpzPAL+AVseL/PQPf1YTUri+ikK5Tn2NwEV5P0NJlqgMn8FXFyRso9iZUuQv8lfaOOR0dFhMyTQ5Uj8/JFj7pjMzVwpK98AU4zM5qGA74ruqWI4KnI0wNPQm8CREi/CQhaP5QOOZJZD7+ntcY9WGRQjalI8dgVYoriqqKHgo3Va8dO76ByU0vE9cffifsKLjpd/DBe1sodnN7i6JGTYSVZr2u7k9lNpXMOdve/URDrsqEE8IRJ2jpL4jHtLmakF6dLWMAHJtRcOHYjpDAZhzrFdNrg9wAB2fjC18kQl4FK8PfmWFyg1+4HD/IPX5oMIeOuDPckUUcwid0ch3SoosYZd4tt1wiUWwa/BfISsW1pOP/4hiw/Lit6yvHyg+MXfBYEMrT0icnKsw1z+goERAFSC/lwvastBsLsaULrSHHHi7xUBzga7oasIE/FGX1xPM7nOrzEZgBLEBSIRVqi95DzJ1nuH5Ia9Dm21+kRL5gfGWrR0KmbljTKQ/QCyTFqm1DD0nNq4KkraEqwz4NfUyNLs1G4mVmR4YW/FdNrFjpf8wwQIlmNJadi6m90Y8ssqJCcHRd2gBaj6rBv6eqpTfwAhHB8wOPv2UCKtMVtoDnLRFbrR3NUsO67xFleLPchLPkjLKOPkiKvKrM3zBy3apBnqYf4s1D+M0RzHptfUhvneUUzaDbYbZFIY/XW8KICLVWDbvhCESKDrCelmnBCu7ltR3ViB8NFYV6UOds07FYsg0Bbu22DOusYkriqLfe1Do/jXq8ZKGmxE10eBnKjqrzc1O0LUWACAldfIBUqzcGeEqf889uCYPyxdOWVko2GJ9brBzAsxq+WtjqRfwLmruOHe2BR6NbUV1MJB/OOEBBdn2yCVJO61nIDQ1H1ygXKiJ7cA4ag+ih7yUsSu/l/TwP8jsK/6pEeQv2og46nRr5CsPj06UPM/SPOLKBA71o5fUq0VK/oTxcWGk0FVjT4jxUUUbmVaKSmCGeFD9+kN1R6fblmkppNadrjwMqTXspDO3wmsYPFKtqDQVoxadHsi6aWRF6UIPxngNMtcTO2/+3Dv6a9tfb10KmFo0NooeanTB4fN/EFoNIIlX6+VJKBjf5KNiolHAhmWQuOzXPOarE6eokjqBH4CJ8xsk7bSUsCluI0qJKcsa/f83hTdwRK96o0COulqdarHKayePdsun31KrRSfaCzqWnLRrEdi2pWTTQnbvPPkVfuTZ8EGzMSIVMLK/RRbzngkAi2wMeZsx+9PMYYaYG0w2dpAbt8vBS4aUiDBUEaOuQMRVehua/+sMbc9QjyEW+7Ofmrn5uvkvprhKmfQieBOfjT5ABZRfaKrlMla2a3H9GnpZIhP72ce+Kp3p+THtYUbtCMZ2rPDoZ0wjbw9faTmJ/nn/wTuVBEijh7FB/1FClqeYq983BP8G/2TTuL1mNdP93y2YQrlk1BtcKZmytwGb9DvsrxgeSmeTLhhKItuRIIPVik7pxtFb3dgHv50IPMN1l0obGz5X/NvK/zyZeETdZiaptirJWrNH8pO1ZBxF5dS7VOD5qads4udTGR/EXyGCQuij4FplYjrdSyEpAVqciRISYbwj5O00Q15tMROILQcukGraM09Zp07/O9I44dINzSpReDP5oe82Au/azyxlXuSCn5DmO0IgVZB+2COYt1QRYNRTHo5qSYE599jNxIkBpUvX/JMJDKd6AqNFkIn0V0LaVV3Z0fwwmHBgNOT/J1Cm7k1aqPXs3c1eJy+Aq8u1au86vbgX6V65YhPboY4CVFKPBr6vWlvOpP2C0VVIK3tfk00ACaQT7RbHl1a79Sej/i5aBuJYsmkWzIX7vq2uUf9SFi5KTxv6LAg/EVpzhNguN9M3VYVTt5kA0eMiGhBTrv1Eo17MWXo82qdVXkTr+YtpSBYl4Y29r12iZno+Ygs4Z6i58O40TBB/jYWYL2Bbdl0vsQCAXSaLr1qD+gXQl1rjREwMghW/B++/GfvORKqiR2URUTN8md7tQcXOnLPkWgoLJ6WHA2nzhgguCPUiX/mhxa3vwP8BdFdfQ6PokwavUR4x/ewJWF/66y9mC0kKBn+6AOCOZCrKCT/FFdaPCRuw1bxc715uP7hY6IvAt8aVEcYjazVRyabg7DgNc7Is/jUwoRoiNgnS/RrnjBlg6Kq9xa4ouvNoMAJjHXGwIDXNzWUzJ9+MRNUJSDiOhidGRmqeEfqtkeCzYSfAV0rG3afZnx9k4TOBPhcC8ma81wVgmZFUgVf2bRAed6Gw1MjZBl/A9lxrfVH7NbsMMZnWpJ9KTast8zR4KqB0AbnxVpDPfuKoiB1RI6nKBBX38PQPKZPhawR2K1rHrobPEWR2JqxFX1sSOL4LP8XePKo9mKsAMVaaVyOucKjp4opGzMnaqlkiqH6U1NXmfFBf2DOUc+e+ngw9OXQIMGEvEJvjyrMDUpA52ejawoGe5GGnhmDjYzBBjNUFPA8boO7DkKktX6MdWqIqwL/OP5sJf8bD+QIy6jpDbTPsEen6SiaJmOE8GHAtNc9YOIynLT7RHdzTxpDovyMO6VDCKg8dINRdvjbPTscQCMKgqO1jI2yHaHRhCJvClVZTlyvNyOfyjbVsDYjrtuXchOXmObezbSxPqYsVL3HPZkSg/4ocFwYh/cnRXG1408f2cPbqqNG5b9qEXHNTuf+/R+uh5hL3Bd6zxq1Cs6dZmSM3NDurUP+OoBH8AiV2sIs9nmkSa5pLuW/sEwigFoLwQ34JCSr09qTkqoAX3j6tUkcYVv7MXI+1VwPRhsF78Lay6/7HLyiYAg3pzTGB+25TlUSjKNUjtEoebYNzsIi4+839TB60zc7G9ZwivKclX/SFt4OVlmlH/UJxRyMmTrrKmasdwP1LHMVTNHMMHZEolE6DbWWZmTv07PzhABY4DtrnPsnieXXfWb7p4/48R7gUoALDFqLvfyMLGG0JtbZTjDmTWAxCI+8/x66kj3uMdImheX1zMJLtJLBUCdsNoQ40OslT4/k4oGqN68ruPbaNofyGjfdYwbnhW36iz15ZKUZaU3bumW4lmje4fDlLbBzY/dP5R11C7pbG05SFriJVhIWWrRcoIjivIh2PnGAJp8VzMSIYYx5HYlzkBES4cx8ydwsEnpfgVLs93Ovc3yEA+v9E2LSzfx51gnqST83tD8ObSaHjjrEPVKXoHJjyN4RVPcfGekPt3TIchYjbePlydqPF2a9aq4/LIarjFmX5cgmN0rwcq8idqtw2J0Prci/LXLj3D3Eb59W8I/i8z+HIMWoB3lzya/CdSNqjuQIudRTrgrzKSoEeW32naKILBPNt341x+UGJSxQ8BVQ2RHUio4nLe8lG4DvXCkN/RMbqDvGFUN/XQ0U2XJXSZ02JFfSyTalcF7EPoZJ5dC6LGpohYWK8i2N1yV1QMlUqrMvATnKs3tJJqZsQctKWuEy2P05E/z8DceZQxno/mo92Q7WXsScqxxn6JnJ9hEuxyU1sj4VEISNzySozcfOEjIrTC2MOU+tRTH5CCGB34k45RP25DfChJB7KJjcyuE6ZBMH6MsslWMJGdmsTFcBxduroWjgUFH0N0bN1YfUZOOR/tzT2Y0x+rkfahXpPoaUghfKMefsUjG5okQt30MywwhosNtqBQuJzsoxt38vmvhcuGFDcM1DlloXfZb4H9Bgb0H+WwBapP5PfvuLmjOpWTlx7AqPuPaByKXL1DVxfQKLzHVRpz7AfPhM/qNbL8GN5n3KRF8qCeacpQCywmxGEu1HOWI2UZRlA6u1TF9izVv+C7IzmT5JAOTIOdL5MF/ajl4YSqa584W/KNMWVO8A0kYdIr4zHVTXodRAIWFGR8fGDQeA1MvB/zPPeMUz2sL1orFNVkxo6OMdJGjjJ0md7gsmrcAAdsaiEYEFvFxTO4zs8nxOUUOJlDARQoZR4be/jTda14+Go5uTDSFF7tm3D2NM3vpucmZhNia9jLSVRsl7ED+EZvbqV850a+D9FDvuaJgzcR/3BTL+ewXcnx+fUnqtU9RipHxaqaagT/brQo/v2F82+WAkrDE3XmKOCIwr7qVMhq3V1daXd9LCR28lrw/i/FU9ooNKKR7HB98vXYKuMsR6t4ZwA4k60d7q22M/gTHbzqsagmEgKMtY7SKYH3i1BK9RILJTD6qEVIK9gLMf1BqjkdzziYNJjBfbtbP362P08EVxB6YmUdL91ZDkxe7mqxEOUq0eDAuLDSkivdDtwj1Gg/pyxajSdLxOdXpVTgMK1pMDRvbQz6WRZUCjN/Xwhv9TRIwrSrpMuwMr1GrMOXpkBTUJYL4nhnqVZEP1oz34SglvSuJScc+4RJkhzZJMyHpFIvS/3rqJ3/NWZVNaQgqF/vUvyQYfciV6B+kGYIXRT4MfQht5W+pdDHDyxKdfu4aCTG7a8vUBUHuDqLrGVevPKDJsJ8gKNitCz+Dyrc7m/VA1SdKqyNSdoy7AiAa9owiI19ados+bogYlF0SC8xyDm2m8JgMLUWQKc3RDEmi5+KLmoW2TX9zagZa/Jaafj/QMUvc//gUmGyMFGx1wcu/EbrrmqI48pg0cLluYEkslpYE5a3J47rEGgYA6OLq5EUmBwDrr86Be81ZzvmmryLI1L1L2LFnDnoTBaPHfEekiffEf1PMoRCjiHWGWlJWh3GGlghG4sJV1HxaO6aapy4+Ol8kQeT5aVn08kgIQ0dOEtDsoeocfYnQVHid1/dLrKzQhC1yVWYFXSYc8o1n23K9M+WT3Qz+AsLaqpquityYWNNt3lt4ZN5ugphN7P6Z9Q7UwqKR3zC1zekQ4MwdIBM1T2IOCtdOTiVVh7KKIK03pLA7gDvIC9RX44KDBZA6GxtghqIhSUDpO76H00S7kkwhgZx6pxYnR4kyyv7eCDCvWJAivo2DI5YjWoigB26LXUslk5d229aMYTNN5L1WLbyYqBCT2MrjGDsPL+UzvDneANxtEfWybvhZATZbvbTxFm++oDsyErtJVK2n+um/NSAyHPra2MQMmEYfpX41n+q+7dvcLokpHpzI8dhKAbrquKFOQBHOZtwQcOtzEZPCqpe3sckf0eF2598vO7PQsclq+tOxoa4upcKr/plXCWYMefOuE0J6OLs5UekLTfVJaYnv1KcWgIEEVR6nl6g6tVKdH7DVYqxioZ2BAWGAJhRT5BvycLqEWqX48GzjycOY0tiQBsF/uC8fsM2Ubl10QIZPP3O/9ULa1WmXEysbmzC0r11EMyPczJnp9W8e5DK6km6gnMxujwGADAzIfqLOMEx0qRbV4FNw980kByn62VdPB8ELcqyyCFdhjDovJObgLrpMhAaTcJXX/ntGF1rGnWpLo8Ljv9WvC9CpA3UKSYU7rdz/GAPoQuniq3D1xUMVxw5uC8YHgqxbpeWjAj6ZzCRzbMofYDPy1JRPMLt0H9P6ywEhrjJy5Ep8bBaSlYxYDfhQjOyQOJnZkvCIdAuMARi6BBZxak0kJXIWni+rIEpUa9a3j+sn6QkSySAoQWzRBYqNj6ILLAdS2kZfq6E1M0awM4fqeiR51n8/LLVmptJ7nmGoo/ZDG8iQvYtzGm2SXekmMkwnD3PLSluP+JCnnaEzmNJFYJwjF0TgqluAHH2zEP7j1qJ3ES9dv0mLQCi3KGNIGnQMMwWf5o2bKLhgP6Ol4bIN9faWhDbasgIrPLghuRWCvTVF1vScYt5/PSBDgbv7HFqk7Nq+XrqseINH+q2UmLNNK0q5RTF4TSN5/MJIFvbwazANQB33DjTJrRai3TXnwpA9AGuiVJZb8FzUBvG01dGVWKCrXeoBT2Ym37EDl0xvd0XDrfXFhX/VQ274Syc1J+kPe0yQJ+ZV5IItgt7wzs7U0OWtT3cAPWP9FIx01bVy+RGkonH0RwXzJyX42zI9vv5Zik55o7jRZ2xzznO2auI/bZ2KWZpATxX670nFxNlZ+df9HKtbKm+gzctobsLVx6NIeg5VZsU8lhaDBVtqcH4Ol+gVRgXY91Z7KSULOSdvZYq382QgvnKesikC8A6gB1Gzc0pYEcm0QaT1hBGRYxlYWBcLJxYnGknQtiQIx77TB8Tr+2YRlQPf2YAjsuPRVCHZF2nKZGdJ9GgA6UCsfkzNiQhGk5/8harNjLoC58ww8eAgmXqxnNhAU9d+KAB8WQCUq/y4iCVNrAdJXCzQwK5Sr3XD9sB1Ai1zl6huT0146czYvVRZW3CPQmoXi9sgFdJgwoXAKOWJ1EDzNfsUXjwFon6iJpVZjyTDpJp2LL14+PLU2EHqZijxz8WxzXrG1FHQiH8mAZNmdV95Z1/XjbZekki1iyYnZ/aJnPvKoaCUJgmEWNVHmjPbpMXc8tONEVJh0OHGe0AXvGaS/cp6EJR9p4HVMzp9XhlZTURjxjoRtNg/njrjV22352RRatr72Q53kQgzVpU0kD4xBAYFdGL6RJID7CtvYei2Mc350AGmPwESoaTUsVGCFxJdcq7nYP0jUQrJv2xcVsIxQmlttbeXpMaiXSc/Zj4O56wGQCzom4lMqBOGbTkV2KqgiAtHRB+HpTppj3iaYeSeYVW9Niz1T9sRb5Nea4IvGvXOVgFjur/o4RgPGmb82EJU9zxsgfb2rrioV/xqEqHCekAzqqbheA+zuIRkz0MycpkN4BzwkWpGDO4IUgH98BjOC2SFMzPWsbymTXFfKL24h0ScKw4qmaIy1JZ730jf4xWwZ5GUea4fL8VuVRFwKxC63Gp7POxemb8FzK1DQfBcDvSNg4jhXOzpt7/wDViBuAuYEJ7wxeuVJVIJaHjeLlDDXH2hBeUm04YgqefvIDbRzGGvE0i0s67kYzt1/5AEoyRaMaNnpkkupX1ewlsODPA5tmr+Iig3mzPy/srXF0SAGIk9QceWB7jkLjQCrEyLuxCvBOQmncXTOMwh3W1xiWs7EWKtWb1SSQlNrcRTjQ9pDrA019uPbZ1wULwcgJbRWh1PhaHajfQVWs9UxKG6CiboFi01XfZmm4DZn6LTUuhkdK4RhrgnIJwRncGzZTJh8crY6RF5ch7mBWw8mgdZ5qV9fbZtm4jeB01LCxupahnPrB7JOgHPbR0KTtboT3KJwhInqnzvUOTjTGnzevyz+egvRZANQbJ+RKVpZyPgOzBXeCnvGgPKvUWo0Id0UhjglALspv4ON5bgsuk2fs7CXghOF0druiSUh/lyBn9tEeW5iKnHdb9CnG8qK/yCRqL54dFca2CEPsfm5iL0yMXJa6egPmVoRB7f4pzv+2Q6/HNOnRhkcVim20qM2PevqguV/lk+UIi8D2dux5ypwwJ3X+AEuSX87ySSNJMx3pYiDCQU7gWzh/wdfeOK94EX2ExtfbBk3TW6JbEkH45qbzOkZnUmzo1HdD2GF9ZwD/6rsiGSha17sExRlpPEZyDtsW2rtJhamxW5orqBR6nna2OSv/lCejG1C1Rht7Bd0S+FUp/bZlvxZFbZ95z14MPfF4WFFGp8CbnGOt7zOnaI2/hKC3g97CVbZZZ3cokwWPvB0zckr89crc+wxTfpUX02NLtdWPpc0N8T5jhBQVH5k1/SeVLTGGyNBwmqMl1S05U7HDBicJ1hiCo15WJ78doCEvkDQ9UB8tmDpAuPPrFwJP86pSvPc/HD7BB7SGCwaV/ZhdXtHGTiQQXCUje0Pqpf8Nd/jMAw4162etpwvqz9zIdTAfPxdJNc0OjJUiguc/LoOzNBfGYQNBG7OK6vP2i9TnV8lPrbqKjKNxlfsbrBnwuW/pFM6J4rKg/B0vzFsnfslIjy+qWWmtmAQBBraVA//5/TJKAfWu/sYQsD8ga2QHnP9HwhVMaPXZBsiTtBzU35MdFu9Syw9p3V3DEVT/arQgT0hzgvPec6coTUlxGwUDySuMC6M0wyPph8Q/+l/wvKd7rJ5JiYt8ooakvswrCH+Xc++UpdaCvdurT1LI2r1XCKn+6pa3Y8DRoxo6huCS8fjKZsw3uT/2F3WGJ1uxL3OLd249ZBaT7hsvS7zuD1PnV0GqofW7T/r6xQnL1lExPpIxkQ3to1Mk48pWNVt7jWvkUu0WiTMrAUeBGA388BZNmg0hCK7CflrmcYGunILoZjNu838xXMVAKAjuuVEr4VyS56RT6G5YyDJwg/CVbkk8iifefvz+V09i+/MYfNgNS5xqqz3iZq1vPxXge6bZP8iXmO3+9cUwTDf9aXtFvO1ZQ9XiXl2/mwNXHlZ1XOjINtlqHGCAbwmi3xN02wr/1I35OqusUx0mraES2IED/bXbkTqa9zdgKL+C+e+K0Q7G3bYD49ngSQIqAHVWYfD5KloGAazh5qx2Mht0lO01M+OOz+0foprdx/s/hJPCxVPUnilq8w+gqK43r0sTqg6bDOiPhCLYScwh9DXJI6Y4mArZczGn7GwBAb7aSL9Jewc7b5tkQOVPFmxgGZdSiFYtQozYSi7Tbky2EbiRLUorD2DkmEh0wMfcSv+Xf1yam9Q8VLTdDkDar2U78ZdF7XXh+KDZraH0Hxkx6Ruv3tyHJl/wLdn0ufQNGCoLSRsuYe3FRFEXLADiSHg43ZIBVbxDIwJAG5fyUL8Nykr9OZvdR2/11MtwLdo7gasTc/hy0kpFaV1OYfABAAb/XAlOiADrjJFPN5aC+UjkHoDq0MMbMQ3pcx5R8RL9zzkC646rNdX++cDNG428oFmfSIoQi83bIPnF1s7dT2pt3muDSSlwie+RtTuFI9OMRwuWN1/oWaOmjFxM+hiKEMTnCFHUvkKh1cZHcPkqeEQ3NZJrGDXxJgroxIZNZQUM7W0ZBAOGDRTItoi7HMRPTFeydyB3xwBo4zsbA/tWyz3OvkbQUIjo5GtUnF5Wac6rE2khszH2zdtuYF/HcvmAsCmnMm3fU73WwKSEvO0JqucaBl0uKLoDRPmEGffno89GV+ouoBEuApd0nRk2kFjAnZYbqm4bPYRCZksPTc72/fsOupkXfaZh1aG594aeil/wkC/GjeOvuxbuHCPdJKsyxHiMQVT9NA9B04Wxdy6b8UQE/oE6V4O5OdkWMVeu10Phx4kinxbCFd/C8HVJwcE9oz0MAPnHyoq58y6GM9yxuCnXy2y0VH4W/lyOLTXgnllqGzsklnof1I1g4VlnZYlEohr5f+m8kWSZKTDOXEEpSx/7gj3Peh3RMtrxfratA9ZU0fsHRrXkQQGcJv4lOYSJvQzAVK5QgqilsGk3/gXwPoHdlgMGJpCHKE7t6B6uEB+inMxmm86l7B3irkcj0lchmX0yzf8XupeU+aa2YCMZG/XNqo2Cljox+pqf6Q+SYYmVvoPXuoSfre1lf8fWsLlWhDsHJdIb2x1jq3Lw/o95znDNK5BiGQwPiJlch5eGrpWPpI4Ait4Tbypxj/ip+DyTqkmJ4vd597+ma5X5AUEXd0x1SXAXP2igYW4MGlRWGPU0aOmyJAXiMe/nbhA2RoeClWu4EQ7KLpfCuxGIriemlSdzVjZxyLrK2uAjvljBlxJZmZTDEx5/RGoDtGV+kBtOQ4jOVQ5C718wmnHMjs6hHc7NhNpeQyjNXQgLg2BDRdOS/pGU9Qo7cpQmSHoOX4UtpvXqqjvUxETEy7xCsuqSKVcwCwd9kycJ/n1TBWVupZ41adQcsxXJ0hKR+HikfZTmB+mpTV8tVSMe2vrE/xLfVZ0/rKvNItqiUs0iaPWhXHy//LkB6iHB2mEqGo2pIPqNDVOZBErZ14o/vUjylGc2E0tSjzjxFTfHY0JIYXhca1y++78esc4MtGotOnsqbVC0YovXci8o5enaCodVBElpSn21Ol1DWMdAG3rH91eh/8FzRlPu5OpQ2NBBhalcFiwSxRiZYdyRqD9UeIRlFafz6avi6uuLyyr861Pidvwo9DPkANVrkp9PkblZ8bDg/I51fRB9EvLl0QmU+O0g78dz8eM2koETPZDxfdTSBVQPNthcyFjLqIsHtJIOQXZc+o7UZr08ONSLxxJHq2pdO08RpvBZqoLxxdTHlTOcpXl5yl2gXTkHVbOH9lrIzNhybAbYCJI78gxY27GB0EU/Jx2Jb2WAGeBfTM3+yIYTBXyDXiMFnFH/FUmN14WS2fu9DzD6d9p226YkvKuMOdnILot5DXlhyp7ALTSTAn7/SqC8iU5+8FB1H9zmS1eFkGjJtlERbJUINpY7JRo0ShHHtjb/w0kVhPVNUC2pG52wfZ60Z59ncwyez+rc9v9UJD4peLeH6NfylX4p+V4bSbxrPTND0QwPRLFD847lXrTTzmjVOofWnytr/0KCLrmiUJuc03exra//X19oU6C/OnHACQ0pozENgZGzdwP3NneQY864/giEQ0UjKFBsvvdAH/hf2gUbmR1NAGkm9umyFIUCdHX8trnzb6bPCDNqJptpZh059dUfXSXxdtQbMcNiowTJBQxar3mSRTaMf9lhbyI4znFK1yZdLGmaa09wMpO2lKJOUt3QRBrpPkjB/EC7w6L9/yH6qSMmigbK4piZme7gaMsTr7mDq09R0W8KXJwEQLzwPhIhtG+tKTlcxco5ZeUBK2NF/iZ0k8RXIbrsL7/+e96aSVPlB6o2msOkeUVXOsZuDD2WgQRXwaohnt4P2eUdVFm/ZkFZZNMI4jqkfsx7pUohtmwaO0W5CJBtCQXoCXQgxHUVqzxzgxkavZKm6mXBlMbd7QKLmdJ5JOFsxoK5WeR61kFB+I3CmAxETsiGz2KijXIL8K2mOECwkvbFSRI1cYQ53ZgtIl6+GY8Z1EZKGwyS74+mCsAhwhVNdn8NvEE2D4OBGA81XgnvpyLVCIeK14wc5P8pzuRGkjlxFmYR6RB54rC9Mmgs0/qpl/1U721beevBfkphYnrKW1DGxHRoE3FTwrn3lTxio8uMReVMFtNwWcgED0z3FcqhycK7Sl1zLmkH87BoFfU+YSt1zdCeLcIQQHIPsYk5EHT02m3LZRHcbPnM6Ryc7M4qP7B1na1RKBAxNHK8G8yi2xPGJ8J/oo8y7Kr24ClcEEa7lGK0p+PynP0dv1FBh+H/jJYkzPID/PrJ4rUFyeMmTPd03WvOKyH3j0ndAOq4wz5pSPmy5atd1N773pw+2rniBQJ2i1N9TWArnXK3o3X+KLmQqYaaE5xN7XvkRZNsnO1c1yPfBfn69cUYi/7PpmvGta4TyKFWgG8YvhvgrMCBGYihra8QJ6vEjvX+nC2MjPTTpS7F8Mw2mTbn8stehsLifPHf/Dz1wSUHovf7JZP0ZEXpiRAeTpBGTTSLXvhWVg2zs8JpEAHia4TAkTPUBE4r45n6f3jMtSQTGyLOISoJWgYUYIZrs42t1Pmww9q+h1LJ+NjpO9AtPDJjX0JLMwaZruKbePGEFvr1TwlEreq8E34wTQYjPQ3io52/KLoNjcV0FDByCyj1i8ftxN9cEWj+vkCekk+UyzFFsiZD9spVewfQ2L9sBnm4VpmHpe0YH3IKo6h1EsK/IeNmK5B120wptdcGnWxlDRYyOwj5B7StaiWBSv8PGw9f/lYecYe1RpDu3OSnHpeAfqg1LGrqXDMx9t39tqy357jjsPW1OqBM7DRnFp9rc3tiL/2uXcqJJWgg+d+soVcgXuYIejGp9MOpaxYwE2/l55/UFuYMQkOZq2Rqz+7qUoXrvNVSzvK/6DILO8sI9WT4BmEWSDNffRjIVP3qydr3COGHPCBgekQ3o9NewoON0edjihkSum/gUEXlbJpnx7pjGt++biwIIRx5tdJxNfkVHZZdyQp0dW5w/gGxw9xf7s98nJ+GgBrRWj1IZ9PdvpAN5DuE0FzhY26lWLOwaQQvzaGKLburBT63DNvxMFjeVBA+MA3AZxbsmjLe0OSl77zUnorv/CS+oZWYAKxggJowkOq3LAxae8vDIIHhlyO16j2qnZz6uSxr2SwrjU9Afe8IQym+rcZIxt0nQCZ/IIRiShk8lPPrZCVnBHQJg1SLw3VdqUEXgjhqQMMf4Xp5t+y0GlR5nYpLD+xevdpHe2ltZqJaxbdblx+syfll6dNAlpSqTGQE+9el7sPzM1P0K511xzSW2OY7teTvmhqmfi+7oPuMoNfJkqT1YQZIm8jbxMyjuerGkHIDvpGdFOh1tJk+ztm3P+HsKRFHDO4l9NL+9qr2xocfnvNuCxD2siK7w0uwlCtLy/vamCuiCgs3jK/UeZv2M01sG0ZnUsgV0b1np5g44CvqnK86EX89z01qFIiL4ArCB69iTNSK0RnjWH+oQrmaNRqXzC8kHTh28Bb0TNWp6lNwKXdOKrXB5xAiiqpt9ZqLHEm1fNfiecng66sSPo+HzuDvFVquQ1Q2ERnjUkB7DmC/FFXhq5/rXEtVkqGoOwJzIs8V7wmAYIrENTpOnUoVn8NZb5CEjTd0bs/ieSOH089k99b77ApSQwQgV9Ii+P0YG0YuGUvJk6Bu4T8d3YPGsdgmSp2BUZcj5pRLXEuO1cyLJ+EqrqjbjvlSmni+FCjcgrJv92dpnlpIviHy3ftirs8jpxZ/RKk1HS7VSUV2Dq/6Q3T9++uWAJ3uzml4iSfGpZvScZuadk6wFwbo63I2yPTUxI398UCKX+6rvzKWx8jTqgAk8C70JQp2Lgia+ILme6wjqUPoev4tVU6/iSgjRmwFVYl70Dg0b3AGlmc6MBs5I0iq51HrXt5iZCBbM77A7QlRCK9nC0lpnBXf8SAqJkJ90FIwML/5qId2MGDdB56Oi9o7B3zffibDnA51caqsNbRfloljTTWnY1XejzbgPsPFioTim50EwQGLKzAO9vJi5YVEnXzEuqBC4NnZqiZ7TcGHWMBPzxZCVLunOnt+d1Qx9V4YnyC7PWBUXzcr5b1IAtGMTopX8jsVMFqO4gxojPWIF6PcDjIvmblPt6pYBi/pbPBiIeH/0wlzFzx0Eu3fnazoAKgpejFc/7ORpkyTq+dsRd0fFkhtM7vFY0578xFczkC+PFGbMUeLEoTb/AMb9S0smoWCfHWcClG8K1cSe92K2Wxf0RvNANG978W9DBD/gUVEQI6pOkcLygG880rEdoR5ey+CMfmwjJiHboWtn7TRPmwnDW5Ac+XW2pF5B6buORY+/D19j4gl00cUhSY4uO3vr3nhM1HM0ByynxoOR7wdGpkCG43NhfbnZjFRWDWDiopOPeiguMT0wY0omu6NMunLJ+pcJanHmY0nVuUwH3Jbf+NCNNT2F36+Ankhxaqvw9BFNYZ3L+08XT/IzOKbhrw9Tus4WOLA8fFNDS2p+0lyOACbcJ8JVD4eaxs7ski6Jw91BIpZt0bPbNaE2RVZiQ6vTC32lzuz1AWIg0pgSQ34+F3Hhe80nnLjHjijgJyOuog027tPlonQhOLXh83Agz7OPYbC980wDbDEtUQifONdD12PtCwX6RM5pDbri0fKB8WOjSu5rDtUGLCVxtTd2hslIXPmGh6aGwjYoPujeOls/YG9fT1zg1zO07Zob4es62OyDuyLTbH685olM5SY02DLRCw81E0HNVc9ZyDWcSo6ABDMaizhI4cKBulUPLPuR1NViVcbaWrjtAr4sYj9HW7UrZovLJQrJKUMt9jV4SHGJoEb93wkM16ULqFUguEokzgk/OzBrTNaxFAiQsgg4EGGb0IZAS2XQi+PohpFi7J5gqicR85lhAeMTaqQc6GUnLocNTTQ1nl2WQ40wzgWp6zLF2kVFVrWgBeFSzjjCb6PkXTbEkSD50xsHI00US25a2Ta0aW7v8jxS/e0pwsIw8i9BuHsU7cft0H9N9jS/g5eldS0nKbNjFSH9LgRGvP4HOtzFExeaWXKm6Z7YW1ZBXsya1ced7cSon3n014DMgDsY6vgby87qiYgL3KRPxWk2bM+QbWyOk9FyOt0EaH2DpF6leQM9jD7kw0PIwBy9hmpU75QE1G+tdM/I58TTteDdTO0rAlxKRKRH4P62MiaJq+p/sR79TnfuLZUS5sEFlhqqLPrdUsLqFCL6ipFgytrVw/s9+p/6BKGogw+MR7BOsyPOt3RtnHHYefGrZGhMRwzjfBPfJyIjQVPB9BwDP6qEgkRCydX4lTf6b0MUXEuq9CXs2ndsJAQW6Wfje+tArTwkiSt/14qXzjJOKXBDH8qomdU0ANEl7HVXfT6HptgpjMuRpUpej4lKqvev7UakhzZe/T5KGaRyRhKGQ8z6PXRDmQhCd3rM21xf2BhKY92ERb8cwX/tzW21DqgzP92CjBrHK0Z4oXar0CTp1IDoyAiaFqAbWLTd3+5UbadrPmA4aqM84uG61LF6oNJJAFcG+WyDLMdLLDQdkeh15fJKhlcCaYU97E/Grobc2Lm24tiDVqOBXqK/JRLdBe/ZHlVgb5aNfz5a9FnPxUWRvYhCBYU/hj82MCCG6ZrFpk272wcVD9h7zhWfTpHrE+Cf4TRp32h1qpQYR6gTeY1nhKjmr6vxOqlaBkzN2pULt1YmB8BjvmLgiYELXgDaXTo0nbBR1K5uWp8F2mZstokCEcwh+eLeAnJ1z2Jzl2pzHv43RrfQ/xM6GZ0KTMJr8IR0HTK/ZYeiRcByv2ecyHUrkemaR7ZBkxmn+3pd7eGLNL/vJ7aKAPjIP/Z/OaXDj+EjN6NOC7mYCC51WeazJzA1KDh2Hia3ZPLCvscK3ePYf4B4aSFsgTZxY6W+7dj4WmxZQMaYcmIgKaAJM05eOJWqD2upxyVYWUjJJyeH2bbtMgP71HLuE0cxTo2Qy/ZR1sKgZRy0x2u4MsvXDstZz/CtVPr4VJ5Nnoncsv2LO19ebXlblH+E2yxiu8dxZ6hbH+O52KD7gcMVvI6XF+e+arsUBU90aYrU3QSvw6snw75Ct9gK0/GDMeFfD5gnNjRqofYi8speWACkVC2haTLpCHf1rpKchdKOG1js2Cl02omZhafmocOkVrShFAhAU/LTt2fmEvadkPfUy2YXWtQXWPyd1wnNfGG54r2W3gSt+yGJasVVczmEggnk32jTaiJnUskrzXYmwl2g17q6phSWVfbBdbEvEfICKTKJRqp0KijoE/aonr9k22vGlZ1yzvuApQtBspiYogy6vSWJEbfWt2d7qY99sQiaNfTpoCBCBojR7RCj+18QtI79c3I/ket+QtRbylhcqW+unDxHkZRdmQthYTBXVilihaLPPxxMWqcO2H7A3jKdQ5Sb1OkhLM5Rydhvi7TyO7RThyITnTGqSKxYewJiiE2uIh+GjIGbeZiE1ssRb9RDawf7p4SZfW9lxctAaN4AUHeeLjaGrIXnWH41LwIwyTcOozDQLNRArVKumfqUF2TfmN914NGUSOf/UrzTjEOlXSKTZ7Igj0GV6d24s7r3vQu8loIXy+RLKzrakPweOP9UZYr7JvAI8k60c5YUF8focHOeYS6i1z+Elycazg1HGQze0Z+4he0Lf3GUmRJes80tabyPMuCvEFitUa6+ZIRqnvlX4rjk8agl7wjC8L/iP5Wg8vkz4Hjbzv2yzyIXFBoJpzJJjImZS9v/81ciT+M0Zfnni1BBHvwd/8Q00HFHTe/Ui6/ncqorYVl0vcKQPdAlKC4+hMVe2WS0SM5WAMx9FovOAzsv979B4Wxe2KqW8xb4r+wRXVAw4kXBKFJILpHD2RD6N2Qq9M6BYLGnzuMEhtD3EZw6GFqW5CaONOBDDJVTOVZ+AXv2n3e+uwwGFrW/3XfgmfH8iqfTza37vd7LazP0g/Q20T5wwuWm2+pZcvWcl32ANmmyWf+U6GUN9R8ExbAqZpMvRk/pGJYOcl7CFStjhk1oS4uBBJtseG9tWusFixYqvqJ1RhcMo0dlJs2G6ekh77wzc84OJjMA6QAIakZQXXVX3rSlMsOfP0pPqw2IvZa5vyYAy5vPmYStVoq/PWvw3F3S18FwJgxoGPR/VbNr4S+IRSWNwkftzS+Hezgo8g+e/MdzUlwSK6UrgLGtXrKzC+fQznKe8nOXEilQ67/nPZ54Ji3x1QZt80oZaUuP+337sT/KXAKEnVA1w5aEq/Km4f+0AiJ9DvnTUgW1AdDP53/sc2s1phTFoI6glWvtMK4XDAsrT6R20m2xINbadXs/MLOwnialCi2WxkLYy7wnJUfNJL8eBc8c/6S18dWJnEMvd5heLYTZkvDik8VM3+t4T/KGUiOEpjqBA48dtIYuqFjlZZlcE4sKTVjHqBmdCDrrTtmbU5JdJ8uwYlvf7fuPMZG2BLoeckJCCsPNiPujEKUqpCH4LnlTBRZTW+lvUggQRpcgHfry1pCnxiPA/iv0WUniXQLWy8oTdSGPOYwm2Ib881QGrPSJuJSINxl+u0bXlLYBctGUBDBXPAjjiFUt4zk8633Y0azOpOu4c8/CVIkbTYYadJnNCplJlB/misQJVGF8MvEq+7YQpF4J9+fXAefMZnBmDWznILi6BggWR0PfsDRA2ceIVW1cvp3u5ImCFCv/c1NgBC7Z3Vhl7j/aUbN/TnprRY85eA0XhVadQo1Vt20mSmtEq9wcnxvR0BGStHRZKEsrPex0uluLDoGGk19lLATBWGD8HerYQElouGP6MQqSJQ4hGJSbcMuHYYE+FYUMgw+EO/5L4lk5l2EeKzliQ3+r64OsVJGEx9Boq/hOByhfoDRU/TiHKr0OM4dZnOLjSLqTTSDMaqDMg18fjNxgdtvRvwKQAhvTpZz+VaXArLpO+RZWxcldm+uQk3Wkh57MrRKom+Ab78vFu1wQzYA2U7WXxbUzNSAaxn1G4txUAqdhlJCQ/r+c3WsDwwGWMBswnup9PvojX4UfZplwNEmYRwOHukqdoccmTjKlRmnuCat3xTAyXxpidDLZXsS9VnoPj5eVtT2wq9vqOuoUmdW/JTsaqzeynTlrS+K+zSQdf1CEbuR3v9e5hR4GKLGwBtshpBM68Clcvd8zbA1oU6olOy5t0PIIyvAtibTbwwRBAi7IrtM99iZ+F1nOM0nLAIYEnR5zEJH09glEfDQT+tlq8C44eALmsIu38bkGIvtzPfippVAnFDM5hapeh4n6D5bHsbg0qSIlqKb1qzAdmSeJfGaX3OsMVg8lfBGwZlje8zCPWctZ2DMM94r8lBLzN+6sgr4hFSWHFvFoy2Kqb7ETOiltZBm99eg74M+N2kxgm6NzgevB7YQ8Kb/zd6z2G4Vx0Y8S494j77GO3aTDzp92JZZN5RofbwpOe15omkOQQ7Dygu277i659F7L/0RYOb+eb0o2isYUisVtAjfslJ5PBJ1C27t6O1nnhJBz5oVAN8uFaekJgUe1+XiEBIhGVz5IR/Z3yuA+TtQK8eQNNioI6CuBY3sn0eKEqGTLL2aTUzjHvHYk8DVw4kJVdsWQBqxRvOweJ2wmCqlfvmjEC1ZSDKAMBiaJCQLb75ReoywVGtNq3CwTqkQdnQ6buxRLSG/QVJdou+lPDfBWwD/ZHqBl/vhR/jLhK0d0VMSS6HegT26VBZ4RlHrvUsJypglvVZDeHXe+FVrgrfHu+B4lGo9h69hwtC9vs+1Ahjj0Ljgw7FOlyqZP8XlE/ySQ36NRP4/ByV+AXTCB0UlnZuoNDPYpIQFMp1V8tIE567zp4/32RkiSksxJi728BvIXzlUldI9nvaDHzekqxFWjLmR/dKOA2OabUUpe3a0DXxcMM/rV/RolGYN8AwhkEveJFUgX4bYIlVxipe4uctT23NW4MvIakZITFXnHejosJj+9GjLN90+FANcdt+JhQm/3ZSgRufpMSEVSTLWeVQWIZlRautcPu830JJTjg/GRH78guBvjl9A0mxyCNWyN7emkCdburO9vZLeOUQP1zD/AzYCztoiHD20rmXFM2lYuAPgxf4MuXG9tQyAGZlfwuNsiRgkt9MWztFWaH9YUx3G6Hxq+lcdPMUxec1aXvGLmFYkEF7/K2VBo3kuEn8baU/W4o7XePfUdp9x77Sx0oqnQew/DtiPwJzodzPX3MUu+LCn8jmeo96hQRSi062FEvENnu1DJn9iLxvRNFPwp6wYzoIyyKZT/9PXZghap6DH7mCWk/KclEx/44lI/hBhOIo1QJiTKVOqUO31XXOFVaqCvkVXtHd7T900YGMrJSlEIVXdpSonpgQD6+oSSWqoBKJXFdDKXqpRsnOP1wZddh4Da0d7H95MISFga/wz6xZM9QM4unURE6pL1KKJLnogiQNpe9fHyRTsx3PMqddNzMkdgVToqnjj63Dal9JAB++I7mNR6ftMiUGXHD8TF8LupbRcYXqrl9qKGJeXKiEFwXB+kewVVdQ1biDyoQ78rm0L0t6digbKtCTGtw0p5xOjcGrd7fUy32B2ekmXgfBg4P2IjRJwzRZHuZjywohGPQ2ChHzxHo9Za6ORFVN+dy2FFUrGQJAilQWilUGq58QVSk7SX9jbLEZaMg2cfsTJsv7gqAj1rmtLTearrsfLiA0num+ZPqHjYCcfFCWSEvN3FDKTFpepok3WZiuZotFGX/GwInK4vIJq/vfN2YNTpBYFRCfkB/g3PaTBjABYcm4KoVtZKh1uY9g9M0Iq7I+LlZH5hTFO84uigIdzJw7vlGALDiFV5D6N5b1AM6ysl9CaUzeCWgmh4fXEl8YzSee7iQN5D/AL50tkFzqowuMubHAhQQ+ODxVlTd9SunYoJezmyv73+HV+DAvAIufMzTccceHSbFMo2lmhyu5w/cBF1w2n78vjm8LYKqU9MTJvavtmwD/zvfxnQoVwTMD3rjSqBrT+XsM7MVgoZn9ev9Zjro5SKpRMyJyH0qZsXglsfifDZQp+Qh0ut0Uquq2yOAZ0SRmiAqT+QGwDTA7wMRCBYqHp0ifPHKckXDphLhuCKj0vt7DQXiEHUiZdBdPJ8VPMtvs3zvhEk6Jn9ZNht5N06y9qlAOO1RvjQRc46V4jIrInaYmvpOG1HChVk4fmSnyiDjfWRTc4OOu4yKTVERn4Sf+v/aCvZHYm7oIX3+Rolhq0Uj6ruInEy67JOtSje8jYH0WEiaEio9v/cGn07z53ji5DoFiEK17YFZgqAkd3j1ICRok6y4MP0A4/06Caegjq8OZHYN1OFBVnqEUYi7OApUabmYD7CNu0Hqa1joEoxHVagYtrcNMnE6F7NABnjvoVxLYTF0zeV9iadQjqjeRRpC3rwI1LwxkIxU1DrrV4vJcSoZ+PorzOwcHm/qpBbhriOIcvAv4Bk8I6z5DqcHY9OjHNx9QHMDqRp/H2BYvHQ9jhCY7M16otXkQxP7f9MBkQVol+3bGAnCk8hX8CwOhB+hoUGK4dHqrUgGqeoQ/Gq4FQytUGS3fH8lr8tkvHKBWk0SUkrakWWMO+y8GX9YKF92O4u2Yp1Ij2mPrqsqxLYdUJe46IZCOoJu2Am3P+DuiQgVCy5MBsIqMmvZgvjt/hDdKXuVutgMpSjp2hZf/3smI=" title="Mekko Graphics Chart">
            <a:extLst>
              <a:ext uri="{FF2B5EF4-FFF2-40B4-BE49-F238E27FC236}">
                <a16:creationId xmlns:a16="http://schemas.microsoft.com/office/drawing/2014/main" id="{9C74D44E-2B9A-4867-85A8-FCFAC7C02F7D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14924" y="1955408"/>
            <a:ext cx="7602133" cy="465854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3599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24659-97CE-4DBC-8A90-274D9084D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705" y="305307"/>
            <a:ext cx="8229600" cy="990600"/>
          </a:xfrm>
        </p:spPr>
        <p:txBody>
          <a:bodyPr>
            <a:noAutofit/>
          </a:bodyPr>
          <a:lstStyle/>
          <a:p>
            <a:r>
              <a:rPr lang="en-US" dirty="0"/>
              <a:t>7. Show Pricing by Feature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F0B1848-BF22-4DC8-93E4-49DC5E04E3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7705" y="1110946"/>
            <a:ext cx="8229600" cy="685800"/>
          </a:xfrm>
        </p:spPr>
        <p:txBody>
          <a:bodyPr>
            <a:normAutofit/>
          </a:bodyPr>
          <a:lstStyle/>
          <a:p>
            <a:r>
              <a:rPr lang="en-US" dirty="0"/>
              <a:t>Show the impact of upgrades by feature. Use text in data rows to provide more details for each feature category.</a:t>
            </a:r>
          </a:p>
        </p:txBody>
      </p:sp>
      <p:sp>
        <p:nvSpPr>
          <p:cNvPr id="9" name="Rectangle 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1h9D1Z5GDtPW+wuCTrU5cbsTyeRnoM7v2+KYfNB8pPDHY3/N/nQDLg73FVUjs5JX80ZEMdZ5aXYVE2SrM7ljDixtoKhF4R5tzsuuZUVsHATy29DYNDjn1XMd6/m5Yc8DYhIfglVBu8fMLOlFrzJz/GfHZxBQYkAZMGSL0rVFKRait4YpZ/0Vi3QJcKrRgyrGQp+2+X2rFQFvK1qr8xT0P1VGEMiCo6KLvRxPp/SifOFlOIXBbI6Ca4sydaAZT24icAS7PGsDkpqZ1HJBy9vFqd5EsWa+UWFxlb+ltkb1gUh+fXmYxXpqcaobl31PsWUhBrtTAcMSn2nx1tFZqfvfg1vCfjHTBFb0/OUyyfm7aDUlnsK3bEC6IRePMMOlyFZYHV3raDLHpTjxmcRmWJ7rXH18glg3wZFn1nWiA+MjRYOL5w7JTHJDzzcJ0F3Xe2Z7y4nEkygOLNTKIABtHmztqMrECKJlmHtgmfaBPMccK0XK5aUMlbNEcBB6Xz49d27ErZuaJhvaNIDuc4JU3nUFI/moJ4XoEUChWZPkwJYOZFRMeUPk7BY964nH2MF0BeO2XBYWoUU59LxIhaZe/G8+gU6YIVFeVJ4R50dnt4omzhXF5MvpliqL/CRmK6N3NKx+ztShQsULpmjecAnTYn1bP0TwQ6HQQ40EQmwGN2r5vve93Q/8W9qoOLybYtnTQnt0iv2oZlYAI2ubKZVerHMUdDh7Gy+0wJmYbQrL8ed4cm3lZtSDVyNEGngI2hgDFDmWOlC/oz0hJrBC7S2zEog9WsKkdfQCddKJJuaDe7arGZJmoy1p/m9ZnozK2bNur5iFwpkce/aD91MG+pHIkg1h9C1EucY5WEkN0hyXoD4pGL6OfquPyyKhIAAYC7nsisqaMLfXtyF36VPxdCxUtCWQXgP97zHsbwAhTqZsNm8HG243PIkA2AWxiizu8M6oClWdNxAXlAhFdGMEB77olSJVQu3SVABsWHsgJhiPGzcLlJ1xCrYWV4CaeBu+6fcQdseNVB5y4EmY6VodS0HHSejJoWNgeeSDl4IvFDAI7gY+0fS3BtVNYdNquMC15uxQrxyJzwKOKA9HePF4YudktRSwZqzR2n1QW29yvV3qoa5AxTLxgaTrIfnnPLiSyx1R6bD+1quj2p1f4lbZXXmlS5h98OeIKQHMYHNNlio7R5V6u3Rp5ZKNU6CO/yTKaoW0rwjp2IgtroCKr6d1xGiK7IbouS1zm/8OkLmCgpsmPnesOYBuY7iitL0sQjCT1EpFTOGK8SoBT+CWxABk+ntVd7jVy0JxUgHjHkc4XRZBvBd6LHOz/Ne7i99XDBP6kqXCpJ8NF8peq3BBf7POTfhk9hnmObTQbBCZC7LbmsPRDeISLYMHCXBlNxNKMb3a+MtrGK19k/46f2Yyoh7RnBfW+OZIIAFImCndD5pwfUrvOLwK8OKXyJZQB5s2OWl7T9Cx7wGYRmp8LUNGZg1rL4hs5BFVShSi9cljFmzGhj9SED//u8ZXwVSzU/SFqgICi5c9sUkzof+oil1UCWRT6FFuwDeUEkMsTQBrs6sSeyBOGhSlWF3699r54o9UzwAmoo1rXqfjlFCL+fK+EDLj0Atv7+UGZ4Y335OncNLnkNEJfNGncKpYGEmMh1YBC25BO4sj5pcsqyhgJ5zG+cVaYEGcvbLXvwFpwsjyhhwGwzLTH7Sx+gejgEk5DjbCHb7WsgeMw0v5KnIodLFNZ3ZebDL6DNa1DhWbwaEYig3CESkPAZehbzrcbk3WqOjwmyI1821bGGSJQk5be3ibGUnKw9sx157rDBdBpsd5Rok3RpdmprZY9+4vDby6FHOLZuU8nOc5SFJezMixvGNHJwwkAu3U5awSxQ9yTIkyp5AwmNnCanQQxrP3vqJkb/SWD3ZcmIiCoj3A1zmqFeyFfuLaTQQ9ABp0UlVb3g/agyCCKSb4KCuFZx9HPAOayNXwdVxQZd7ikmmsUL4fkiJh0vWRmZgcmoQ5DSLn4Rsc0tD4QpbVMOTHzDpdROtCeaTP/Foo01a5vJyXrRkHRk54xghHF9Dh5dy/k7Rmbiwu0vp1Pvuy8DIBKVbiKhVEptSriMVPyq4KVuwulrip9AOGgOOjPZIaHzC/xQrINEQV9QvtQEWd79yShDvTVktXjNp9dpnE00ksysHfrKK8BlTKyMXI8+3kuGI9JZnlYVbmOmLhlX6966fTaCtWlyFSGfgPjHFqaYZecVMsncMxnl/BCVia43zuTdWUPAW+NMemWJbBGyScFkg29TILWPBfT+efvQV2oMMhOjwmuU9wwFI5/+WdIgmnP7HWX890cgbnpwU3MBM0CJou2QpjtUNWf8pCwFJV88ZTSJLDcXRUSSptNc2zkkUmT5PJ+8QW7GtORCMZhz1/1w5COP+/SNWXKni49hPjoQwzRGUfyqZqEgh5OthV2p6xYhm0Saenw/TGks7tuJqGDisvlXegzrkFCHyxOZ5pWupcOAWfcs6dxBGmMH4qWJtnlffJD6bEogTRK5H0GB/69nPBuj75kzeY825pAPr53GRXXo4v183wwynV3kezECdS/kQGhVOW7MPgIgWHrw4usnZROYM65+Y7mUyNzyUPMKPrvLfUDT0tEzXGFyYrDNhs0lMenLoWLh3lIRnKw4nVYGXqNrcRRdanOxRFQa1RGnn4or0KyK5EifcD52EBNdl1WeU3WqIWLJkt9BZhS6JmDXoh/r0miAq53WraTVqYGEsm72/o/jokCPIavWDrSrY3XkRyucgoOdViTKNbc0TTq36kJW4a6bLRIzP1FcMcdMCZQR9GP48ZFId5ocMhy27+QBRnjrAsSTxs6naoI/SiBpSWePW4qyl8Qzo6mOyCoW6y48vD+3daZHWThWYF+NFRkMBS6NP+oyzar6VGZ2ho2QvP5nOFFNwUssKLID4KabCTJRgfodmaCMyf121HI/4AE+duSwFg7FQ5Xi78YI0KnB+p+AJIZUH7w+0oT3CcnabBd5hE8/L6qtBwE+eQKFhTIcFzmAe/z9rBmriYHJVEfIrVo1FnD182LfItCP4ar/CsLKl/rky9IxfKnQxmvH5nB9FN92WDZS5x8V+CLJGuigvEMh7fXm6QbkURuErDkRXvL14LZaFe3lbhvVwjFzU9r3tuLhSeHyxTwmysCQRNi9SaBeg/oLmLp0lomT9/KH6VyOnzxNMV0FPHkmUmztZ+rTqpAGW5shiF9epQh5Qi7+PGO79OYk79fh41ZCG9FlEgbK+Jv9LFRRjnbfMok2Wkr2htBobJb9H4zsaJfZM+J1A6DnGa2r/ILEsAnbc8wctFoW4PgPwTfOCEtkxXe0jkDCcqt4hbZVjnzj3Z0LibszyNKuGbUQREz11GZNDla3dMc+pRMUK9x6/+HT3qW7XMBrwitifANoaj40H/y2Kmpnnd/If43JyqvPDgpDdztin7C8y9+jE+iG+9IcauAidZ5ScG+mABFp6XXoFBZ4fZrZfhXO/xqyppna8WRqcW3oCFdzNLj8i6FJNMKcHOb1piE32BaeaoAlV+LodcKdY8gDgCgK76MzENNfedWw0jLRo3b1djSUCoZbxN0CyxDRJdcitmR+rvjKwMe2sc6RZsbVWhM53NNWlK7mJ16JhTynG7WT42/nE6NoDFnfgY/Kv+mhbiclekMaU3E9HDlP2E9tCqOLT97VSQERHoSm3Ovgz/PDWSXjpxoQs31O81+upS3O+h/8Q8/DsqtmOXSTMlboEG8/PBRulLcnUOclHboGj1y7KUPjBIbAoTN8zmh+kH1t6h3OfzZ2OkKKGZgFUF0GyXMNp/y9IJ2iGK3Z0YuSSmlux/Qevd9KAiBoTG52gkEPcvyVrU3R83KbwfTGn2broxNScEoy+r7PJnXHrcwaWov21iR9uBhFFwqG7tkhNbdlqRFwY/Qf+FGGE0YKgeRF34OwAFVZwvVpYKq1I7Cpe9X3pYrbzTS1QeS58Wvu7i/oe4jYGuBGCs0rO338m6IB3bGq/jdxiNLcQatURWRO8c1oS0KEux7/Wt9efTA2oJvdaxHgWw8LLEGBTLNqpWYmNMEtuE5TxK5uTIZo35269oXkueVUdcNRhx2YX3U5bexsKwWdC8B8ynWLWhS5xF6zETqQzqnfowgSNcOkQqWOKGioT3OlGg62sec3WD+AmzbmiAWmQMSlICUH2MUvipuaLMoJtJgpJUcuFrB8cSer/dmW465/wDRCNWcyz4MeiVor4ksMbGzM0CIepfAqnpnNg2ML9dcqcCYfrvNpv1E036ffWwz/z2zdo1NuNFg1aetjFFwSuvVz5EwEPEbFsjeypKiM2IV9b/uTUD0N7XmSEKCmzurxX/4BQq8iziE1eP2u50RpC1IeUG9vTgN2V3vYU6pAcy8SLv1b0ic89Q99qrDiMuA/8P0Hs1pzC4Cht7C4uNfRdXTHl68dtpl9suMMTOGTJf34BbjWLadW13ubJ6WkYAinHVociNkI2mEAbUwge6xxP+ZXzPiP9GcuR9zLhnZmvBenTA8+Xvn4Tou/XSdsb557pf4DZPWmhfjXzU+2Hga214UcfAODx0HGnhodGKcFqihtPcPiyfxDebfEQk35jIJsOy5qZMfGE1QOcjLiBTcVabj+c2imOpsWAdysKi2rIs6Wnu68FEWz1Q+ULG2Q6qsChMYjzHiFoJ9zSxg/9/vUpyO50jCZIvfadkvs1HOCKAsfRD60D6AJy1M9tVMjrzO+mojWMO/fQ9veCajipsJgQiRcjR25D5/GC83k53KvyYHGpMLiaYiIx9EWhgb6Aptw8Vx+WZCxaGL5KebuCKQs19cP5U8I3n7wFwdUJ2HnUYIwv4RnFgP5ETvS1CsznDgWXmklpDlk4XaF/epAPkBW/Ffb2MoQOmgYos3YDydHbLM4ix0UIxbnnwxm8OVC47jFwgLYAQzXXoo4znUJQoIkLicy49dIFPievPq9GAxaQA3J1X6FbyWBtA98ENOIlpNkW30KX+G9iJYiUAXhm5kD3yPKIhsY/7hii0Xu6ULBV5qCGA6M/YUq3i2g7VPodS0QfKJqz9ntmTROvTAZBvd/5i86Fv+hCuSdGhYbeGwLXeGIL60Y6DjmXkV7EV8guQFwBjL+AcQ2bliumzUWW6DzqOe16Ak01icNji/2lPjoaBO2YFWRtMLnFEuj60WBtLDFXhT+cSXP20Cr8Smt0VxG0C83bd4tG+orvBnkJNJxysP905G9T68o4vVvAZJTMa9+NJ0ABxnFeRCkE5zw2JC6PmtE3HaRTlPWs97iL4G6HGogXHdVCVy78jIB9U3/e6c+71H+1S36IjZpKHOa8RnU+CrtgszLLPY8l1lBKqeKYKcIeK5ZJM8bpjmaiii5nqLwQ6CcPTIfr5oa4lM1h6222HOWbq31q3K9JQQsbRG8bhCiqExaiHDr5yDgeL0L/LTPdQGkMZfCcY0kwTmFfiqntEzFPAFB8Brbd+igvRmDIP/N5C8AKD9efdJBzrMe+C5xAzUA9EQFEh5iuUhTj4g2E7sp+bUnETDW3s4XcPYcaqB5bf1bFSRdiRZHKzdoKqoSEzP8JP9H95d623yByplQ6D1zqcW5W2SHi4k+yrLS6OvjsQ46fcPduidnbq7EJWKklgVWL6CGXHPOJuYUn/agUEAnq9qrPKN8VMaHxuvuDo7knMJ9LjuNjISxkzK4SfXyJep/2xzKRRMt7A4vIkGFVVxMRtt1z5t9VKXP0CP0zXid6jmLE9lUFMwKfMGw3n8wlcVbLCmHRXTil1Uo6toeN2Ump4lyJaolNqqwol9hm0q7VbahM5gTPAifQSafTcm6no3D+Lqi7pRSYaywrpDfbA+hQZbTQBvhjtsqxnUvc+fZYWJHHde19THQwXvOwr2KE/G2K4fmpDZaMUa8nRnDgud3yVIwzPHiUC1o0xJyzz31oMv5ME1FLTPU7yoRKzNVf4NS3Z4gxWrqXboMK2bGUBgeqZjda6wxzCU/QeRYSDgbPtrWNVKEDV/wlGHZKdH0dIDgqtDD4qp1gTOyIOwmog4hvKGYmub10PuBhMNtnQn/tZZDV1yxLhCbfFArTVjcxJnQDExA5NCCHiVW7zXk5ep0yZGig/lkeYirDmQwoZDvFEbjQBx1mv/4nnIgLYefids7Cr/dJCIAVHqQg6nLQrEfZI0iQvLinLa+qT0JigwkoPfDJVphzc6Hl9MLxRnN0A92JSQlnNs1IWFeHC9eYrF22m76mOI+xtFAzqM4MdcKWeznGms9ntgPVRO3ewmoP3fzEn3PSA3JcEu9B3NFED1d8djwtHMYCDYFepcFop1UgQlzuHdYk3Q2Gmg8qnF2HbjmWL0Bib0O2qaZwnlAh7Lc6yOQIHOnodfGqnvzBglJDlR+/q1CD8+/4E5VchopsAYxKpBFcPfClJ0dhvCm1rwyoU3UAnp+DTxtpWLBx4Ep4U6jsvW5wDxlMv3hLrQmKa81//nnSJPwJsvtp4RtFrNq9VA83JJUn2vLlOrTSOGZHn9jEqAl9OyLLM5WwLKQwyaiO2ZBR3uRBWE14L1kFZ+9Xw78HAPGO4GwK6PikVcvIRF+HwmHBn+rYMhF9vAqs0cudj1vutAs3UEwyUFaz0q/vgJ5YijbD/RMRpmYTWc2tO34uHkiWh5Eju7alv2O9ISMh+NkRhnHr+wsXeNHghhqGRQ8wBy8h005JzqW3VzGJ1/IJv4gMq3E+owGLrJ8T+zrOVxQIrLLPOwjhrIj0RvC0RSEN1USIbl8yvNR03Mq2A3jjv/noGev3/n5d2tFvXvk9pOOMleBftTI/eWOMafMS8ySaPj2/33LmSrtu2sebdjzDPEVxo/44S0luYf57tMZTUbwuwYkwTj1r0iYIkkAkYyvJrSAFZIlrhXJjQ5LkCdAnJjtDP/rTljEV50ETj35QQRqGxXPXIK5GbnZuJQ0TjHxKeT874ZOdZ/CY1uaF6YjboGFDbSTuf75j4/ujDmp82n+NuKAUjIrey01W07TvgYKPT9BvZ/ICg3MNHd6IZTBwH4X5GfhbS+cCeqjyV4e4+yfaCqpsfu0ypRB99Mp0iKaL9qwpzkKkMcuCOMfKfgTFphh61SFEUKl76yf0A3Wa7HdbPilOb9UzNB3rcUMkLL02w3qriSyMerXo1mzrDRuRC95yLRxunhNhbJorsbDyWP2snOaWpVU+Kg+j3ODO7bqmAv43p9+Szbdu3FDi+zSRjpt46eeyG5EOEU75xM4K76lDT0Eaw8UBleVyzMDp7/RFQ6yWhzUBCASMRBz5RHknFWRdfSX+W6bLqg6QyhzAL6Qjfq8PJ16KmY7hrHYSrKYDHQWgdsL0gGQ1U4nJj6xJZ5cUXQKSSBR2GOt0B0dxJE6yyEpZjAK1qKEuoCEToEQ06mVqVvczJgSCTUmdJ5490b0WJUxxwzo6FgAFp/BbbiCogmiLIXQ/QF9Gy3x/toypBbXNWNoDLj/U61BxdtsLgwMZjxjTOcLb+WUJwtycYjuWJzo3GNjGWEcdUcwLHMXmPWr6WqaJnU5G5ioQNEThxha8dtbLD3gC5e1kFigDamXizyyJOi9Kr99GR2FrUSdohGsmGerdjse2/q56wLJkUXLzq90PWBh7PD/cF7jmvg13WFI0N6FERqcjvlySisSBsansGv3xuEPywJY9bIglaxrAk5S3rC96MK24XSrNz0W2jvQ1bFJ67hRlqyLmzdRpuWQ7RAwWMjKUYYHzOLqBgSSZKUkXQi4FV+sPKiGcVIjRZkAU4vCHMXnKb9GiTj1XJ7P4ro4ZtM9CMLU3ZsaiJNHX0P3D0B+WbW1gaAweyMt0zgK0aWO13MIpFyS8Lo/fm5s4W1F01x2lnU2GPALWLAuJdF972yunKi54O5qWAPjsVjTEHodlxe9EvOCrgakz+Cp4Ah8bw8n5w+Sg6BKmQoYgUKgschG66Fl2mFO2kP1H9rjEM+HYb3BMU21PjGPg3uz0HPdMrOaBGxMxeChmopZh87ldPl/tViOo2oueTuuHJo0+NScc+O0/X2t3SsgNMJRKgeN9FUsla6KM6bYKaqIB4LOk0yuVYAPmQJw1ZnlsCLkhXXDiyIyXendTS5s3pfArgnQ6o1ll7YHwD8/nqqJkJdRaq2qeq1SDub1+mwhykifL2ZYRzAB1XYDb5YXww/xLNja/VBoVkCs0diqtEq8a9qvuQdNmbAFbULsGoMLpMr3xz5uYV1IlxPC/9RbZ9/wHy9JPLS8RM153FUKmrrBGImk2152JJgz7PHxX8DAU55xdOBaVcyHCf9wYXcil+isi8Z+ZSQqhjQCjoiNZyxsbh0WtPlI2WuBwrtrZRK1SPqhw0EcJvT2Y1lcbGe2eOmkAVp+sVZzT/r6BXxsdtOEOsGQLAbk5TLSSHxicD7BLPVsWXJomYihRNZyYAoB7z8ZRirpKePG2OfYySWCXxL6dIXwEldGHcYGaL2EgHULOWvi1BtuTSUKQCJPQxC8GL87tUc4eYpucYJltdJTy3Juc/U4OpkLqgMFhxZfVHuYLotnQYRKhL44E3SkqcVbc6f+9KM9nwIgc9K9sgAEdWQ7jzfz36+zs+QDGuwluRaxCm4zNLCp70/PWUh9TL4wjnjlPzuSRAxIZ2eh/QCwjSGIygafe0r0hMX2bFozXV/XlTq+53/Qh5QvbNUCskhaG2vm4+GlCIzJ4rvhZ/4XfKKRmMhFo0eutvqOcKRnrx9sooXGGAtOUonXr+0dUFDw24DR0YaPOWYXbfCoFo4fVQlm0Ea2sgL6li9VrpSHq82m+ydT9B/LDclF7C2jmnKcRhNyB34aFBm5/ZlbKSwHFDQVH/G97Li6CBTBVhLVFX0gI4+xd/+mp/WDK0F8HBrdrWM3w87WpE+Iyne71k9eIInTzxe3QVck941OX2nmSc0vSrIO1lzxkAlDzSddKnCVDMGDLWPnLzH13zEMGFRWCeu4plKAfKSDAQOD8oMYJ+LLlXS+0rIH1AsPFYbJA2dDGgOPvGcw03tF0M3Ic2NVLFyCZMI23j/XIepMtWMfn48VHMwVjVy2/m6tV7j4wBm9nhVT/xWyEItRnncuB+xahWwN7q7iWXSOFkKsouugKBApbeWQ4S+I1peXq+NUL0FA5tEF2MV/oHJVqiH6MpSN1nCoObBGimxb7AzfK/qxGCDkxAjjORaoM/RgSgNviHdCBRPQE08JPc+OHRNIEUiIwMEoVAvhP+0y4XJECnmm3VbESpAovCq4tgDYKex/DpioKlAW9Qj0+VOEOxrTO5UejxH58Q7PjTxZiaN3CEJMteAqJ/83jH/aONj4X0vt7icngf8lqQrM2j633zVL77GMEBHbyd1nl6vG12i8DgcdtI37rOUQixVo8i7YnHwJg/TfKJT2sHtJYKqIMCBqB3Te8My9YikWcZuauZ0Qlc0GwjmU3VX+bj2UGmGHeujz7x7Otm6iA+FKTCYYoO5Hp92sejCo1iF7oDb3of/dWJNlUWQsoNBDOWYmePcNNiY/Gg9JoaBroGctPqVDrcekJPkyJ68pLmdAtlsaVm0c0TgB9T/3PG186dq2v7pdQBG8mgQr5wS7ujaSo1OECVXQny5SE2XppBo+467dj2FD1GR1WoldR9Eg55PtB+5OqGxI/vPWNSVwZDpRM/197o2Y0WZykbKSq2fWUPUrX7QMsbFZA9LVzql6IWEzV5oQwYM0qavmNHAxr6znMsTbqWeFlXN2kohdBVOLEC4i0bt/NBuiycNZ+yzfl2e4/ErjN9hrg03F7kZmqZaRDb4910AFuydqt9zwYHtErIf/WPpLmEpPGha/6Tz+55VvxrHjvivrZgHGkUJYKOz9LApPaVmn37NUYVtMXutvFyPX6Tl/e4zRph9V1ZhT6XHsEdHCBln1BcFyTI6v/U0orwVINwEeZAN+NlO3Q1ki/QbdD6XC8MVP+ScCpeqmao5NVLwbYGubH2z0HBNJ2NUacu/J8+jWU1Qcu3X3cfwb5ueK5pODESkPX8bCHMshOVDXqJh8kScwNRQqsXEY+2T4jeS1uIe4yn/jU3CFxiBWOP83BSdNoYyfIqfikpxW8Z1DJJ9pFybfwKzm0LWGhKgT3SAsKUCxf1XGxnjFGW0e0UY0gTxWjO3tMM2BSNVv91y2MrSDiclXZlPin1xMb8U278tRhN/gk1WbW6VOo6fgxND0D8qS4DOmIfoWDv722pwqYRX3J3b6SFKpPas8TwYO9ztEAZrxifNyxRdvJVuxvwpVTHXEEw1jW+OqwhyKRGzQ47DPMZpA8X2esHKaDtMcT48tbO8dq36lGwqSX7gqzgXKeBIsHY6Ve/E3t1b+SB69WrtbFT8W/qwY4//Ur4DkLKMf63WzAgL3VnURo076stZYQf+0VjIz1/EfwtVbuDnEnVQw3alTuNdphc0/ZuADqvjUgN/bGTbj2te/AY3JSDYHSUEwKy/ot/cSciiIl81o9GioOY4LIFqpbfa21b+P+PB56uppMAfvZ+0dRTz7ZdjEe+RLwGXObq3YamJ4DXnUSt1xy98LWJnixcnHtweJtejbdK6/4lGdcmr9ODDxaOrF0y6//nOSlDMx+5ozxEQWkLDZy0c9LA+mJGz2JiSI4EElXBujhL13r1U1bdHs1gJMekxaCsvkKe2CRGRorP26RnekViP+xSqqLT13fbefGKDjQddW0lh/dBU2i4BPxKZEWVMI593TZVP4Pnl/jSQbmdY7R2DqxDSnbiaNr1obzwoOl3WmbYiRh/OdEL28ohG4gWLoW9UkD/cVmQsZBmUKktcHM8Nj1b99cN3bC3RGPCR3NfD8jJPAtBorXhMzYyKiK5QrYILNbkXEU/vmuhQ6OKrWvP/FLacA8AdXlD151n+lgwJ+s6iTjUlyaa3IZAxRs9126XtsdlF6P7cQpWFO9FL3bEwYoqUmbilLsJNhKkqdiTm43sf92j6ioXMkOgBnFEuT2xlh1nWykBMyghQZ3UPg58bOvSwgjy5GXSaHI/ZxMKrPlgywFvblWcO5iqd0FH9A+EU25+Y4lGUbcGBJIrnvui1lbUTLqCS14/1O7m1VTXCsH1axI1feinrPriB3Ita6icdUD9b1ffbcua1ISNIYMyUQxXw8nPAUuyRxR8tfLQmnRibkJWy7kmdgBZUtalHXDQqZFadtM/enDzR/TBOW3lxmxEhnM7ZQ+KAP1kIR/V4TpjfbefmV3t9XHCkigGqtyMeBnvFv3zxL/+1Sj+1iBcSY9SmEwp6mpR1FBb3OXGm6JySnlNC2vfBGGJV7mjt3FfwLfILH5IV56ChnQIJhEAJVl4uBdHK3qMNXFzK8Vy0c9m8dwlU3lel7qCDFmG3GfXGySWgymoS83EagZOCgNDJv6fbya5noWNLrc2AMjMuPx3UGwDkyhhHgHMXkGLLVTt7MqwYKbpp/m6ka+Mpf6dnpcaMhwMKFfs45wbOgTLwySZVFaUh2uYut3MKGczxl/gYXel3AnbO0qYwMGRaZ/T5BeXcqZ7MT9hqiPuaQMymerkWbyPJtR9OYCRs78AV1mUvXQ/O8EPr1+F3XRQZXSkAjKDajTueZ5pHAO5JMhnGZf1np9XOOXrdh5uSbo/G7NXaGG8teqpEA6TZ5UiIIPU08m4BvjYr1LMZdhgC0GbM+4EPfnjP+QHBmDwFNWNI0CiYDDXlLCp7MVzf2V5pdrR7VJmBD6jexbLNZT4aJ8RmKc2w+8+xTDTF//pI+yL/2Jb1tIgIERopLL/a/S3ao3x8oQvrRukwU9BQxGENW/S7sFU0NSLBQVE+K/H91NA9zxtRhXaXuN3ekdnpeuwq2GEdbD4QnttjUluLvZedaXZRBNqMuENLI4YkZqnXtMmqeC4mcuyJHoP4fh/K8soANkcnHdDIQg1aKYtaPkwof7yGjxG37gMPiE0edMzNnxexsseZpvf67YBT/zwtWfMVdFP4ytsVPACt1t3buzbiHVn9OdHp37owGsnhM8veNPJG42RybY29HjaDhD7wGr0a18EEoTiUZtn/d47p5TPWTlW7sJzkUiTwA0crMkR2tQeEhstLZaJYSZxV295jq5StueC4qPDrEl5AMMiH6roSH1OhqmvPoqjabgKrgxOHEk7pbOzz5FpI6fJ8CvYjVGf1+jg3pfxH0VyhN8nwUHqCmJZHaTHcKZT7o1J6CrYEPr8wwQRGE/DG5jDJhyjbDfCaMTZ51sF5I0MqvApLahmi5VVrTPR1yEYkdo7fSbF3O9HMBNkL6Cgq/X/DaJsi/DPuZBqQnBMpr5dZRRL2/DNx3xs6a5KgCKQrFzzB1A38UJ7uBAV/UW6Rsiz6wEhsd6u1bwEqY2M4SmoYvyu9l78yj+eFAhBkLa/YNZz4k9Vy3pl9FN/Gd4qVWzRR2C3/kkKZcG+5fFL+x4y9xudORWpdj4841eyjKpAJx7wOnEPBrHcLJ49+xXsrGMDNEXLdd1LIo8oqDA9c5csxp/Jd9FIcemIQuxE44ynzaX7BHp+XqZN56P2JKTdh1/bdira7bTs9pnaju7VmIy3qIbfJlQ2wwpNIzy4FH759uOaftnaWYTah9AjYlY2HP1JRliOFkhJlLR4TQs0DuJpx2C51BepRkrvhLGVJOhSHvu6gINamSohiKHGLmfvhiDUN1WnCKVv3/qdFSW78VOm2V9rPNHLNIfk8Q7G8DgZiopFzouhEwSNsZXnxsHkYh4gUW9+kivsB/zVGyCnLXrqRc22WqxLv6d3AXI7BI1UXRuQPfQzECeSu+9kgXSthIeV2kT/Hh8widj4l4HHQox67Y0BzQLtWy3yGCHVU6DtAdCask2JSSVMspeITIOIhW5obWX5F0qqzuwAoAZytrP65hIXXhfBaDvuF8IcsQbQz8ksIwP2n63TLt9ntHFazkGep+cciY+fbNOWavJTOM+EU/bukiVws/3CBh+bbmuKw+lGDEFjoFmkUSc2wgf7WEbFJgLHA/G8uF0UZwBuLa6yQIQG1v5BoN53/+Ir0wOPD3J+U5d3bELn+M7HHEtAbuKa62iMTBR/Ncq608K3MZwQeRMldsxfaMh5Kb+JqrORCNcXiaEx0Pk3MTB4pyNMo6SBF+oso9IfgouO518S/aj1UeKoQ7QG5bqITb8OzjMFcPbGk+zxt92ljK5nNnfHwrZtfRI/Rwr61qvMc1ohZUG/xhGrFU0s7gkmDVsONKo6pSjEJKQs4a3JFzHH2VfhqQLT6ksxMdr1ATlkfV18YGykzwmECOREV2krf3fornQhMjB82E0HnR224R35m9Fx2imVwI9NWeNx1rXZmmxi6fWkqEuExWnHx5i/wXz6gSdw261n1LSU36VW+vf+TyO/JUjQefYbib54FUwpR3v5vfc7dIJRhtwY75JxmzOeG01hYFGwEqqo090leCUj6j6QdxSzQcWHZrw0Y2VauuMBLsKMKb4PjLZso+lnyXSHeeelRFBcb6KOIGOfUm2blQRzd6f5MdPh86QZbscEI+UxPcV4fnujthVOpoVnz5NLYPPRQbTx9/kGAGn4fevMdQuFo7GkS7GDFRkIxw//NoHT2kOmgM+45sU7gcy8QMhQyDSaOdfz1COmzu5ALiUOmuaqnn2roj+1wbvK2BGbwnIGjBK18gTKWPboCY159yNd8u1PtpAT3nDS6mVTpLyy43o6bAHENfXl33b/5RUWJXpjLxUg7oscxDbIf51nG4Qd02VYdZPNKojMm5isykdVuuKqNnGhXJrG3NzX6Ihry77ri4aabtsOIggH+CNKmzGoCaDxBmH9PRc5tnpb8SlcLiTkJpWf7lL1ovlxzJOExlzsn1f2wEx41z1OvY8aKSGgEH9K++/D4DY3gekC/ZusAbbsAwAUX8cWDROe94unPUkqrrh0yyeFWGSOqdlK1OAhyu+fDbw9UBo0MCXIr2BJzPb/rzCiWqtJPdH4wxDczKWP7TUD77710sGalTuUKTWa8vjtZFwGPvsxxhoHDcK1HgaP9yKtTkfXkpl1Kn9YIAnZJcW52AIBJDqh2xAYAH9C9VBbvJd4vlzw207Y7MR1GyGGbPQ10eMgp2kuoE9UgsLDU4cgx2zx0RXrC/7LXEoXDJN0ruyGPeqjwQQw5psQKU56wxXYGvOztSTMOc9vhVlLhBNNcmW6tJDEBOnE3owMwn8d9/5QbR7z+5VmEfTVxy5HOZhbDaKXUTEnYk3m5wMQyp2K+iebq6offejUXD1uXfoP56vc2TqAUmySkhNte5/Be7yyCHBSkamUNr4xD9Wh+d8Buz/BqVYwsnFyJVg4ciYpuGDXv8NuXrgycHkUHFfNcNdAoVi608nP6TsjztoztBPw+KU7AQn3zpkfLacs9X8KkcRZRVeN+j+xXQ6mHwObjjvVtKQVBcmqwOqPX0EveHI8lhLDTNqNj5I6TGbreZPTtTcUdf2g1iK4F6zFK0QDnnA1n+adrA75D+BI4qk2Z/rONd8bmW2Q84+zF6rTUdeFsiY1F0MCG2eTVyre1nAMPRphiHZK+7IjQxnG1Yp30b5myAR0UnCwF/SWDXS5ikUU4wP1iN14P1ByBxezyRJqg+mcUoU87LV5ejUfzWas7N5rKbFy4Z2Fg2qdWI4QRUjbYF4jwWTNueX6Wf5ZVjWJXqhQoCX834XmC/2+wTYIJ2ZW+B2XHgya9r4crLD70kqivca6OGkV9FJFTY+gk9wwT1ZE9tS5CHW3w8BSPRdLG4U3PmK0HCjG9zWpepk05rSAoFplYSnieFQ0fXun2tUBnjzazC81kGo0DfSGq+hzlvER1keWXNXxL/qGAOL5HC3pCgMhX3GDqfOjVX44prrKWOWpZYoECKFZJi4tusmXtSf8lisTImPHZUIZV+rYkDK+4Zykl46QelItokzkjH8fzVtbshkSb5dJzLhOsnz9DikoAeYHzo+Di1rEgFlXasgiRJWW3iG3J+R6yib1XXtHZjp2XrpbREwrJpU/k0m5iYW+bCXcOg7aBcntpnqt3CC54Iy2df11hItm8569Nm3dzD5GuFjDrlHBWA3uheSgrARRlHf3qSKMmQP2k4u626dNwXh2GIiYeggsVTmIoSVdKxK7G+01VA/Q9ztYoJSEZvp+haldo7HRcdKd/ahprfmsPJG7AgfJXmoxK9f0pbHWRChUUjq1MbtgNQtla5MU0EPExvRHfzyilimtrzqKKA+s3YB6ROBXpJDjUf8LeTv9RF+gQJJyH5w0R4DU5uLiZhtVL2u4AX/hwGQ5q0kKRrspwNY7//1IEXFo5UFjE2nz8ZZzsHvSVwYLZWbFWcR46k6o0v4vXhpqfKn2UxGQaX2/q9QXNTtKc+blcOAAuD/qkhqHAUQmHg0IhAZc8OxkaIbUcKf99pVe8viKDFMjRyTsuiNTOx1vt4hynCULGrj2lViD0INGoKCr3OP6epFMdBgCKsOvtNDiLC4jS63N++SV4Rm/UrG9SRmd1IeQiHz9SaIIdQjHVEz8+wmBDri8nOVnHPSHIPxChSVsN1nbA1bGwFS4rSbe6459flWC/RsgsnIjWActhpQ4LMOaNsR2tFRUkqzZnHdnC5ykUbHBknB52LJGjRxn/ZtLTUJv01tDsIUjxr6d1noqnpulhB5dMIndqCCXJFvRRu4vA8z7biUOb0MOiT3v+RQtqqUDRIAK3fwNRs7sOpItgDhAJC3l1v8FguejQTTbkSEOLoUR+3yyTRA3jKPxppO67JR5KCcRiS4pj6mCvDXgZ7S25s63X8lL9/DuqMFgVdgsTM6SlLyjU77bvBMFn5deDeTUmRZT6jNvkqC9mE41yrYvvu5PTnxeM8Dk/l5J99kQaA00WV5M0dQYUgWnpR9BP2Os0rwc/tAayaWmX50RhemsJCSQzABAov+1NY+Bj4G+FbQzDyskaVnnL2XR2KGnGWxQDqGKdB7YMgCegSWsvnWcf0+3HLPcxUDlR/WvRuiZ+ZRgdnVQMJNAhHdXmpbwCS6LlLQK2SBrepe8zlE1PPbqenLOfy2GDdBWh1loy0s9WCu9JMmMPc4kkIYOHIForYDMG7qqHK9nYR5J3AQsVROaEpYnSOA9QY1eREtiYHZOjvTh6NEzTit2xkrwBrcOMH5lNxfVpiaH9ASg2c09nerjxREd/NlRiZA4+UCqjLDkQWxMeC4ra43HMif0VvJpBq11e4wJkdooyrMihnSMkKHRFJJHSB3p8jKeyWism927617q00YGlI9wwsGaShU5bBmnU0K8nDw0q0yjGPH2GpAFVi1Tj5wED8SP068pp2UegRYOfSf6xsgwsj37mN2fIOnsbOwujAFbArpHkijo7KpSHMiRSQybOfgwMIciFlXSGKHAiX1fzpESLTIYZtNHB2QHiP85//ZhnAYCpJnNxBd/SVevaFGw6F0Kxt9tCiF8IWRswj78DHoo/QffGRe5/8rm8H1+AoY163VCn8owk9dDEMzd/Y3Z/2iUnJyQsqr8Pyj4LalKfACu+LLRC8oSAGl3i+jidlMxq0xlrpy5kBDGkb8o0ituDto1sCsNKgO1FWWqftIOZzH2BMLyPgE2nvFcswuPftlQ6v+vTdX80kOnwcEcIsQdOLz4NNRgeJc8SBjv8tNRhYhhxwC8Eq2fxpXdWmdHMu95HjZyIApPDFRPt3YoA82j+wAwAODmyDwCv6qkb4xkrpNNT/tvqtyvWbyMEXhFGvfnfy5F67WycpNGCibgwZbzEvFJNvkbwAPa7tawjupkvl0A2Bz23fVLZ806APpAejjcJkRM8wAp1lPft9vNVAe4AEhlhKefq0N5YqmeLwsfDbs7fepoy0xSX7RdkKmIurKbhQgpiQRJoKP86RiuZFeqiWJhlfCjQpMhaLnQxR2y+F9WkG0vuLcaOwizetR0SnEEQXzadTIkVHLVTL/R/rB9jabBtdlhghxqrvV6KsfDOEpmPfgI5TQrwwWIJmkQzm84l117MHVHYu7MyQLQQpYCiCSGLf439x8zZEi44iue2y2wNFB7MwCpduO0UW8MGIKUA/ipz2VSzabzsDtdPYwLGVaXDaQLYDG4KtImP1z6M6nklyORWklSQlXLB5KnuRg7thyZSk/18MZijlYwsxaohlAXsPrxWyvenSWKNrxwH+bJMkAPHZUiHZkl+Hzo3M6i3OTPY/7ZBhU121C+VjXQloEQ2OaPMsgt0iyfl1n0zTW1MC9sF9tXLSjjkcHdWfVe9aTImOcPGkuiiWKl1vyjrKiUtTgnxk0EBUL7VCobbShgjk9DnnDflSekuWPq9BzwU3KYJ8jxcEGzo8UVp0GLqsv6yvOa/v6ihwNX+dka8EwbiA7FH59SUtLb3nO6mYjRQkS6vPbwmADwmuz1zAyCqqmg5oBFO46j7O7+oPDj5RLWT/1uZQdeljPjj7iemnR2Tp+PCMu75R9urL6jurk2pM8BccUjRibk5kIDgq05tJmBFYZcdmxH8HzHaQslqKi1qTu/vfKTSVl0UuyDdPJ0fT5Vo/f6XjGiuBqsV3f1cJp0tUjR4g3E3y8eaXfC2AYux6CN0i25SSp6GlNOIaZM+pMrOpuLpJC1BjW6/XjklWDyMx0LT09KJ2mvwPjLBDdxNEEswp/e27//NX+PSqyChJNfiljJEmPZI8emnT+U4bWdwnSgjLeOtoodnNlCGJWKn3Ch/f0EpWdjgCSW1KAY/HwGzqakUTYl8W3pzaKsMf6lKbDKMIVp5/Ch67KgBBUJKlgMtQiSrORKUq7hQc4sUJcLZRJwi4eIsalDH7fFuqXzaXrv8ctkSUpcsgLfpdJRsD60qCaK6ZOyfy+G6f1pu3CqvFBXgfE476ZN4Lf2ZK8VSrZ8G3nDrsxA4+3/eEuOKiWMaydx/nSFi3oVecw+g/kDo+v5fWPGy1HUt+vsKuCNCCzsUI3rk0NajC+hiPjjzbdCHoAdhL5pFiIZdRetFsvJ6BGNaBxBtAs9yeCZzXGF7X2Yip1CWDp7vRIL1NZH188qe8D0qKRh7iHo9mAbrkD5uBMTicegu2ILwMM25oLwb3OSsQLAxNH7x5BfPPqJ4F4hlkDCa0WfQmvyGveROwx8ZTkT6CTihny9XuIsKDrgb4KaJKwEHVeC/ZGWMWjSfVliZmlh/xRboMe78y5VShZFr+Z7klsG2Y/BBhtJvHeCoZSGN6BwxRcXZewGeuJjhGI1xjwYEs1GBM8w1b8dvRR8/tURTLLh31VRo8HtiG8sMc5WZQGutXjfiy8y1THJBidy9j2DIlySGCLCZdon9uMMzNJk11pDM9q4x02oShiEr3skNrB6N8uPZVHkicZsKcEphUY4QuX+VU+4AAlKo0LghZuGNGcsMT2k19eJKAAwD3p3Co5SKjjsUgLcqVbYIz6zSuLfQ5E7rocTrm75gGX431Z6M9BOFYOx0cY6Cwc2pr75degpjtWBjS4Pg8sya2qoqZ0opdTP8AWoFefwHxlOap0bP2q5Mo1597Yiwwau8ymEDsrAs9Z49frDhVSjoBXE6qLwRYairbbNC0wjlQzg4usuM2ZqVpIYsBxbtM70uxIp9MT1FmQ9oucz32R6jqiPVViTAi2VYxr/xGn2qSemAGqEe/BlDCdCO/E+jW1fWv0Dkwdd6DvcVCt2d37t+3txipBuvVodv7ggSQB+2xtYsCLMi8tAEB7wx3CBY+YZWMV0mor98gLECdXei56el9iFM5zQmAdn6wYl+5M/XqdHkJXDSM6P7b0lhjlDZNUUFZo+fGuqUPbssqlXjoQ/w7xtwfJ32z/G/ZpK+xAT2bcotE6EhqDaqJkyrhDg/o68VN/mOW3IDbcOVghrK3zA7oYmYHDdYXPI28NfxnVGRghDMo4PSGV28MdXODeiF37ru8xBehcj6Q97ClieFYMCIi58K1bDpUE0AoKaPO8/+2c+tdyq0I5gAzPHen6mK60dQWzdAhgM5ou63Unw6nXixmRnjr7daqJNdhUsUv0g7+9wu76cHoVMjBNF3+/0KtSA/UPjUZ4O9UA/Gvs4WB0AOtqg4mCOMoqVlZi844f1csy/Z9ffvD6Y75p0DDElw2F052MAiq3a02svbz49Q8rL1WvZMjWE4JVSdAa4eR1698U0M6rIjd1pWE/vtQZbN4f0M7X0WiXdO8mv4NCPwf8bPuJTYGmWg/zqH9oHtOtuPeYJGnAmssVI42mOm666p1LrXIeBPrC/R4F87gRwHbO82O4QuYJJyegcGiCiFN+mlxMfeNbuU20GQsKMTElWaisiNc4xtmxbYc3dYqPLuAMpVZU1SqmJUBj2/eIdSsKaIg920amGWQVnLbjNucm2KqnkOvz2SIcgaXZrljbiGpmLUhzkDYH7HgnMTAzgANkqYdNkYP5qUYdmjK//B21pMKe0+xqPbRUMd4XaCFUzjU7AaFAPruYv554nd7O2L+RVYk4xKcNRdyosTdp7hmTMmG31b9201pwLccuD4b5TkoUj8MnDZVLxtGGEbvSZpNY/6IAyW/VX1FaTqbxTsK9m/qX3Ts1Emd/WPin+b4sy6pHzDhtVjMB4smcpjWHgPeW8vxDj3LU+xj+VOmmCdHpExhauKgMiqa9XvZfOGzCxN7pQGcgPw3ugRPZrQmczSsr/8h5Rw0943BD9PLmX4kVmvi33QnzM0LNITWyAtsDtMkHwvAeIC3WWmR3yEXUb9rYB5SMY/Y77djOobuyrwLvYgCR1rJeD7lPn17MiU6/5q4+AinNaTXT0gKjWvel85rqZpYdqmSTv9txUcBAy2itasn1gwc9eUdINzCs842nThAew4JSoenJltHsknMwqgrnisDP0J9yrLSVRugaynH99v5REahPwlZchJjGU34UyrMtTSGlW9wOdE6CkE6QbfDDFWb+kVoG0Hu8mdqMvj78VJZQcsjqzM7G09i/eSXGErbFLRgvxR35yn8wICxWr8pG+VHAUrl1P2dScHBK7A8Bpzn0JPhI989Ok5WLuUBWv4/1hPpMEwJE31AaM6PMB0uqg4OFOtKgdIKhcFTo1+j3Q3qYe1H9McQjTNJfikYz7K1Ee1n2bVimLbu7RC4UlMIo6Qe1y2We+O3Eo5emNe51vWnHUP6uhjFuSWrC5Eyz6YsJMJqwpIvAoC0qOdeDq2rEIfns1yOcaYic6wSzzT6D6s/lU6wp68n1K8GZK+G0qN3Pt8DWqq+dQsjMmElWEjnGuHHVPtnmBFSIQMLznIsuqgaXYfGQYHTFLP6V/uAOU06iHUTcmq8Lmye32zm40OO1jj1H/YceEXAo9ukNZrIrKwTVckV8fHC5pc0y+wUTFUlmaM3J+1jsgu5ufid/TyYqJM24vMml/IvtaFojwJiM15bTXDW02T6txM2dAk3wqwJobDVFtpZQW4/leCJDSSpyE+M9FamBK50TnLPjxZSzh5FvzLRdwKpkp2cBZQ2rJ4I2Fgj690MuxaanTYaZ0rpOdF4EybJaucF9yYupcDleKlEId+Z1kxyzxN7sE15c0Akr92KXGepyxa3ZfbG7xGP8XRYG8G7fzYNAR035Q3NLZ5D2ghFgsrmxLlmBHs4kkxoMw1fbv8fmPV57+WcR1QDeLRmlfUTBVAwuwSL1EnxMzu2EVRi4bzOZ4hb4LL8zWy3ZWjJPotiH1NINyl8L5ZI6YsvXeGmRjnjHOk3qjoJacMX6k4SndtqVkS03lFMPbpLHSQlud580t+z4ymcz3154KTdiSezOs4SWSNo3vraFEGFc+vJw1FZu8QUVjwTDki9S6PKL4I6bbA/4MgxdyKQ/5jHbWCY6YWewz+YqjAWYv1IxxgCU86C1yEV/1RtivF3vjW3cMWRLSeU5vsAAdBcLYHdVbHG0RTzfdDFqgujz7ArfNl1fu0fDRZ+VJ/WiCnf5fFxyIqOyV48TIe46Z/2VJsz/X2fSGZm9icBGpC01jR/hVwexHiClETkg8AsuOQXEwTTw+Mac5OiNr3BMX3SZcGlj7p9BszZSFAShwIeTj+ChgqUAF9ZOoOeihiSMA6WVY2D8Z+dLRutAYSCEq2WTRtH6Ksz9b33g1Fvxe2zUNkOKXOcGOD2gASKosAgZUBFef8rWQFi2Gmz1V3qjSyNtEChl7l4SzUrQWa7Ge0dItZkVg2UN/vjBL/FWI7zmbLODkjWutzDLSEjIYqjYrIpUsALLq8Vd+nil/zZ8CKg9xbYQd8g0CSfeItjACRXeBRde2iRV3+jaqQord7TdkEu5+lG9tlbhFbuUMqUNjDgKHIL5T3q6a8cj1PqVolBg6H3fjjj40n68AS8iQr4hbbAOxyOB/ChKF95DPvpWz3u/r6pmwBk0umCfc0uxQCOORJjlEDx8qpfgWWCHyyydu8QhvOuOzuJ/mro2cyi4ATm4Q7Z1V8VoF3WN3UUCOxq3X6T/MGekGFUqR1DM9maqLnFDPVAqpdThazFNQfc8mdbJZD2kxJ7QtSCEULKdgXiaMAP7cUrl47WMHk6U6Q2Rp8IHcQsLvQo4+kMvvIaEU1q0266/kmYZRuUq8D4JNf3/rVIQiTvkJ0HLSZJ9WTweFYa8Fwqf3oV+nclakYNLIGLcUvGdoJEGXfFIor+t24oz+Tx3wLhqUcLEtkoDYThM7Xi4C1aDcMZ9L/V9NAJ64wUz4UQyl4/MhhXcB9Xs/xH1iFIGOKWIBsI684l80J7G7WdZhny0HerkBPnVbFXuhLtA+27gM37751BgskBV/C4git8ZSFyP3HJMVPuCI43/8vIMopBmaKkCzfE+B8WeZfSCbYFuTWd6xKi8a/qyok6U1ENmGrl5RHsu8pXGLRIepLTXdo5SIaLwo+Jyh5Lq0CP8M8PTAp4VMz39PhAc01i40XKJ+1Lg8XV0qR4Nxk8keX2lrgpJENJnQRkUTtFEdQMpNI2y8Fm44sKlVtrTd2SLQkHZXWG0bOfrdD0GKgT9NYcnx9NNfOrayy1QkOgBSJW/PdSwsiMuyDvfphXTXmdY4wNV81RgxoS7x2q18Vf1TELYBJlwrNjH3jXpcKL4aRW8DN7OTRrnBVJtOVIXCMWSfrabTf/yCp0aOfdP7jsLmwesPE6wGWqbLlpeK0fPiI5jZSCWJDnWdmLw5ttNTebjgYusIzPLg2mKsJ4duvbGAOpFhZ4XVlniJC9dgqYm7SokSYIdXs/OAhutfpxBmHeFmHQknB4JoUA6beigtfp+HwTsmlJrL6OO6/8xT+W6QLWX2is+DjWo5slocOrYgap0eNqCO1bf1e0zfZCQUouu6/cWb6Chrf0e5DgsbRy1VOAuf6If7WWqo40heAz0fl529/RbaoV+gJFqEJEYKFjGoCFJ/uhevXVeG6bfJP4fAUycKRKd4PGJMlo599xVikFtFwOqcCEH2Q0G+AYPqbpK9ygfwcXP4YHa/X6ZSKX1gEKgUnb+8nB8J6yniidbjNYt6GTMMxcM8vuVzzHVILb6hoIZGnHO3iTSPeSFBzTYy7dIR4C25V/ItvnpcH2Gl7jM/Q8pQPGaB3hS29wSU8csDtWPiX2gcg/fpQVfJY349M9ykf4VJVvObyJ1lF7lldQS3K+wG1pK+wWMUTCWUlso9G2It7mu8jYALhgtPpIgXUK2QYeIFhST5LkBBhEiLjduvOlnWlqWIIdePW0W33mb4G2C4zFv6/c4W9jsEdHF57s9gjiiOAn5mdslVRUDpEwfFMGiAoaCjuhfWkRbyf4q3IcidBalGPtRoMN0tEVP03+MEmGO59WbHqr6Xl6H6E3Fc57YwiJ1VQc4zChG4AFsugbZJNZk9sxez7T0+xr9OpCo8gSwEqxQ7g/9g9UmPktpJnfvTI/duPQ9h68bXRvXzuJlgBzAR9AU4JTZ2Ia3btdVjnEZoRWtYHSqta/vrsVw7EwLKL7E4YmRXlVfYw7ny8E8KhFLky1uzrEinPWDShoF4heobioCbMt0sqFfVHscBmoVOigndYWpcD2hsdX9X+Gh04LCZcGjqNPrQW0QeZXQNTMTTdIAC4gVgKN6Bw8L2cV39W1gs/HBvWAjW5DY9JAEFThzQeqje0qRYfsRZJojNhd5p5g7dkOn/aZQX79AbA1eYQr4ukNaI0JYj0zjOWaRp/Ln1hni+fxFNJPgdFmfkLVcMDYZmr/UElAntuc40eSafIBnohUA3gWy+AQAgXL3MVqsF65vGp34xFqsQxuA33bEB3njBMoTzMhEZSAbrZ1j1KnPsICWuPT1w6IGvWKd9UVSPOeR+2BEpSKf24BoQW2Vlq9b3NqCc6u/iOgzOYV63DVSVV8TwQcrAQqlCUL6KyFH5AEX3rFCQ5sCv7+qwqHMJmnD1GwpZw2qX87+o8HcI+ogs4dPTHeG+qVH+KwZssUm9Xv4HwSBDXkVREo0t0W694M1ZHweF19UVZpMQ8YBv5Iv9nvKcaihg8m21V94/amwlxdmsgLaA0UopI4LkO2BUinNIEr2gwqqbm54nmU5ubUKeC6PKZqjsoSmaXo4D85kmsUJwAlSXeAReubYD7xhdJtbXQGZp0KVp3tEFVEwbNforZvo+kgZYb3YDI1XOQFA2z5jSDPNt9OD9q/3LIUPxaYQiNq+kWcjmJVCAOZ/S2g3dVJvbkvlabsBcf6A22SOa9PYMa3M2alL28tyYzdhZruMMaRBnN4hAC5vWYI6Y8UP/jYLu/g4TY4zNLxKcEdsIaPKPIeOPSMvjRj5sWiEmKDCDA+aiDfhJcv4ze8Z8xUM79I4HpPeCt+KGiDSN1/aN8UPwfrYFZCPvZJ6ewXVKuDqElgteo3Ofg9i8KjBA5+q7Xhsizp4pOpi16uHPJyvoBX7x7JXnoYN6POm+tPOw8V3djQVtNoXV4AxM8Su7KKDkS1TQeFRDPyLjaQ8vGLSNrsuvN8iQ9dcBb0UzJOaRGCpcag+RMhYA7qXmDqBmUgQ+VgBJlEBICjwDpwuiHiF7CSJvLtKiSuSgFDBBKCVquRALmJgiBx7i9XyysFHQCpVCHROQCotA9OqPHlAT1sxtXJRzkqb2wdStr6J7akrv7qOWF14L1Q9d3q43atXBlAwEVe/nLviINFZpaDZq/46BtYlAcSk6FluRe0tY/QaCrOjWVUt8wD/aiPdFIRikxuEfFR6XD8n+Llw9fd+k9ADGg5B/8PSkB26dvB31HrKnWfV6sHHd15OeLfC7Fcec3erWzCdx2jerVzb45K672vPmWqmaq0v3FDbWT/9tgVzNGxNsBkoToX+0bHTnsKJQ4JuSUszkhxlufNsTpX2Hr/ENx0pKcXt7qrPKSPQHWHw/nKKYX6O4NCfK91aUIX/YVFHYlT6u2MwdBZ0l6sWV/7TabcUbNa0SP1Yf8TTdUb/HZ8NHJvFysfXLClHzW88auVbzvhxIFMDZomP5dssKOL/oV+Yv5FrAz+bH3ESeOZ5q0wcAL4f7jekYwgAuP5VKlYxjXwB82jASvgJ3maNdTiKlZVXZHoX99nrKVDk0S9guOVRtukS05KBEGxpXWpHt9cns0i/+Gep3Dtqjnpai1PzbbWM24J8tM0b5leyi5h58ytLxAp3ISgmPYtSU+JeqnMOe+vs0TwYsnXPn9esRBlnaL3ul/gEm9WDf1SSZRdKFyz/8p6LjntBKmZz1s1W+cpha1BW7Io/PANLjpvtMFyqgKwY0AH3x8a68DmcV8rW0Il/QPFNUmG/rVU0mD6h0oP2WWS5tOl0rENb6d/cnPa9P8OBf+9OZc+fx7ssUpPBUvFHieY1KtrWyyMPrf2MFpPiOpFRJaapGW6H/FAQYaWi1IGALkcvi+xK5il5BE7hayzZE3K10GS/r2OhAO7tou/qK3jYrzAzInTkG2IeqjViv5ODxnLGkP0Y0wUazjexKTPmL436IjdA4zNAQEKcUi04fF8kDmxUUiC8Dy29s7RXO26ehGVbxahTL+ksPrpcl4M2jSuJcu8tv84RMnU3K10L4qx+HceVhfca3egtKx/b4c3dGyroUvsSa5VmHmAzXzqce3f8P0jGuUz21JaT2Gnyh9bK7ML8OSQQYEFlZNJNHg2BkFAP98OXjUlbNNc3XowE9dkvSF1zWRscQ+3wRAQGo6nd9PKPfnNWk0eAzu5OH9i94t2+hzoueLbBQQjIuZCJtfCL7KO8/gGYhaGy0x48ZesAvkowan1+FPlq+Mq5dlodj9PgmziojT+pkOq+ucjcUzEW8tNGUlm3nDlxniMWp2+xp3LOh/j6Pc3lUJthf+/N6cQjAPzWxAuEv1wyLPtRtHzVWfba4w9BykjQn1H6n5rwGA0o51svgH1aL6UWY4pZDx9v0L5AFFZKbKp+2BOP8qL4fDy5owwuLrtr3WeR+OY8pueFNdMVSqbwYVgSdQFSokDOAKdm5xHitZrKyRZmtH+DajHsWjDirYZlzQIxHT89rvud1KG++7Y5AKB8mK+L0Dnd9DZnUGnf3hq44M780MfLgUpu3nyiTbIHQNFhUbSCAyID520OMn9HJZPLv3Q+3PuCI7WQwXf4fNUHS4gA/LJS0EjSA1+pudqhpv0ISOqNds4hwam1ZvrX5naf3tGVZdyJAk327XQxTyB3ox8XBszFFc5A8VcSeZosG73qaIOpDMZitXRCIKIfy9g15K7hJdMTXN+VkdtcoMlyjQpSDo+QTuUU0nI2E6ipvwYBNTELvHhcfjXxJURfOjy7D8q6AL4FIJrVojm/wer2ML/Bm/e1xvf2/az1SJ06VUWgxMzqPoZoWMGwywo1Of2ALBGGh+jkOdIoc7rx06rnX6Zjor9TX9ZClaEk5ESehSaoCWz8pr0HbtpYRyFDNWzZnmAncfbjhlveagxirrQE41y11tJPom4QppgYnMC3+oho+RHVwhRbPhSzZVljVD4BnGGJuMc4Juz7FTRZ0FxN2hStM5GMP8bDi5Jys3N3bXohxoOLF6ckDrwxAitC+zIBcqlhKSyjnMioB/mymz5vCrLKgE1AI3ruexqMLT85uKaxf9UlYtITflN0iRoGqMcVP/LVe8Hy1+1R7d7EUi6pNr1YB8rU4EPYlfAK2ltJFDMUH9pqyBGtgb81nFUnJcxZd9AuSkraCdPHf4BSxQJU4bzGXzVgkyliku2+r/JsPtKr+StH9krCqulGyLjLU1tk1wjOPWQ+ZE6yHWSWK7X64AEKMCr+sa8gjINIW0SVNOT4A/I7366f4qweoGMGho0lfcJf1hbwV3at9ZKoynPLJKbnuXuR4tKuixVYVRZlF6ITvfjStI1ZIHCrgAOJB0f2giqrrAwKnGedq2tMqrOMHENnC+sn8wEay3czC2VMsnCSy1xamlz+VJFvepWr4AnpL0b5QXnWvfhZAVPsD1AtzNftbBpzfbRKfNuKbiI1bsjgcmqx/sGEY0UG+sreJxYESjqrHfFUF9Hhx8TYywLcrj9YLOFHCtANDZ5N6H+XkTDHelWPd4eSrNcbKTwoXtiihXzf3hwCe/TcVLNpexgnAdI0JLaTBmQdPyaOICQCycZ7K8FyQNJPkx1jYmtEgPZ8edb3QtSoXTiiW/ZV1pAK9zZsHGzjTOAg0IdzbmY0S33a/V7GBhAEBLagD+GXZAYpkk7qJR7NMabdGu0BpRrLBcgA+cEM0HQluLOPcDT0RqAKB1oi9Bqu1HCxvrJPHlhl+qLMjPA+2SfZpJxDh0aDJXekWPiFpuNW3FEOBffkjg7C4GJGWTJJ9xNcr/rzheCZvu3WXeibuEu5bx9zoJTVVPtmQIarBYW6Wjv7rahGJz8dQ2uW+zU/arexHr7tR44Etiqr4MCE1izwJOo4Me6BtN+7k/lCYN1XKQNQ0kZ6YjyThQALySImn/pGwdk5B09trl5eGTIfhMzhAtCmeybdcmIu1PIBOynKBV+WNPVJDDYFclnrtHjTukoO7VRTn1X2rUQYDCJLcMUR5SYqIGZs+2J/r5t+kh0veuRMpORUBiDdXF7r6SiLNp18824whopDfhrdAkq9w6SK557j6VQuXaaUSz5Y61R4vCVThvmzgEKQczr5CAJcCfPb/QzPowqZmIgJzml7EtdtmrBZgzoXi+PiFGQNAu8e0GmihU0BDe7IGgwRyGtgmKW0MwssUgyKl7FPvElBnN5ft6Nnq9xnbUrpkT3Hho57vFwaTPZdIieG+4jPySoYJw+WHwi+k/1S1VoDRabZigDATBU36gw6bXC7RZF1Bpn0NOMsdGCI8c0qIRAHUB2dDMTyMuPr/X0FpjpteMA1z4SljEQ0dhUWkOya8387+8N0pm1WMSwOo2V17FWwesxHtWaW8gec+t0VDwbRJYfSGby1j8LyLfp0OB/HS4uzY2Lem+eRAfq8qzyEtcq8oRaoyg83O9EW6dHbqbDaI568v4+rA5HyatfZ4yHDlM4Sv0VB8JEn1u61fsdbzufBmkvoTpq6V04z27to1cYlpAMGSmlFFi6irHLxx10yrTuv+k8SprjDH2ccucsuA8fE3RW6VVGIV5ZwRHV8pHsHqfcfuI936mGKHoSKs51d34C90z0S84x02wTcuM4ajfJp61fteue7WjEpTmWjM/tqigDiFJy14G5BNLeWjS7lMxYbizpmjPn6QZRoawI3SHQy9XQHGIfv8mEuYeGfGN3ZQmDpd6RIJeTOsLFTIRONjhpVOD9IX1DPzAeX2+uth3jJfZc3rF7Qkmw3c/d2vDp9lOlEOJdoC3COPqshNF5BBc0S0wVq43uyTX3i5O2vxXAQbbM++rTnXXwNzpg8GFDVWDe/GX3VXcqA9rnH2j7h3m4oHV3W+vaalAK3fM0Hxz38FrhMH0rmmCHvj/kZjkv1ssm8KMSOee9isPn9cIGqlrCCfDz4q9+AZdvYXW4LdDIOGdfm3YLadBajNwajK/ZG9jwwPD/uf6wP3c8tb2+q0XLSxRFYciAhtMap4e9MLSWYgtLITG5UAK5+g5hwjBWtgQC1REXXH/4iZRj7TNz4OTNgaELINggcuRLCj5jWQLNauLgRttJ+Uy+KAhYavAoJxBXjF6fvPyCrDufnJ5r0/ixxXztQl0YTJZXVO2AGYFzN5Hjh4tNzzvnh4ouaT3WVmNfVfhSAOwO2SRp9LUsSyaovrABkAMmF2ejmr3sSgL5UuI8rwKrb08NTywx0JaJt3XAi/nbD+S1lXAv4fYjkvzOM66ORyccgxBegTNSbnUOf4MrbDPomdixDKTFF5j6ZBjtmVvV2btmEIC+E+bXtBmd0fWLeYj9XT8Lyphx1KoenpvJSFde25YzU33HPDGwO2P1rsaIUl7JVP9JLuXdf79hRMLQC1uyusq1Rc3bXVgVadb5+Cx9J07a0jVMN4QIEaCauhAk4gcQFLLL1gE2WLPbltem5HwXYA7TY75wZdEDc3PZIp7q/sykCr6P+51juSa8cIuxzvSPDwEYyF1OXitw4kdySx51OKeKMjbN85cZVtnwxZy1VCAuxXRs3os6692HcCAq17QAzIK+laPljmjkcfcNC7LISNLCBavV5mpuR7OYE4MW81Cnp73EcufavIgMEzm1PoSGpnoIAr41FLVWbX/z5GPs8dGFioXc/tuEKUbHCPoNSm2EwDZ7ERC/O0ch1GvI5JgHqYSTh+AK/H5ht7je915aWJSXghxwZlEDgMXxaF7XWRefpDDE8x2n1er71Q5k9+8VTTgIw9tlcoDkgVVuXddreOPXn4oQMaMWoVRrn0fXbqbR9qRr/mhOWOdTxSn79aYzWFOpXj+rP1Peugm5ma13FARIcJSPH9gXNT6n+KHd7T7aGnhhSBJAqFvIgNMnjVg7PNyRYqlKreZipk6K8E0+RO/PvPV1mLXrDSNGyTBvO4r/6FS2WRBt3s5TKzhZF5y6Z3GK9lawFdoLwx+zNbezb4ArzbkExq29gRxoSJYLfx6LeJszGQww1GIz3Pdbz5mXfxgzkzWSZPBcyPq9oDILcYd5MbTc8lS0gTifYrelmjQp+gv+iy8lGjF9Ymdancgsr6ay2pe0088M9IPsA4W1v67cyFxQzZxXF8WbeF4dHuazH/cfIwIWEWnPjA711XZYjZ1T0sBwFjezO+V00546jTmod1AyOcqogwOELsIoWgoves0Q7C8sNm8WvO+WSmBXyIN4A+2XrM/j380eVIDHRek7vIuN5EHNpm4CkJnqGjIYiDQiW4m2C4TQemGMwq3MycDRVVgkka7uwSs2QTRLkOwwyGbjrpEHLDeiRFwwFm4R92BWcfR+bX6/QcR4SJeagkrDwCS+46ifMYu/oAKXaXRhUY53PlWoF/w+3xVNffqtVD5b/7soQbi95bLU2iOoqa6/Y++6Fuze5SAv4YRHoa0qWBa6oAYJYyuHrjG8BV8B8BR78/IS02WXZgNJ44g7Ccr0y+t0yLb8oI4WM7LAAcAcqLA4c7A3Fb4PKgRBojx1CCrfd1E++5ogLLbofqp1Qgq2e+xT1NIp03Kv9nh8bJdijPiWIYK9lBdYwy+JwP9XLRPUmmDOYPJyK5QV3fL5qTBYPOX0/CrIgaegRmg3vsOOag7Y1we1393uhVpv8NzAVTyAo4q32H0ZN7as/b2S6oDs3N/oefIahlRtvQgUwXpMndNIiIQmY32W7++wdl6FFAYPzDITH2o+TofJDBI/IOygO+SN1iVPMGDuGc1wjW/5x5Yyo3g/7awwkWsVOFvGVn4FgqEm0Pcz2BDTdrobTgXe/j5cLxlNsXwjdPRYwSYkDEfoJZ15g0MJVzNm/7GsORT4Mb/Tt3349fi8oayjaGRWunr/jTZA5yjqYVZqGd/taGJfp3g2prpS0c5N97Kvi3Iadad5lb9GMZoMZ0Qfuz1aPCsxOf4JYFf+4N2JiEpdc8FFdhgPb28gqveD79/TVZNBP+mm9PeYAxTtfepmPN/LEEj3PL6IusDtir1C7LHIwoxMHf/zklcCin47sDZGvHjrzt8RH8yVVOi6jCxNt1zT+32PeDTr3QHlPyKnEwd6AoIKVTXU8V1Y1/ESAwVTTtiAQj1I2jtZBalpnrFclEfEvMi8BSEoAYJZmn9kp34dr9mG+W+1epfjmovpKqOtBV9XHoxrcxsCgGxpug4aj1KudteC5fW9ct1oxhfxarCUDHKUP9pIeHufeA+57CPGnoho2L3yyVe9v8MHQWXM0iNVFsZmSDGJJymLX7+oh32+vJVCc9cKl6jE77bAQtFDEs4t0OM5jeSe+noOauGaHf66IEPMVgp7brnkHrD5zScEbf+jomW0a6ijTEYidLodM0CRsRcu+fdLIcDud41lkF2Zj+M5snoP3SMpU8h+tlRGEMndoZxJ2izSXZu4E5qE99lAFAD+Q1RPLWxc//EhvOnGRjhEfi8IULAE7R5vmeI/qVK+KRTEa2DoG+BPCM7afpooXg2+VmaZSwPpWNrQT/g3FJT7GClGqm2YPFDHHG0b7L1MsUc36D4WSXkGRayTOtklXgc1B8+5k0NBz8+Q6IdREtlVs/jj1we7VsdGE/TGJAIqybVxJoweG/Kvnq+x0wW8NMdGvDqIKVDOgcTcGTrO3EojY2W6nCUcrm6z+oOe9Q3SUrGjptOR7rD+ul8aRDFPy/mHVIjCrJ+ehw/HR9/28yInDtitRuF+2MmndQgCopRD9lepV2XWPcw1KSpLrvfeskFNdWrWk4OgBPWlkb0XQexfVJfUr+tEm694l6ygzIBYVBkq8xR3UtovTtqQ1UMGljUdADGOcD/piYVNsu8U2Y6HceUBinhfQ0fhWsXELxhOk4vTGfd42ykTWo0bhyA/s7hT961g9ejLa8/mj7u7QRZZxQU02SwtuEayh7yyu6Cy1MnIWIoEUKE8leXn7z3BIPiHSygDoNn56b+nlHTxYB6vlkGkQW6spQWYihaIQL2EWP5xKb8bNoictikAEqTi1YuH5j7NkBGVUWM50aPA6AOzLbhHZY1ILmx8Qf9dTIc7oFhTQbaGQnH8RJI3QyrQENPkdBwI5uHanlH/OoC2yZlC18uFfZs5BonUydUuE3+4Oly2xFE4cAjJoIOZ5s7pX6S0XscWLNixcBUQXkkmmFgKo8yLOHpVREWXkT+1hC3LNRYDBhEeRVJukWY+G8RrYHwTSDFCMwWkXnoMfCkFeYNAB6o/zk6PdM+wt4ba87G43x5KFLN91prH2DieNPNdpdae4a34ep4BC+jsf3Feqb4JrCY2FZUVaKtzKTWfctt0XeXHapiW2ze2bet6f/uKE1JDYYbQiQQWoXjrJ6QvbvX9BrD2HO9fkxZu3fjMTBhRWDn55XHjiB2NWC4TNNr6jTLdwFXtFXQhcaWEoAjKJ3wsKH1QdbZ1wuoFNDViAmvfJcqaDD/nAd5rGN4upi1Xr5T6CsqybshyZZVtj1BJp32YAD4E3iEQTZbwOUWKtWSuRLZ730In4o47R54LVLOSMSJiP9E6uFZ6DSPxqWY4UMvA7lJpKfZJ5mp/OJp9V8fu3KRDwQm1GNILRQrmuK6FUGglZGIhb3nGH7q4+SsYNWAKMVCnoOX5TVLkw9tSJduBgAN4l/4ZFxmDuIisJYF42GoTBHC4I40IPt7TK7L40eP5gw/bVi+zB6Eeh1F2DMk8YRlPc6dKqkr3ZrIuQ7rk48ArMflJmzk1nS2Duv+LlCigCGQpEjVg+ap3HsPXAtB+AOjbljjCQR9X4n4QJikxJNnnqaWsQQD7TWc2ZzRXGYPleYkPh9V+ljrJCte9u+rpLkd735T+Bf30JmJ8+9/OVOJQTrf0PUd2lUXdmgC5AbJ5x7rfQN7LZO8JLvohcMRGOGZx4e5UUfHikz7iDBaeA/hCATh42y3zr0CM4SJ51KlDwHykGjNQZXG1hPYFhNxcvJ5+/sZ1L+p/GVdYcfi2olhGNKZEwbcli3jBwaJd3nBelEeoVc+IIKjnyYrmWB/T7tKVZ8p/1klpRshf6wqJxovWVYUDRK3TLKLkuGVk/R7HPhY1OsVW+ZmtW4oPnl4wUkzKpMbs6fsrfwIXwcfw0eQ2gpKAEp8WyRc+t7Uwpys58e7tuqkYSGKnVASUkysXx+Rp5QavxunJUCdB7SHTR0nxCVpBsJrdphTwCAgg8M4uDdNL8nu+SF7OStQPAl2Es7LvwzoIoSQaRe6envUtaViseIEOTPvCtOO6ZoUpvR6TBR30SaEvCd4HVAFcWi1UbXwTEFgBByscdxv42v1stgUvz4qBecEjHq6CvBaDivctAkq4O7lkEfTbqW+PmtPOrrwS1wBMQxJX2Jdo6ML+Lmv35Z3I8zV6A9H8ki6OgVgzjIIyfeZi7v1/8eykg9eBtgGpowYQNS50ke1BNm78afPxyBvgicPrRDGg45h0k2093AgLdli1ZMNJ67tASrONhvDFwapgpqM9jmy6tRqGsHoXU8CFMwBbZDOOu9FQsM+suqT913kEy0Mu5lyVheqVGl8q1jl1GTc2NLd237qob18zyDjZNqY8uLt7QpIdcTFveHxtugDg+3UyzLRHRSykS2i7A/obLJxh0jwHT3ayLYVP6AEV/LoY2GmBLyLqZA+8c5wUfrR4YUBdid49dt1MC1ckjhOaUH5lNy7/zA6U5j/79w8+ouFJMNjNkIh5d3YnX3rR1F0sZ1/cQ32FaG1CTQN8r4TfjRYd8Mi9eEYDX9CF70i17bEnZnUrPypnrgwd3wOq7L3Izk7rZ86NEgnWSashT7Sc0e0UgQxKwTaEqj7IsNzUkmteIu2KmFwO+FBx5K8jgkznUS3xMbMJjtWIT2S0xvYMY8WYi99ld4YpttVTfe3YBQUqB1L5Jt9SAn7R0zQ55oWBoaleZgg97GkvTlvMZW/tdF0L/n8yjo3oruudoUYr14J/1H5Qs11wlSqj2ewtd1J56yUknQc0mLpftgrsiJBSZmNUWvvtIznOGaG7LCvqEr9LN/16zLf4ZxMYgjADlYI0s7Rhg88BkI3jA1r7JaEMHpUP+LTbgtqOGnrvide8EcMsrvYxR1ntEWyXlVF350zpe50erm68RXwJ0wnAcoqag9mwZKue+28mklNtm4B7FWJIzJMEt6MBshmMAK/Rp4yAcwMa2oqwst7Gl5ET47gpOoEzJ77u5+vGlJ6YVZE9UeuckFkxNfBZnVRhRa3GyA1VSdCLgjmnLVJ8A8uEnhClcYXh+yvtblbzP7xMTrEdLXRx8cxq9fwGu991DIcck9vQlf+lK1S8tYSXNeWwrUW55K52dhaALxXWcuuuaPWewhaIAKejMn48BPaTXnipe+COBQD5VLLQCT4A2O6aGZLz+ysowqBN2XkmVLp5KKyAWs7XLkZ+UJxmk65UHCkxoGSeRp9C/nyI3KW+iV8W43JSbOwn8EX6V0/A8dTQgDlbAckrZRKqJAoGcEbd8T3MAEuT6QQtq99ohwWYgKkFkLI7UwQzbltrrV5EGVsD6fDTU+rmofj/YooTmJuXRqM91drtiVf4QDIQrZikU90qktjNhOUe+playM5GASHiC51wbRbXDNtOY0mA6elWApRt3IoUjTfdR8yG3B55GhcEClTevdI6eIi54SzsxaEb59xYscNtUAzA0PNX6X4uKkyQI4qFcasHsDuN3yRCAmxtWTAkWlwIYpVTr+0E8BL0royaFpRb+evtZmtoSZaB6l/1FLXgpzZ/+6rdYeKoIZf8JzcUpo96gcPPhr9r3qmmRdX0smLdMvSJDUECL4n92O/QZ0hQGc43glyTMxUTL6B4R7ILT+XnDlMU2JFfVQuKv8/E5lc19ColsyU1dkvwhqyqp8Agms34WQXfBLW5V/QwronDPFYaXBSL8F4Q/yXexYZ+1Aahl/zAtczMoY3MoI5bdtVbDOsTfP45sUoXxJdxyRsLmtIuU6giE27LnOFw3pjpyD5hlAO4XSVtB5hGofRloGJkvg/FpL4o23Nt/bq+NeionRJ36SuPhcveDLl0IshL5QipOvuTp9LfAumgqvP9+jjT6XrmP6vFAR6yZEtZj6acy3sBBo7ObWkJJ4fuw5JF/pLEGGzgrSFjkuK76Qy4ub+deSdPpWWtNGqjX5isC5fy73G3tlrST/5q4MtmjhZ5NGEgaJp+UJwjdJypkyW7y1sBbnH92nlhJounylMepvw4vHPf70T/jO2aRLazZnPUlo0RaKg+qyHhFLdSaeQBxU84V1wGE5GakzLKhmuBAHuHv12Ev9k1FFC4LWkDkcmd7ogle060MlZFUqkK9eV0YDSDOu3QbqV9T6HKSzD/v9YWBwuZ2P2rDxJmI0QiCnR6iIGNBTP95Bp3fcYm1yxuOL9XwfedWtsrFM2DwkswLxgoAuYrqvcQtofoznmZQDO+y/k5KLnJ5Q9N9oN/Yyyl20AQj+f5U02hF/PGCiw+O2IeLEkQ6dN9J8ruht/ah1Zaik2fh53gbO4tjgi4eafKO0y7kDphnSAq+7QRj50JnHhiWHx9PJVcFlAjXOd5yk+sZHoDpyvl6FIG71lQyfsVfIuGFNKzCCCVOO8RHqlHQLJTHioaC4oWxFVrDnr4U0Tdu/ibSL3VVT7SpD1XgpKzAyRZ/32dfNY0vZDLAkhb45pP3jcEMVRehubMCltbvaF/JcbsdDTOjsEPM9q/aAfQEyWC9zdwOR24J+wR4qoPOj7Dmj3VeL50NuN+h3NklIt8ndTQKgt2T1gkTvdRf+n0UCsqyhSmr9f/I0/MzRusKZyUnJC1P6P+ALEJ5P6Kbl5tvyf7MUmoW46RXX1z+rQQ2WpXySexDZZuGy9ZL/Hd5G3GKVkED2BZPqWVLiDYSq0/556UQ2nC5vazqqJ32ikxvXZ8oxn8KqKYKn3myiOv01gE5TyxNmsLE0dAhzkbJUhKOO3bR/9Vki5tfgdDWSX10aEX5bPb8NGfEXEbN5ClOnOw+qQRQrlV/vwv7pkdo439XLMlbaqNbudR6Zh7RsdF41naQc4CYMRRoNutufJ4Czmb50/esN4ONgMk1/jRzYkKmhQ/Lpk5qJMfWrESx8Xf6tElDYxciqbT6rD+8GSGsXkCS8F0onJPHfbJOoqkcvAPBI+ijgE1peH3Sd6ue6cNAMrEgrEf+eUTL7gffg+AASrS59TG44qA0U5r7bJyhH+yY3IsqHVnjOgN7J7XIJTuZpr9BWF60lMyjFhTQ76yqE9ZAh9IUuX3Yahnf/do3yVf8Ae68q3jIm4UgzVWkq9dM+Q9xC8AzHwjfOn0pDM4+QyR3MmINdsrNAoyQJ/ZPsuE4mNVErnY7GBhs9+6pdy5vM/RxYEB/kbZlDGK4g+MGvQUKtLA7dqis96cSqNCmAXo3/6WBDQ+n6qGyq1Gkv5fwMXpw442AqgyRK+nhIP01sVN8goGt7C3ujLKL5/FUd5qjZeC6b28XMLw6/vukujU8MHX6+5mMKVu858IKuVQGiBMszfTTHDdN5L7X3mlBLYvQQNC5q2nluEFdP2vAHV4jFtx2d+kN07qA24ohLJMs7T4k3CP41F68jGAaFfAl8+YPxBMVXchWvW8VWigsC4f8CVMskCMhP7XgiK8Dl98gN9+yEGUS7PhVPcHWGJjG471Pl6P/q8V+w2nzaFhwxkekaSPwiR3PN6rXLZJ/1QtnA00dApRek2Wj8RvovpSDuj7bBMxT2gRnd/t2XhQl2nR04JxRCrVwPxQN8QnUmokgR+dreZiwjSEUNE4j6TsqSSALQpOFtllSFpEnuuzFsrCOEphqlZLNh61CvGQKmwppn03VBs7eBXSMWZDGcm7iC29PO+OpepxbYGfzOIxZK9NtkSB5hIzlVgPCRTSkuWeySykXv7ri4Q9NO1TxGZjD1LjfbqedGsIEejyQPpQz/Ea+EJ/5GVTZXSSwGTbUMY5aySqfSK7bgz78b03Yv42W1VYosbRc3ifkEQcl+Bxl3sw/ZcVZECfZJkX5ypy67TDVOBuqCPz0ZhZHoT0U+w8HY9vYoXfbr2mlpctoPAKQ9M7bQutaEV2weVEypFW9SRJMijfW3dMrDrNLubPWSfFyTJDkdGe/ChfnSom/KH4CJEAyZq8cjE4tJXTimYjzqhKYvfD6kCYnMMyjVv8qwS82pO7gIcIkQmGcvLdwTJwr+g8i8cE8Qn6DYuAzHToAD3dlbIrgHyG+uXKSE/6O5096vX9WpTFKoL4EVDHyrknDaS0Ai2i4c1EE/Bqkr04Q6C1MAmzYHPNaz2YZS+hY5eqS9Vib6JRkEaXBBlPs/5DeMwAJx90T4orHwmjet/GALHrBt42dcRFdm7bkSQJB+B7KFwqu4AEvJKMuhZhIkYA+QMbexUkLJSfharDVbOSw7oIMEhKaVpGdo+80nS+Xu8VkE+h4mdc2H6Xc9i5bNiYHUxTzfefddOSXP75tXN+/IHRmmoe7zuKZXQV2N5X90gunjEIkRV9CYDZetx0AvWYauZEkVa1GRg1LCGU+bTKi/IW14WX7a5+V0eCMEAOtOMYhdnjgDmpZfyXvgeEsF3Ptl8NaS3okA0xZOuYU6faWBxrJxbs5wErebUbAypZR/wrVTvgGB8t+9y1MPseV9ouEv5pjuUb9hAXFQ2XEeQdPfrkbP9fqMNgJt/IQj1Uq4nAfsa1bjXX2t5bKTmpcjc1sfxzWkcr5K3DRAhSbqmJhikQz0BLshChi7xLRGB2AVZI+jqCP+g/ug8ozL2795lCtHED+K6oj6AiP5gQFY0Bp0dgripcnwif/q3iie+z+u4OTSKE1I7zGygJiIoAqDAqSdoL6o+EX+Jq8NOchq7qoBcYIsO33E9vGXBqYRAQrWVaYEmQxIVSpCIEGVpl3fSDNqkEZYZU5ZH2fOEHov7Yg5CqJtpeWRfgCmlbtauXmuHAhu6FpEEqAHuFzmd0bvAvVUjK468xxdokP+CT0xBG85/1o7lkOXW0xibVcJC/EEYOfkNRTKtLEItL4Nx4GlhSnMdrktL+qKL+NnHc59/5xcifncxm+U6RPgJXam4FO0PE/Q7ygDYPkjjtSoJ+UkRIIf82H+K7LCOkPBDnH0PL6LWUbQHTEO6Nkg/mnuKWCkSNF+N76yPI2aL94QqlyZVLbdKJQTCwYMh+b1MeYgAsW4WFky/Ec/7iQ4rMOJbh4NpIFGoLXsna5HbEutKsvjnoVH/EylBYoIpeNvj4IAgwspEZGNactDGhMkYcT3Tp01d+07TR0DZVZJiNF7iBEW9fXX/GBLyJV9spSrfaT/t7PEMPJBq76LD7SS/5TW7oDBQfNbABHX89LEg3GiPAXZfAGFvwfr6GactH/wqWV13g+CBJ89+A8O3/wH4PMy2ZKt4twLQKWc9221/Ls85cAIZ3qxxC7H9kgq1RWRO0WNELVE/MLGf9kahLydwp2oMzcfBEydNGyYgVmxKLbnnBXR7kCl1qy2PsD7bOpCivdhFO6t/oztvKOh2n/PVqRIbm7SwFaUhOD5nZqZAfjifMdmh+TzRDcsc6XwjmE7T1ZNXUlOuhJHFDfbFuHzIzGsPCeA4PuwD/QvNyIt8vY5UA4cW8jq34nEaO/ZvOKiIBhVwMklhAxrEccOowm7vG56/FqMF3RofydzKUDHP3bzv9QUuZPdFt1AJ5yTy9jAXdqSBrGmmYKRr0qQSeFuLHmUgN9k6lJRfoKv4HN4D5NFW1zlbmN0cWgo1o6YbggYEgwmF+UYmVqxRhuHr9WlX8FO0cAFtZf6n51sjILaUnjXLgHpByp74ISlNdf57dMRFoV2W6IIRaHfWAzzd4TqSzwiyQlwJWGx8ZSyMWMMuUU2P5I7lDMCWVeEePieYgkEMnCtCr/ypNIttdhXWolrrIucl9JAXO5rgUn8GmhJ9l8SKECxbq83To3G2eI/PbNc2VGVbGfElvLz8HsnwGeJnRzRmNJpyt23q8Yc0Fpi3dj0+F+Evl2LcR7WR75BgwjL6tu1aC/4atN1fpDT6f4tWCSRGxphC6nr1sAYnTGZbtVa+MR+MrT0R1dRgXCCippoyG37RiWlT/RxXS6kGA6fzLCuvXHk3Y1h3EbeBv9gXwJGbDnO0IOXQu7ZWZlpsS5mqhNAlAD9dAnT3ZwSnyz6rQ1hvOkeSJnRHYkyYaFolCbcHOZ4SRoVBSCcfYVUl7Ph//0S+lnswc9ZC2T8g91OwfKT8UWqW5vpSpvNYbILo60fjRu4Pifme7HY2QZGHX/JHc/3loM1H+O5Q1eXtZP0JI9S1BGP57oeCbmv6dd5NHBpxh8cfumQK8iiLjcgmCNbiSqJMux2UvbUGN/IJ/p2XkVM9SJt2wXzQioSbDL8xZDaPWXZS9jHT2ifkORSDtb4cXVNibpQymHboYP9oOdr5H8MXfG7p0gHXXftjKkyHAlNNi8i258YtiDZowR/v89eqPaazTejmNr6w2xasQ9TFJa9zWbtfaPnalIB9tszXPm5FiIX9GbRpKKEWzjkTRnwY4e5xO63pv6PH0M63/0hQChcavUlGy7Cc97abYwt9x1iYxuP4+wc9nw3+mjvlF/1/bQxtg3uu/I7spiOW/VhTrn4bxnpAii//bRfEExxnaWKPiLbe6P2mWOeXWc7eebf5I8jA10k7vXurUy+ZJdb2XJ4V2NxkUj6meKqRcOiUyTFF0yATp6TpHMDNj5iGfuoaRsJbpYEvpXGX36fL1jGHS7BwnzhTzDGA1ULHRjMF/krgtyGpuoz3IFZF8BYCBWkDhqE5+qNe37xnPZc9Lc5bzh45ZN3poK626SUZXmUpwc5d/tsoXAehcrwE/xTzu2oZnnJiguGmH8I7jU/DEI5/85YRgZ4Kmz4BieVHuM1VMvVF5sEwG5ePxJRdBfc5cuCkZtw6xDnU6PrSGC6R3nWjtLvFc/W7bzhAttzMq3z148Lwq0RhAdCOvs9UHOVAlB6Ty/wzDePqwf60oNLxnAicKluSQk70sXiv7QQ1bIzstl34W4nKyRqW0DS22cTNJ6NXPYappiSnmMLwr3Cjjp/HGhKZcWUbgBq9B6+qxiPGefU6F098HLCKKyqWJO6sEhAsngdnK/i8M/5g+ewRtP9qhvgVSb9dJ+V7hBnjFVkFonRTRp4iYTFKUuYulKKQOIuDJdX5H3/cQb8k+Pv0jKs67oiv69e7Vmn9YIqWe2zeRPrRA6kaohqa9VhsgqbhrPLkDoybbTWFO+zrUXo1KyHC6yVaV0eS+ExhZRF25qRd11m1tlnwfnJO0eEJ8vDSs/ATQtxgXy+JvluBonNY4v8TT4Wioa+Y3H2H+0kSRWvt2iGe3QQyI9JufQtpEyRJGc5+uQfgD+2FYsTO/0Ew9MfKxtt3cZmYgUw1oDZKQyAdKQHaInELq/PY4Vkik5y3ML2hJD9+4T5m9n8pw0BMHOZPV8cAguHZOEFVo/JRHAAUYKqEOE6ZMEdP90rGDEYKZLc3/ZfRuEXyKD+NBIEQ2HVom/QU6i3E0dUuQXYnbsKZO3lFJxco9ZfvMjtJE75bQ0SFaub4Y5l6FQYyxWW9uC4Ogt2KVTEFcnyW5uwifoGQ+az0ossk00NexpH2NEB1E+Sg1OWxSuzMMLi5SCoZc9na5lSJjO8JA7YSk+LllakpwWKW0/Bzpbp0Ei8lRnbWw15LGljaVw8477ZoVRf5n2/g/W9Nql4hJTjzM2jsFxfP+i1Fd38TBaWieJ+R6TDm/hBOibalmesvyoAd8Opz1FdS0VdvExt8pPSu/7sOzZ8QQHlzzP01UAgNrWEBIjhiYzvSx1eoABshQtIEgV6LzHuQLFdZsjnYYMDeiD8yAFjSCpOabhcVUT8e+gV0PyPS8QhuRIzLez2yA537YYuk3kDk3FbFhsnRxyJvFMCBq3YYA+o9Z8PIOpFo4psQGE9RcEzoqOX17qsx9dr+SH1IXD3Kvvf/SVV7+XFbIBRNee2HwhuFee4aHTFEinF0BgizDhYw5vugMo8Fd9u31afgrMVaMAOlY/eCAGiHCcp7uc2bJ8BvSpIXMJSxlIWtZa/3yEEIv0o03RUVPM+kcmWPxwmasVzk0tIZCQcS4gnrwo5GiRLLh5Z1uDyNPRGuMfknMTB+lC7C1RlrWLi1nHYB4Jy3YcXNBjQYCaAdrZZ9BxmJxaT6yF9+a9Q/YgxxErOPd/6Tux19qnX93F7EiMX9SwEoVm+d9+7iElUaFVT8hU/VRe4e0yOd53d1W0aWq3L+Pd+1Z3ujqrkct1f+TuuMmIRtbxv83jaxlhPDWaaJtcYtB2bc7dF51VmQ8IJaASMsAAT8wIdSk+kUBWGPzhq9fzVlHTX6RRLg0XDHruohLOqEO5ErGZzggFPGjT6HPqy88BTur2rwk6LsSccMR0xWYayMUkjRpbxfdjOtNENlNXMKBKMvs50szK1QTog/YOke2CDjWRqdRMUcNWZl6XxYDJHBMajo7Do1LK0yW8KIHGkwv3fXjsk0SoW9m7K4+7g0k3oAN48cPnw5L9pORVjDUZKCPB5jj5v8mx1lX8r2NFTUMRE6QQzp1vVknAyzww9Jir3UCc7rHVgT/FU8aEiYwzPoZXIGZb8XjkZ8uwu7YEzgDdg578tVvGdxihl0XlbAZSmXlFnRTjRc0wR0HRgeJHUYlSJV0a+NPFOMmVJ22yku/eF6/vTg3iSRS4ok2l6lR/DJ/tk9c7t0Jux6vCHvimR6iNkN+TYFzQDrWaFibSabUNnXNnaI0P1RuyyrM+X7shfEqtDZ4zeoiI1mZCk+tOg17FZWivgFXkj4gAtfG7ZXux2J7DLObWNfPAPGqMbwGDy+kJpS5pJdYGIcyjtKyO1LG0aQRlxnrIe4dF6xkktu/LesLC8X+1Xb4HuW+DgquyddSkA9T08p7WDdeBjCJY4t/sYvTLdA5yP20HbBGwVWgQP/2+EHdYvmbzohcq2tqFEa/I3xBbpuZR23UlpCDDV2OY+GDgEi7283GA+2C9BS1e83xC9jZZgg3AnSMwtpHmUllHkxN0s7C80Abqs/V4y9EUzMFo9jPYyOsUxkypqL/Mhw37M/rxC72Td2QoRWjUiup7Pim6ot2Cy+40AA9mT2ElIhMpofIbNcGxMZzEOfdXmL/OA6a0IAm2zmAQ9QlLAfuMWABSr9DzOgzWYtICmUHhgZXh6ZCl5/plNiCi1kP9w8aXnw5rKvsjEgnOzHcNq8n0go3tV8JvNH03CSTtH+zQGfDxt8GQxvuBthSzsHti81ND+PYp3qpAGRzbIqiGdOeux0i+3Lid8NM2HwYex86vUBCVFKVB8SZIi1fuhXky31VjyYRb0JBykk0/tYDQvvY7yARniLadFME+9FjP025mHt0Xe6WaJlZjqof7FLVXa7Yb2+VqklT6dNfE3ripNZ1kkXLgnhsqX+I8fUzP5ji/F+8JVywfTH7SNKS15QLe2yl476RxOUAzhGbeVn6kWTVr+54u7zDm5SROPOLcnwPsAMZEaFW7hxzxsDZ260v+YreEeCv/DM4nu92u2y3gmcbm1qK/D2p1YB0AVTLdCLG0lX7xNJbOLTlYtgaEfIAf+K7p3MLwqrFj2nZrfz1S9XN9GsAHStKv3alYyAsJPuiqiKYFgkAj08qDGYFDmYO0i4te4ulZ/GAaZZXE7pmim8f1v454wU8C+UAXtYJUg7mf7U1mAsBatwbMOKc7YFdOabtewW8eCDXuPrhYMFOl3nrzt/toUsD1rCqiw9w8Aqq6gWv+usWa6Z9ylOD36gQ5oZ5mvVOSqnyhN69tsOwcH/NOySORGTcbzCaCifrcOj1hEQezS/yvOA+0FfyUrQVcWmVazaMVyybXFZd3QnAXIPbXdq6hg+GAdkdFHSBHXLgGY/semm/8cChKGEhA6QXAgiVh6GQ54ruvZxjhF3WyP4gx2ic2OZND47NHCMcZpw9N0AASN01jOWQsXose9WeE6Vy9+gU91TMyVvaiDYofnbWRwmxgfD1MQEWJNX4YVT6iSlZ/LK8gou4y7t5Uo0w4nt7ILcki6jcdIbK/fEYlo6O9E0KY4WkpbDRG0k4DNYS7x5ypV/N5OE7sTsE83Qgcl+S8/h6oVIEkeLmYn8FfcB0Z7YNJ4g37DDcPcYOA/2t+A55NcMqNzfu+M+oZUWBM0J22UEVp6xiCINxXA17zfWF3/GDm2RFScltMl/kQSbNyEVinsQNcFhUoht2oVTdWfL+e4qM14S+pnfIb1V+1W1HUtXW6nnRHqS4VFM4JWqncngBW6Wpun1Z/bcqXX9Hc7X1fLv1nY5TfU7wKGcoZ4P1CujBQT4R9FA7x+mUWeH84F9XMLB2RhtohiboAjdH62KnPYJEDrq6D5nk3blZ83zJjamxYhltLUoZqzvKwj3RWNbTL1tTcDcn0QETUbIe73vfUc/dpJGhEXKMWvKyblpMu3rUJpHgFDsxCPvf/sBZV3Ma5Krpjf7W7CZpsAqpSfFGQiFzIYbHcbX6atPV5i8XrIZ0YiodM0RRi93LMESEzTbT1LJRZO2dxcC4jf42XwRIGmrBETsnNYJwfcZh8u04qM+BDU6B9/YqhO6k236bOdv3jn9Z8i7O31Ivm+u5jOFMUFnKVSc7cCTux/rMtawCD+Q67v0S0e3gptOR2TM1pYdZ8fiWz/CZaEgz1mk5oohl3N6LmeKVlKthRCYL5I3qeT/vWav4WORBCfQZYh0nTECS8AQyIudJnJt9mau/7xvtkGnSlA4t28w2hYjfL1bC0JfjboW8+seqkCYQnRJy3RY8U9PaRWcACvEaWuagduAjBX0e+HiQWA25jcElDxuOZc0s8epvytm+/LfZkHKkuwf+MX8inQwF0Hm1TEZ76e/YbL/V8L6LQRpKMWvCQ/tDe1MZYuEx8BO2KsH4x3wdQh0eGXxmNgVlaroA+0Y3PReys4UHWXYURdhKii2xyN0v9KRPfUBV9Y0B6sNouyKRvyg8gNKrQAhPi7BJYTDwHig8us1XikEwDps+5mZEUVyoowgTCf5A4HexseV3mSS4rCubSYGmEDfsF45YQb3rwhXxzkbal0f3FIagYNpCLxZlfk/4iKC4v/Fg3WhmcY6KfW7LmM/mNsFbDPK4AUXKL5IGqu9qQV8+TcCVoXwClhMSt7MSQHFgHBgTkq1mOw7PqlXBpZe0wOjwh2NQ/iRoPdsh6GnBw/0Ej/do9qi48iez/UtIDFj7+xOarPUhTxiolok+xGK+R3n1aDLVwSJf7M2ewgw0Rss9WAgInoKiqZ4FZhkWsTTSbm8em8NDrYQPqNz45TBrJWnqcG9aQ2BWAsHH6tCQ1lrx9KZ/jN+1AlVEQAP8BeHeoXFy71aVpr5Gz/ApOsnlqWrykCoQ74tcRfjPU+Mf0l95j1KYuUl9sr3gq2Fbey8CC5HrmdNrX7GdfH96ZaApGIBkgDr+lK8Lc2AI0D0SaYL/bGZg7EMvR4/899NDCN6m+wrNfqQ/fkW80xReOYvCx8+4WxdUeGHkYdKgmuK+WkFtGXjP/7XHIRaGtTKmrzw9hEupfUDMylrBa1M1T/CR9c1GK3cIosj2RCWhKl6aqCcYtwuRPeRbpx3b128+A8XSAN6Oekw339VwqQgqMOaYDia0//1UiU8n4+PBFvRoZzpRitkIgKjqPIl0Z+b/MrG1cYnBeNT74uLwDhCKacJHR7K20mMf4xQyupIEcCGGoe6icx5g+8+b0iEZs1l1BL4CFMnc6kSf6MZDKlUJPkTc7KjaD808bUN49vSqXjOFVmVWqxPU5X0grX0wd3JshuvnxxK0PVMvtTCtC8QeLbMifOFKXjd5s6BOGglrrGr+I4QZz/smdOoQEH/rAHcGjx2AMgOoaMXSqRWjirFShll2g+dl3Wc1PVrZRK5qLLjeymY44U8RDvvwSjJYVO6lKSa/PpSPFdD++bnVZKupIOhfL3JUje44DwhesyIwq8jOWtmEQY7SK0gGyOSLKsUEEY/OaKE7Q/LfEL0vXntRAaeWUb6r1Hlj6lE1VJTwrHQfxIvIHdHNOEDd+0gVUcq/CR1YLvkp3DpJ1C/srD87TgJz0AW7Jzbb9G982CyvuUU0gPTV/G2zSmC6jjIVZdFznOBhwKO18cqymj3Y8rGgh5S9N3DL/t97CwZoiMg+f2Ek5MNb99MQOqU3Ykc+bPX1l8JITWDSKqnGBXP8xNFkvoI2sF01pZ/UHIHvTccZyfxwaQhIfu4bCXwAgSz1iCTYwJ1YcQUSmQeq8eBrzh/sNO1rhGVdsu7ovrd/Sv9GhCMWGUo5ULXiM2MJ/aDHlcAt40sTc+qa/rAvQQKVoqAZ6rDd09JcIWR5E8JQ9gfAZ6F2mYcndQ19p/cawt1EsGGhdPlP+TyoANZ+scytH6VTgAP7hNISfVYBc+whZr7O9nnP2hh2OYQcwmye3rc3r1ZJfI6nY/3YvZw0+buYG9EhBl6560wtMsm/HxLL51yf6rHgs9MoUbvhc1fIQdnbZJ7fMZtcerHJ/wNU8CvP2nFclnC1ZNFw6xTbzG9yGk6mH7bheHhOenKuhw7cuTx6sIqacwC1zHfqbotDHfPQYsAsyxAmhUv+WiwqMpLTVc8fve/H3qRfn8qzlvEnI4lzOE4qKKNOKVyudyIXCKPgno62Ciye2at71VT8o7VDVYK2J99LUnRpno8QeQxJtyhQq5qXVihnK/YbpJkfNyGiKOZnhXC4AMtcyEp/QucyTCTQJPZWtMFcUTT0wdVD1MQW6ZYZRo08hWE57GrP9GMtO/7Ub9CgtRgCCjfeiySM8YtkYQaiqEc4zsYTIWVxmwYDKZHYBOhnUxRuF9A7YHIAHiI/yDHhcfSqQEiIttxiRyaVnh1aYF2g80dgw28DEgwk7eMZtgejkEOuITIJbEOUzS0oFFPANc+I2INqiCiQaApxlEA95Fn/Xh+V/sAttd4bR1CFC/Ii9uhG+mgI1uZaab6Mvpa2WuAcJ+Db/X3LeBB2mqy0dbPMlvnyy5+3jCFsjWdpbAnpLsjA+OOkadQv+ACfnjh82gJvcIUwKOJM1Go1s3ds+NUcrNbPjtvSb4QkJlBdGqtmHDGAZ6yNvNnyq/G7W6kUzlCNC9GEgD3ZeGf7yKsLzWNhJr+1hojOpiZTKOTELHShZZJC4HNtkTpi3eReT66N+jDoRyXZ4taXGpjxPNHmwr5oTMDARhfA3O7Aw/FRfuc59TjK9pbN/IQwAl9zkMFk9WQsjQfJe51CqcK15Vp2kOhjN31CzBlNs143ag34BRxyQ3XpByPHjkmcVonK2R2/LAftGOTjc/YYIwSaMp5sS3eRkHFhLulKaGekdpeTF+4vaa3DUru0YHEbY4GQYdGzp9RABtaBUo2e/e4VmqL6qAgWgo7YeQv3GNLsXd9jfiztOFlUs3wyIhgdO2cP3gUz1h7zP6hYMmQ0cBZGfLGcreybv6ExS4JIQOKw59d0vSedbSN4ScmxC1UCkbOaKUZ0gbHggbcDjNFF1wrLmFJvolPv3pfteXa9i21Q3BVJIAdUhfr2PbYdUJNBO2xomGaLSWhwjeiJRU7/wy8Lb4DA47Ueeq8NjY3fVS0JwzIhvxtBFUEo2hNILNSBRQfmEbrj0VASHLN91ZYDTbwmLhONjOnp4QBZWaO19sF6NJeVecjC0WBEEZM0zGsoD8/Ch50vcyyYYSIIAJYvxWNhiAMOSrYK/VLFXJlVYkSK/4bUJWHqSXrIHwNbDiUJpnWb5KJGwqoYBQZWfxcIu3ez9n3aD7Ku3dvSWtJsTuvgDVVe8H6816PyvuLhiBAT0vSOeqrkkJA1NggH+knOtmf+7nWX1PiBJEF8/58RhJW53gN53Jmu/8Eq7IoYfqmcPNJlgqj+99ps71O8inY1jW4J9v6tduLjiHMMUme8gTbr8/Wsu5nb1nz5vBkA7ATDX5aH03ez279E4SAKPuCMimmqukYuo293Q5vOuGaS3bAsVFkT4lR8Yz6RUMhLtcbF3xasHi9sKWc9aCqK7G07kSYwbcBrVh+qidbS5kDAg1ZOZLz2ZgXrunTbjKJpCqPOKESeSBMlnASy/cF7OQ+Ny1iVTkNRkzM2hNsXNFjSK5QQRzPnq+JBxBo9+KfkN4N8jjmzqHTha5gmg3RF73wDlnL8Ia2NRz5avsB0aTlB4MNyL+wmy5LMQSZNdr3c8npZ0uJbGPGNKF1yy1si1LlOHZPAOKvVMN2Oo6F33eUcdI7D4/KEjJMlyhxLfxUoghehyQmckB/pVJ/X1PgQT7lrexrLqG3HIaF+k4Aj3oi48hNSBm5KFuDvuy/1RprM29B/TCkiyP2ibrId2JqaIPPov/GKBXXz1WcIKy7Ur6GvqaENjm3rYTOy2l9NewpVCB0enfTn55zv+HD/MFEB25e1F8F5EqI/7yL8JW0kjDmdIpkG0Ov+LgiurHFcmSNga15EPRn6TV0stGdqjdv9xFnWTq+VW4/OqrY3NbdmUt7tAFM9AFsvGlLaa3cPXf85V49Isy7uvpvwgiX/z16r0W/zKJz6kuuNFknUwDw5YuZd+OQ9Ffsrkev9IdWgeKDLyEEnGjJxrXC44qwbKWL7tSN2yRqAdVj7wV4I1mbS14nUikaWd0D3+1I/oYhFCK7MX2y+kWpx/pLJfPOh+Ur65eLUgSmIuniefPTI5r90sLLYBRuG/1NymO9E3nccM0BekbRWXIdijuySRCcf2rIKN0gLCsazm8QaouKpQq7H98/QI4hpVzB6MfTaLEq1EG6awPR2HIjebtwAZqSYzydvO1HdS5ip2TXVjGbSdiAIT+jYQt16bYT6CczflhTtsCMnJbWYPtYNFvdALdf8PZRNwpQ8+sSBsfA+VOrdDfgMhkze99U3rqLMn3jtYyBFYd8r4+On2AtBqtP2M/ny5vPjUy6XtiVF6/+wYgCLG9raEJLwWqKfhNybWrmV59jqhaCr2HQY0b0dQ0wnGpmekPXs+dktpj2yjgtaW06L184GrQJ/kEm4P97RAdvpPeLL1Vye5u3d25xNzHzheFSuZ2lzs9JKUubTBcgEkb9wcekj9uPbk3VDiuuQ4cEjtDBxiXygOdDQajveGlRVR/1qVJIhOoChwd5wSfOv9TVPRanXNifA/kvfSaED4J5pDZR1gKF2PiPStMPha5T91zX4xadE21EPH3JGiNAjb2oolREwQ0hTyE71Ae5064Z1ivi0ioIuwdmoWKSnkHp0gELRst40wYQNrUp9cjvEAIzTLOh4EwUQZDbU2JCwG68VxVROD+8kWHQA9jswZXbj1/sx3TumXtRpMR8IOjW0CfxGAA4drb1fJuOF7D/BkBM9Uw4MnyjO71kBmGLfU3vKa65ZclBdp3cE8NN2qZMlsLI3WAYVQzllRNsfb6/KnnjF1CH4MLkY9k2Sww9mQs8oqYel65ONiDm++myK+g2hruITwcD2ELw6SBjoO6FpNNE7zZxAOZeUfwJs56xwDX1XbaE6/UnT4XNh14U204reXuEMLj7JOx5NK1JeXCJWvmnppZ7abiNLqsSf5WvzYUGt0KFHjNco3mwF9iX5DFZjRQAVJE4Fw6BsENRWxkCxfJ5GA2ob4L28hAUE3vowXcs4xJvJI8ZdQW4CQGdxMlcEOUU1LsU27pgG6Od3UcQiWUcUsqj0M3v0ByJrx0zvIlEtn9gIh42Akc1T0ddLJIPLmgv6IYFstUdTsUrjhKr1OIVKsqNC5Vgv6ICa15dxOdJeQXqoPCi7XTCxpeET7xgMz8M/G72Hspu+8QLfXFduGD4F3kHVd2wR2X/uzHrTrv+ljhAV3A/Uk8uNIGLPJ8RWIPxFgmSJ0eQH0/ykZZ8pqd9sU43X5MkoGi9ii2IVwnmajBGRYhWR9jsiHAiunk0GfiVC2RtxiiIOFjUzelIBwkZamrQ6Zqeucix2/iYbiwPRjN0KmTiwSZoexZZtGABVKbY6j91COIyAiKVAYmHp/Qw+/JZiD7mHJ5GqLSw7FVbgDShS6FMuM1IescCTTdhqiI8ADUV0npzh22zW51xPH36Y2FHrwd5bT0a+8gZxbSEZ9OxVm2z9aA4SPr1M3iWkzA4DbYhiYnjXX2dAe/2QOhSG0c+6RhA/q04jNEILCuvMsZxww==" title="Mekko Graphics Chart">
            <a:extLst>
              <a:ext uri="{FF2B5EF4-FFF2-40B4-BE49-F238E27FC236}">
                <a16:creationId xmlns:a16="http://schemas.microsoft.com/office/drawing/2014/main" id="{AE7160BC-0022-42E4-9207-99099F345454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5930" y="1750060"/>
            <a:ext cx="8232140" cy="48793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4641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en-US" dirty="0"/>
              <a:t>8. Compare Investment Option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F517CFFD-247C-43A6-BC3F-606CF88030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1219200"/>
            <a:ext cx="8229600" cy="685800"/>
          </a:xfrm>
        </p:spPr>
        <p:txBody>
          <a:bodyPr/>
          <a:lstStyle/>
          <a:p>
            <a:r>
              <a:rPr lang="en-US" dirty="0"/>
              <a:t>Use multiple cascades to show cashflows by project. Set the same Y axis for all charts to aid comparison.</a:t>
            </a:r>
          </a:p>
        </p:txBody>
      </p:sp>
      <p:sp>
        <p:nvSpPr>
          <p:cNvPr id="5" name="Rectangle 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1h9D1Z5GDtPW+wuCTrU5cbsTyeRnoM7v2+KYfNB8pPDHY3/N/nQDLg73FVUjs5JX80ZEMdZ5aXYVE2SrM7ljDixtoKhF4R5tzsuuZUVsHAcuNRg/S6dWV3/DsdPNt0wsSzx5+btAwE1f6R6FQ/Jl2dB3wwdlgH4xZ9qIGhNmoO9NxvfQ0A++rrVltUHy5so8SRD+ORZkdpXSsmGGIG9OmShgqvoYjnbExqaQVBTuYYt/kn3nyJzDm/4DWRmF7l3GSelCoMWygFWAi02v8kYrK9cKXkvNX3//4nHhroDXL5UESKcn0BJGvsZggPvLGgg2HcM6X34dvzhgkxxXqNziLPE3/Fd6MxWYsLVYw/SJwbG/cgtR0djVNSq1WNsi3IGGgmy29d5R3f8G2FHPZPqhBInZ1nPbtvRSZMzf0rZc2z8OGrfuLOMbXK+waKqbZOjYeQw4XJXoXhP1LjzgGOnfXO3rTDkeCtBD2SgUEEdlBsqJW8tThTJwal+P+MGMLkqa071qJKKJ1KlAxDmYOA5RUoEh0g76i8TZkqvQzxaEwQ2L2mnQlwDuWQBuUiIqjW8i7JMZ/TYvG1d/KMhroOxAJPDFg+NWpgvIAQKrQlQCIvEHPiTSraGeHE8UHSei7SotzZ5h6GgRznfg8U766XkLqbTD0dJIJUlGvoeVofooKcbhG6HgFr1RAYDKpNTRRiLzN+nDvZHoVitiB6OTvlG70bPtEjWfMskrj3tBFqvsjZ1uRv0hfZPpSxgLaiDx1p9y+VzrA3Bpr60KStfgMY+q3GvT+I33pz1gsacZWqDHm/FVa43Z9QcyIRjE8hsc6CoeXC6ksc5/SFXeh/6x/m2BVKY1+NiSliFhBtgLehGCgS1H2O8ay2VRcNwY+uNeqJl4J0Y/qKwC5xt77YqZD7pmWGUknjGadOS4IC82/ICZsOfZhRWbsWJKYX0roV2ZEJTeE2BsblblqHN39LMooOvJq99mgIaFZN8qSTdod8xq0fgmEyhPldm1vUb0INj1II5wa3mKQPPxy4d5NwMqxJJ5XNDPmw142DOpWfmHdwY4OkkWcT4d6iH04kynERpUU7M78vWvkUWa//UZBp5A8hQ4uYhw+CnU2JdojebyRTuguaO6/rwTBrkjd7yOxz2rBOi/ZzHFwSHrC9mmn9r6VMKbkPGvIy47FZjajyrSOKVr4U6UbwTH88mL2iHvE9MZce1MNBDoeKN6WcNMOpgVNMdNbbEUh+67uq/XRFCJaPWx3Hv+2rLQ/ALOm6wjXzbuNz2XD5aki3dUVQgL888bid3rYB6bEaSksEowVIUoAvPZ62CMeFyTajS0SWWrvXHdq0z/WP095hjZs6PrylzQXw0NA1qLfYNjOpp79siF+dnxETq3Ha+k1P3u4xVp+eJQIPXAaQ5gkeqQyo/tgmD38um85WAcl0CqMjDlSJ1kDmIWYlSXYgFLIPTvTRP9Y6QzBqr4NbeoGWFsTlTcH3/Jq5JECyatKXX16yAQLgFaJRBqBBlkF7vRjNx072XKYKWDadWA+ZBz4ofZwl2zxix6fDNoXIcG4Jvxy/1viMol2fNEnhInxV4lAAPCB2gjsHxbeMzpd3Zfy4RFzYoI9n1rmAqv6nE64cZ1K9kA5EjPVz7w1OQm0FXIMJIOCZOQdKlwWB7jgQCiA79+1iicDTuBnVwGShgOkGxrpxw6D2rJNqvCB4kLrNQBjq2PygvQEbxMpu8J6whlJQTkyhhx+EolcD5HStzQjXjcXkWeVclM3/bRrm6aKGKdv3MMtQ3/H0A0wN3bQSq9Vpkngo+T9gqR+ZVHo5g5du110AgVafSrgflLLtBQOY/kfdQ9aSYV2D0XQ2tN01xMhtswRSmo1IuVwrISQryvHtSbNnpWmy6XKopwmeWAsHH3B5eXuuWnvhcFlSL3MkvMM5Z/kB2hywE5dn1sYMRwJE5UdeFxXxmZdbcJVXmUDisR1a0D62E7kWH8hN+yKfQnW4guBcjKisS+UJajNjzAc1sraKNUx1w307d/MTQJhHP2Y2bc9b041RoTAr70X8Fdlo7bUl+ua08avT0OkDOv8zsXDaXLAHtRelq1+LbymQrDAAWPu6jn5/KFhvZpRCnWwYcpCfOhrAYRVp7fwwD5EH2fGR5IZ0xeW9xbu0iX3jaqo5cwp/6bt5VzPj3q+356fORPRYVwDXAw2hG/JV1bRN/TLwV8hEN8gTpcby9dy8WiMPDFvbBnNBpbAGVGTA2tdHkF/v3xiq6dvSfyH8EnVANh/Jebys6VX4taUiSz5G0JnlRm4e3c5bCzcJxALPZC2KSlUnPnqKwC47NaHOniIDERX8W1olPMAFcdtBnLurwatNJDUksH5cA4P6msmusPV8td7WCsRHQlbF1u9LDEL3U98hlBCOWcw7FG6YTViH2J/hd49oOjRb+KiYjwg+wMvN1ZlHtT9jtNQAFwC6UDzNkd/EBZ9TdcXT8LY301ppRf2Pjktbgp3fZJpm7ppoPseUFLXHN4wgQ+V5YXuoYGmqlfzdIknlEu1rK6gCZjGbnbTqcOgwZPXADzL8dG3jEhfp1mA7+QwrllQwF9JQgz5HQBbyHdCy7CgVXGz9KzG2AjPC8Eb4MxqsSgXANZPcngVXp8aIGPI2Os4WIgnla57Gr2VRqJ6awUwp3PLewrMtQ28Zg5XywR742NhJdoj2aHDhN0I2yCPaTUQcYFLmHTaNyxI+fKH6QmxL+VFWobqWml+HPD5OxaEVgYFWSNaxbmKIrKAtgnUe19oFGWATCgeoqFwT//agr+qW8GEcCnxoExvbqxHydK1Sy8HwBAIKQ2JRYbn4/Mo16w6UON9XxLQwUBcc/kZD1xXTRZ4FtM6t6RDUf3HBbZEk/8yeTwcc3jesYi+dU12aezK1p7ti4K+zaNNnKQoOBYM9qmvR9tQZU2aeBg/0D90EpoILxN04edZqFXVuPqY+5aYzXpSeKpxaeRmzCprJyMXH5qr0nFBsGiJlpnK2cddiSpEnPd/hTSr8naeiXSGZkhQf8NyQEmlThWVQqaTxsZ5/PQKXJmOx2jiWGh7TJyN5TSVIEgxhkYhnVH1ZfvNeLm+ZuM5zPPKMD0zqEDyqgIGQ568skoLywtKTM+yN0MeEP18MVdwkyz7kGN0mysy02r0uUaxDDmm0ZZCdE5DibHL63Qm2tKy/2WnG+i0IphqxBbvSIMnfnZdjudaHl9TtoDjAPinLWcLhvHZ9Cjqjk0qQBoap/kPC9lQNVEb1X0FMAI4pUSaDU6dA1KvQL8/dBa+UTDfhKq1Dw00Lxu6M1AF40cRz5LdH0E6V7hC+tgdVXe3qDVaI6iltIhmJ8AJ4x7/dsf0HEZwtQvPyVXyeoGUFnew5GC6AFQAuu33CAfIJjPMTdjF2H+g5wcZj4sERSnwVBOrxgdmNAFI1QGUpAeD744UScZbr1fe45GeoIK2xY/rvKxts823FqpYgeh9xHCnfwFr8c4+MTM/IFm9nQCxi2DGqNIivcabKSP1wvkast/uMSRm8MnZsxU9tqHXIG3g0wFJ00zP1nSzt5Bm2Q0scXXL5fnUtbb3KHJ9/fFni2PsCM2/u0LEe/qsq+wqKL6sscOL5TZV3/z8XUvlMkhDzwxYvRwketugydP7mQxL28caepBlKSzKX7G1woCOBb+EnB+xBxqz5cNzHMRlJW86GBPXyhtncaW6fryxVg2alVAHC32tdO770slg5btiD1tB+KkB/aZHPM/IiDZdRwbcuf5NoVtbSed6w9sGOFkLjO+J5+ww7e+C2UDcXKnagHrVnpt3BWRazkqzYT0+4EzeFJwYl5/V97qdc/rk+3tC52AnVH3S4iXKpITrNHOUYbIA6R0ciCNzMTs0QP11WcV/x+43QlfY2/MbgcdSxy/h+I48SD/ntFySNxogrPChKSed/caM5QlqzG+I0VDYWv4mutmMJzuX8YPFgfcj5DelOpe8NUFwX3U4xiwPE8JMOS7qINIPzq6f4sjle1h75nPqKL/CWNJ5obBdYqMO4RtoJ2jxankD5+trmfVvDLSrW4oEifer0z54N08oYBk9wnbzSxaF8mXPOV8dSvDWIHg4UJEevozKg1DAqX8KcUsblLCRtcZ4rCdRnu8qE9n08CiYmbXZigZ2e+gpQhXuqHILW3R36/R5+OGLOBo6EP0qxOFuCB5vUnfidIDUW+w245zK6YAQy6Ickew2q8D7QzL1UIvWXdGxcvC0xzMUvNvXq5ywgUV+P/zyDeztriMT+b6hZ5HYx+SuG9PDWR9aMlHDhNwWBULTcabNPQEuJ2PuyFW9WycUIMEKmAQDsjlCfeKVhjliIDNRNe2wbAMVcC2x2NrBhzklyOA7616IjkXwCPspLKyNoxitN+bhwmce+LSVsp/Xsfb4trB0ZL32PAXmOIgKCvqaQzGOq90iSjSoiehEb4mnFUXxTuNTz1kH1QzYH642ytrIx20MpR6ieDoN3DGwEchWJeC15EVWbj6QRF2F1cCvkPqVqi1V5PpuVlpsbfB0ofpWzzCTTDekBTUQTbYuIbua8jKfeTQ7oBriJeMC9buwRpbreNgUfrYRwqfzeuiWxp2IkgIGYCz5qId5T3x9dddYXbQoZtXS2PAib+1QGa8YcszfwEedsRP1AhS2U6u9aMZd2fFIH2w9bx2lGulWYHJCtHGEiOstMOuatme7l4fCHQd7SvawZRqhDaq2YKgJ5SynZoUurvwf/QkcSmyIyBBbKNUepAKKVd1/d0RLjsqEY+ZLBj5JL8/LogDmdbmW+QzLlxNbV/85ShhfyTDPGUcCKw5rOqJ3o8VOvAialFb0Ui7Qq0KKribr8uJje8zSTL019UqwHBrHBau06QiRcW8rM39ssq9c4yT1tOQBGZIPLg7KvmQKoniE5WZSmkrz94E0UMPM4kEwwmZNRDnFyqBqtBDpdXZRbFfhSogOHVYv/fAy9dvHW8rycfPhJnn6ipulMpCpfwOh6xnkID4Vv2lrlQEb6Fa/JWU7XWRq/i7mqjTBocyl6JQeCCF3yNUfXkCXPuneX1UgzpoSGfPKJOe6Oe7IfeMs4rpWiDKm6CONmAJLaJ1T3RxNj+o6h1oR0Z8a6hr4+7FcUgCmJwCucKS0AVY97dsVDBnvVbJNydBpsLW3vYdfFgcT1HX3eE3oxBLGDNORPXKRyVmiY08BTo190FUEbECHpQY8fe1tZuw7lLjvmv5YTuqyW6IobqUf1OSuARf0/Py2PC71xEXKV71N+BAlehoLzCD+vP4zwAKvvoTPgtEm1RgVigKce4EL3XfwopPGPK7bq1JTzei37N81lFOZqiYM+02FN94gDRJPhPepCKNw9fizB6os3/GKOhDgtaArGnhbMCVXQ4qUZhXHG0guODNTsPM0iIkKj/Zp2B1HbvJ0LaTDdrBfUQDH1Q5oOMYu8Mi3ZV9kx1DDt3yt/jNsdaWRuxM+FIA7zV0laGMTKx+dtNwXQFU6QIwzBDZ/2LmT4f5fS0oc1TLcPtsu9b+vsTQVPGWnYovQvEazjNPb/swS61X9hJlqfVc0xPM6OHEuDH9kvuA5ycpYRwaJ9g6/W+Yz7KOu/PUzAginZ4QeSRbQ7mLgH7GE/6QuKxnrRvYGrA5bR0JIO5IyFQklCo48DihgF2Z3VcrEmugivIoPbfdolzfxd5wSpquZzsyeLDZgqpdUN2ZJ1KiRByF031hOCJGuGc6pJglwAZB3+bzQbjAvC7D3iIRNjUgAyRThF7bu5U4uIWQqmsJGOCC5I9vdlv72lG4BU1u+ah2zTVQ2Sz6jbiFuYi9GE38S/2eR40ztQpc3jzfDFNTbGtI+tLQaLh4pHSvFL1hADog/4BtVW5ff6ZchVQXUMSK3R+8Cf8kMlhHOVT4RAQl0OpzeFzQ/JtovLgmVqSvha65f1o54TA69tFc/WBsOrylE90S7YoHeb4dwm8AxrbXo7nQxzgIcz9Xfhx2slQ6n2jtAXLBjRz1a70G4MxEK18BPgf5F/EPg75PtP/wwZBcLj8Tm/j1ICDqgjhRRWCCH8cvqn8JaaelKkw7eczu3VmtBWhNFUlyJKIuZO++JO+2xn6yDqXXLALbK0ufJYQ9PhGZxlCSp6CYr7eTilN/TTobUJ5G0Qer4hU9uJmhWlwGdbOyk5rimprx6NtZL03zFrNTbpvtgfccPqIOsdXB9v5VwpY4gCgnIKQwEtUWlkL+fPtBn7J62AICzSaVSgPUK51zw3jMJl31tq/fdYKDQ8OzaPM8E88iNl7SPm1KG8S/u3xoVylt9jaaCtu0aEcB5PI4lU8ny06oKFA3kxXGEjGxPHKTyDPTwZnQKUMovLHCe5TXOW6bKiUWh5ot2cj8xU92+dYJjNnx2spJg+I+uxHAJN8E5jkFLci3x7CZJASjMC5cgupwKiIl/4nrqUWw9Ma0iGqTRcFkV7GM2SKAFwCU5OS7LcLUFiUhdUcx+bkagXHgrWcHRcJylyXL7qHpL5awZms7cSTAMHddwIAIyy1pInVM7SU7KnIOR8AotO8e/gIoikLKJ/Ki9N0Mk1yWUBn8LXW7WRyBcD4PIq1/e5SkL0xhlcl/DxwFJzqo/BtF22gDa2xZTGanDF3nVIsLWT1nBXeo9xHIPwq8fjI1BDlNpv0GGtBQk1OyEKKtcyvJOGL+sXmQ34LbXZnEe1Er0Z42v12653dcZQGQWrpyVG8c30JbPvhxmK3RlDLOUGYg/3gOMzc57MOYyzkIqT0hAxvW6YvXOa993yswA+yBZTT2musu2izXj9vs0X0Ag2HYaJcel6zKg4NELtbcbUaHJDRdtGVKX7zrNKDIYwLpTH3z0DPLaV9AxIbGZ8O3dwK1XJ6cBtIGDr3KshPXcPL4PLtBAJ8a3CycUImJPx32ADAJXKXP0UsYOupS1fBJjiibmyBcOEhW0WWjTPnkA+91T4WBWDKA02agCPthMjyn8+oCS80UIBUUNvG0cck927IvEMpWn72TY8f73KZuImVSP6Y7LIHW1KUwMKVuC72Dp6HO5/ZvWEWOCjBdOQOW/xCLQHvZ5bihTAIh+keh1Prv/uWeDxrMBN0ewa3tJIekpYrtCUZjVfk+rS6i1CJDJcL/A4am4aHLbne2id5bEvgRx0N6WoKlsnq5QcuCyugzV+rG0CaG71uc2kaoU49oPgqOROKbx04koYP8+3S6EvBO1tczIbajFQ9msQLQECDZmGW1RiPJceLGxT1LnjcS3Sw5GwCnbF//jgycmAS6nQzscZg4tYeiysfjKkp1DKM80wv6TgXQ9Scv20FhIzVL1iQCtO/AQIjCnXczznP3GO8tTrH7IYxi2SlML1MvOhzQ9kDbVMHqYYpw37WZsTWA0Wc6YeK5eFGnJrR/PHSbT5w1042Vzs5JaMjbe74ytSpe9Y8USeSwGSwl1sYiAGH6u5GdE2LIGII/8baHBu4wdY4/8h5rKXayi+aw+JdUzmnWLv4xm2DnyEbpM2r2lyyvAx190Uph8lNcwMhgWxgVfaAOiS1LODeQZ+0Mit7gmiEq9gzeUK52iGfr47aCBqHcofzBwxgRqzFxq8S3oATHOGT36FufXUsxd1bJ55sELbN+zqESJW+XOjV8NHrpAlKergMXYeORRKA1jC3cdB5n8v2lsIfxJ9WMXG2WdwgcHsqmB9+TZaNIW0KKC66bUWTJrJJSoPjHaf0yDjM4gsp50XmhnvntwJsHJgy2c+BJPTpFc17/y0mr6vQsA1ghBC7djrcWIPwhMUhw6R75s2wl0+24hip0+asOTKZ8DFReJ7GX4DHxLGLQgwl7eFgr9nEGA1oz67JIv9XaYUOow/WQXKIu+BBFRc6XHkQTaHjXAcnZ6vq0N5Bnk5bKeumZB48bETAWcDikstAbFFAmK71v28kuViAdEE0DEQKnSwbZi4/N3stcEtdOEXQCc9pnq/BKN7z4WdIQMI+JSXhdkVrVOOUUyLvIp/mitaEtqD1JfX2Tx5Vt5UQYqgWribjmFRo3Ut6kIUSVtNc7P2B0wKZTfFjYjM/MkoYHiT+Y3rKdTSLYx9MLCtHAHc0s79JcfkSKbA4+WVAv0cPDVBW3M5+htHQ7pFnX1gcf4xue3KVL6sNAxhYXxiPSMJa4FzpgYPfmnwNkg3ErWvveiKEHeRM9GL7kummNmnDDLar7EsG9XabhUIOrxlyNynMSH1rWQ3LJmDduT74WBV/DXYydcoKLpPco+ORWqWFHdhvy33yZjY6n5hAfh1u2UT9hEMOFo8I9F2rZwcihF8sZUhl8P86CKoB3kwdXaD9OYwWu4Qy6pgIqu0cG4gNvn5zU6DFKEahq2WwuKbsYhGQKr2cYlzCwhcmKKBOmRKymyhyLxxya1kZKKvhWMMCGSVh736kZk1BkorYE2BdG3rV9h1C39/jNuYt+SF+DUtlaBLg8+cALJwmQgZuTXMh3OMKkRA+adtyLt0Oxjw5FttB7Go3tO9SW0UKQgFweF90YgH2XLKDjA1xn0ueStc6hkbB5Zqh0rJ6DYwtR26SILTc4EeRcjzigLRv6d3KrYTqyYfBY5IEx3K4/E/SmM7WRS+cZT+NmGxgE2LMfN31O9hfRPwYah1l1oWbgn4cS/cOqxjsQdhzmc2EzxFvMK4pqSHYl5xo/0sIqQYcq33M/JiQXxMHxNYXds5NqC16LQfh2tY4/mblErwvWjEa6lx4RY0CshCH0hg6JQne/QyhD7vmyhKtpoCR5BXFQLYic48pujIbsFfTgVwcFY7KlIMDsmcASWmkOjJVQgKyLhtyuIR8FpkTN8Gjv8nisRjW/y4Kno8WVjwmU+btSTeRFG3Fr7p/QYTW/qRe/cg7pVkBuWL2U/eMUY9bGS7NfvkByBYkfH8fGSAAepoHZ2Uz6fXoWDnvi3pMcERIjLK+sRFmD5FtGWkzXwyoAWYRqeVoTyX+aV1ilFiRmXgAqljzQp1ZojB2PjMhrDUNAn1N46OQ/pxNHaAPYFKQxxQWWm7sl+abQujJTtMkaHfZsB6NLA0NFCxI86/8k6SriqYy5KI2tCbjc72drANrY6OshE/wD0hM0WslxvFe7bynbBT61AYyKVmNS0UrN+N+xsRa0vtysr/1GjgNzGpOWn9WQEe8O3iIpUhxRMgjyUQ0dJ1cmCf+63+51+ouUJPxJ5nV4GjsUjHKKjteUnofq3PLXajYhBKSP5X7YRe+MfnetiPcjCt/ja/+G6kG4YNkHVFoIPP5n5C5GiTv25AuYKBPh8l3YtY6ygFyR/v/RwvzrepyO2R1TqbrW30Y/iU9XSuGVLJXCe8d9W5vHVBvqzfmVkaBTBmIXS1A4W/XFOfBvslS/d3ASmE/2ka9eADcs7EuyAFdp34vQ3O66TBmp2pw0NYlGtR5jo3ZEcE23QT5NOqKVp8VXrKx/pwB0NP1aa0ZHyCVWNrvMcLMKiuxXAyoeFFmQsyeM1CsNXay+x8ZwbuRJ4Q4COvLPhiwYNtun9sivrDxUJvm9Vmnc8A0Y/X6JhrBh237IHfy4lshoipRDACrEg+v9it/nEWHGUGe7uP6qjXgBGEro/WPdOLFsSEnjNYRlL8xDyvbEG3NWmIPjxOybriJC5HJJ+64YSiMDDXNz9eXZjCgKYgnIE/4hiPY9cgeSMyZAu5xkuo1u/OTFCr/WAnmqI0+NAkZcSVetKEH1SrKf3+kpV4rTfAXNpkMbSmBOZXgA/T/Cel8hmcp6nrkOk6GAGV4Qq1J1m5vsqZmTKLrCanx/SpdsOLNOSigUyucDFMjsapWau9jlgNUVI/P6groDmjHjDg+Et6TlSsKNSI86d+Zw0B2aagkq/XCLKY8xbHGgqul9QuMm/6UIIo+q9pfXSYbhZ4hXXpG6lAPdnpHldUi5wMOhZ38Y7n60TxCn3oQMzSobYb7gKD+uad8o3T6yv6j3brnFUforr68O7+T51SOlRvaj0vcFDWZd2eC2ekKkU+PqdV3Ocvrl4t5Cx6p5SdrS7SonQHLc5drZozzFmBU3BDWxKO29zUNbMFXEm1kh7ImncqRymIQXja0AvUnzz6ENANvI/CIZoX9mxZZaf8M3QCdc+SMxT3TQ2h6QCKxfslnMMTRxT9PIoQP7tZ5bPof3CzH83hSpczRMDW7yg8OEoSbNWUgxnkENl7oj+hVOfcRbJrTz+5jTo436h3mcBEEZPBL51UXaVqduzpufmiSy1SwVRu/s/ofaWBCti3xkZ7hsifcrIDxChH2q4RtGqP8pL0dAkHNlfe2RDBcDU8PLPqYFJEqadozw+zjsDHr1vpailLvjOBfbFJFWR0FM1LPwz0cK2m8za3qoSZ0IC5vP/wv73rqmkOhBslcSXVdtm9aOGLGMEcziVdKCCGKAC5T+T+rBEXCXdHqf4L35R1rTFdb5t8OJ4gkoaNK0ngM8IlmOjJcOChsg9hdxwxZY1kYx5fa3GFmn5VA55XzjCfOGE/ZzEpmtXJK5akpdSUtmlxNOdh1RG2/Yx+9R/cwPgxxPaZHNCZ+/J9AmspTo0qQwi6GxBaMunYmeOrzkAvaqD+7cd3/M0lfEXjY7SYLBB9kxmSBPTN+FuP/cvpUytaXtn5j9UOQl9FAr1UOb9jbLFYvkJndjM/aaSZ+z/kfIt6KfMHugsasW+4lUHgYydTvod3F4xCuSwfjuIvTkH+zXpt6bEyvUmLKcCbrmjFBqqt4hJnK51NtXTVRosVwK8XJ3zwhLXehFvOMjFwv/w03iVvDKo1tOhW8Ul1XSW5+H0bGBimfu1Kqsw0eyQQF8oniZ8USugtXYQN1em+hPJUTINobrCtdrPuSKcQ9I6ifPTe+rO82n5h+4AWPTYYfZUKIOntGz4BL5UE9lE5kofcZgvpqDFafNJ0z65H2iuwfYGk2uXv2mVf+vPyL7lS9ZpbOXELyD59fiU/XixDifruVCZYuDDORq9QZyMJTEbyQb5zOjhhGDkVzjMmlKygRS9khY5swyD8PwU5HepdXUKHz0X11u7hgTPaOs/uQ5lh3PH3fGnwD3S8FoMEQEx9PM5wJGYskmhDcDziUOHQOmUOYwQlpZwlrrIQKsD2rf3oiJ46XYIprCreRtsirunHpwEwjPG56I0X44c6oU23Tg1sWTlpHmcYZCovJV06yQ8uF+HGSOxt5ZmhEOWgWPyK1OYwA2NWEwLJfsebC7UNRGLebmRM74UhQgt4WOMdtBbHufeOWgMdmpkyG51CQfosf+hX+GbiRXufavyzB1n4FCUzjbjO+40Ys5szBt2G9aUhYtBDf+KdOh/iftxMCZcwskDDkwBRHIZcM/TcZJ1E7GIaGIDveF/8OfVLzZ08qvuw2A4CjQO4BSxB7Thj20nspXwtpLvaTnQdwox2PSDxqHLmA4hEDa0WKAPyOIzRp4Ik5Ija5xTjBDkA9oKLfLaJyHvvTINHl4Q8w+wvyjE5k92VbEbC03WI4bN047Kom33c8MDkQYM1sDCX4+H2R7B6y3VKO89lWoYYbvTq3PKH/yp28w4mfOu6VbiBR7s6QSdKEf/w/+Az5OFdd1woBQirvoY2AW9cGnQFVWCmRv7SX5rzI9Yf3eM5jFnQfdhTbfmOefb+x/lkn1Gh6XnAy4AoKmGYnOb/S3BRmQ/8fOSQVbV685Kez+z1YYQZLNefjJZMXnul0DRuwV8yo9Dp/bR49nnPqvGXhxXk76CSxQBA/dqhPydhMIP2vYA5uUj1SlD448ybppUPMDCxczFi6swOI+9AURcq0NAJG01dlOd8JqSYWoVzfN0fLwrpV1YYdKTk78UaMOpmXaodYL50zTc214kAxv001Mnly1dZC3PQoxJ4zVy5jni9IzdlrVAvj2iUNt4MJ3vDK5F4AJoXOIh9Z7wwcgHXBkCRcnb7vxfcnD8UmifyMQqyVi1PcP9y1zI9lcqR7ZJDOBpo0jLTcHfyQ+K44FhLS3FRTUeA8qsRtDEFLP4Re2q4RZXNMlQAnfVbW6oL5WzKmdSLA1iy6D34tCU9CB6cMWxzR3e55l/4DRlA5ZOK6XYTv66yP6GcS7dpGiyGuqAqB17MKTl5eogvJYp9kiPbW4tPOKDwGfyRVzEGX1Zhv/6o/MlFqwzpQsl4ZwAln1DDlHBS4F5PZACq/IFTlfPphA3VMJQyPhxdY+qXsUDXJPs3x2Ijc8VrzS/PphShiUwuQqY3lYVnY7fsixiWeQRPs1tLKbsshiBRrmQLApbemC5ykscMVM7jsK8G9zfmA1tSOGHh11q49kEvgXOBy6HS/2FfA2A95X+RAC4RYrb+2ZK3ZFWmTzLyx49D9SX24A8cWLNqYmgMRgMI7Ehi08sfLK7HnRR91Ib71SHXzyDPgtSRmfRQ+BTwHmILE/MkHn7t1BCTKYPxWvRZpxaGKwbdNI5+SzWxEbUHq018Vh3HLhvqSnjadsJMgpxh8EHclkN1S3hQSOXi9WoZQ4L9qaPfEAcPpZMH3+qvUTfZHt5YUxPRfrNlIdsHe4Re8Vfhj3aeAbNxyrTLmRKvCtQC9qp5DtFuZI4cAkXoWZtFRTqbNlaU3EyLMQk0M5fuoAm4cVcyUTH4vPYXNVsLaDaEm3DdhHV+C205TrtzhQs0Mmtb18P5YMzOWVIb0+PAJjHNfnTkOLvIucw0NHsaC4XwuCFANRCxIRNqtI/dtVuFYgYRdI7d/DB4LzkeKR5gomGjvmP6wY1r9lBFRPRBvJpOw6nwrft+Mekaxst9i7oKOub5kUXx+GO4cqZkgVp+TumBjrOaiUuubQRIEPZQyZj5Kz6HJHP5m49/vuZyq6kRYLXchcmKws9S16PIpKiFU48FRt5O6WnqTDvDf8SbGDYDA3wcYcGYTa/mYnLKI0J6Yhm/mOn2HI2uwQcCaL9z73b+DymNq4VqUrNK/Pk34g78QczCnyrO+dm33wV1FIbRueV/VqivxICl5qKPaqORXz0x2yApl9gUqeAa4AcdSXTvzhAeZcmS6IiLeFugs4007sdBv1NREVy9hpuOcPKdIAPyOJeQ608gFvg3gTCAGAT99EB7YWf8PAVNKdm03ITc++McSNF1pW5yMDzkS9etPN1Qg7phA7Eq8PNN5DfjLcPVxx/I8VfsCv98lTlebpfD517gLYB0Bv/gUKSNoUhZGqaooVH2HePKiQsTNwy0kWkIc66hKZGBwZtgZ+6cc/Zbz4Tzei5QhwYRAK60vT+FrbIzbP7qChBsRAq9YLH3zBHM3Aj8+nAsN10CVwIIW6Gx+T/2NnwPO68XG3TFKxhT88O8DngqUql7+OiSqVDU2moga1CIXslPRKbeo63YFEztqSZibLMYDR0OOriNFhBCfBey8xZhc9mFxJEFP1lLs7A6I/nzgNcRw6XsUyIQSQnFNfbPs11m2hfFohVx5YjOslld8wFrIiUzNGEWYEAHalCZAmXtRB7CSASyZvHGkMMF+LzA/5wQaj9Ay74pFIyJG0ZYkL9uPZWAxUjqxiZ/9h/aGOrl3q8ky1dMKTPhqNFINGcbIGbOdQUgHR2t70oBFFTsU/RJdNP6oM876QoDwIZPKNSGBFIcwRMqCwhb6Ms8LIr5QpCZKH5QrVSxdoa0ydjFwSjYa5FnM0NgAwublW0Flwd883LNR59v4vYYPUUHvBd7ug3RWexUm2CPAQDc6yMS2IplHNxtafnqn24hqzwk3p6tOi1oH2SAQXw/as6Lg5Bp8m97dMW8ulMkhXZpwgVI2+440hePaIt8HmAVuoakY3/i5xmrNalpqxNQCaCkGovyzdcT8fmnG81YpVOpyISMr/pL2HQ7e8LVgoXtOCJlvQX7dOHu3C40StUPaA8dGzv7JvoOdbgFRIRy0zAOI80hlfkjZ2SSUzufYZP6NdvHupQ+NJeXInUawj90TXov0jeboP2+UipZH6fX9Oj6nZhJCzRClvyO4xHRc1HBKAbZvpxqTyLKoomzpopjzPnDf4niLDiFUjtwwY0+xGcx0mZXxmEsKUxHP2mRurGCmUoQYDAfKe37yVskz7BWrrQkTKY59BMfVHECTx+yeXOrZhZMS6R/DQqSDeVy+tQafJtRoL3BIf0eicuKeD6YTDtHt/2UvQTMaXnJyZHDdHpv94GagOhDkWxq5E4f94U90vUe2KDOcwzxoXVtrjK6P3yvpxU5vfUpxPjY/A22Xq0HSm2bLbBaqENEvWH13Mp2QDMFej3MEbECwpGLA9CEk997Hy5SEE7pRTcyrvoQYFXwVfKxV/Edf9JrcnXguW4HxObg3UmxNaKC+s0ONnnQoniw3hG0l2Uzfh6n6BNjAHRmM3WTb0Xm2cC2NkwyaWznjT8Um5hTCOHfW9g0akzDWPTATK8YBY+alp4o/jgOHa2Ki0Essd7aUrJ2/CVp0o62yUDoDkFgkQXNd5T1BNAywX6AjucFkr1Uhoqzmm4e+98VtCb1ul0ib4YqTJM9c7WyOKhjyfOyxJcYFHaTinKivUbX/jtYHZnXq1zjWziNNeWmX70Tia7/nGCFUQbcOIH4sbRzlG9l1HvM5k+S5If/AxIkBvn5zER2FX9nj0VgD7PHOj+Fhu8NnKXQozxmX3reYRrV86rWUJ/IKlPsGaMEoA4//rSLRUjIkxGlC94d7svy/SRNySpPHoyI3ZSS9fJlXu80p0Met6q56hFTGg4at1JcgS5tNlvKsKxe1CKdsaEEvU9MHRnoDdLCVuhQFv+8NWmrln+eQEQD+AqpzqLi7PZNVLdpt2Lv2Sn+Z9OjLENzywFhqlD6V0A9pkkNH/IAhD1uuDtgzFw8k25R9VbyY3nB/x+21jj28tc6hkUDOpc7gDlrfwtB0XFMIJbM4N070hljsuv8bEMJGrOkWY8Qe2ps8QCUfyqom+BE2GOm1ca+4NVf8+ZeeREzY1XFB17CJADYcqLDAT94Gln5k8E9IMWLNJ/l9ObbxG81xzIGsaCjCIS+JWj4t4GbrIgDcBaEKcTC4roRqIh0cJrC8/+19NcgofMZ323YcU5ehOjOnChCdao8324I8zhhdrdSVDgdiZonBOcAdCdS01+eRJj8qQvD2nRvaxBhSz+cTdgrGjd7nqEHFp7mVM+nSE10tq3OVbxWheKoR/W9Ir6qcpfNNEASywUu4ak8ooHMS6AopcjVVnpPI7dL6lRRiRBcNN46jQtBZikTy5R2NQzQpJi18ck21rlHs2MD3D1YZdk2m7EHO2irSi2mRviSoshRNggkHqa0FrImZExoeCsStwZOz8wEarV6ggFkpXmicimi/fbfIsgfhAKyiuDgo1Rtv/NvgznMJjvADzEyhMuW2z/2lzLIeJQEBFM+gKkVu1EmgIRGEhF94cOqTiu2soNFYMyqRWGNlIQszzN0RTJ+T+uXGzWHzU17dEOeQXGus0hXrv1Sai0xFl/HH8weJkohvbEBVqyzvSnXtittaw9swUNDWhmdE+VOMTSWa8EhKL5fz/ftGVETN6y/AKNHIGjwf3pA47Hi3uv0oD/wLYPF/GSvAGhVDFXRqEwVQmW/gGfkYawYsy2yJydAp9CX4wEBtHXU5HerNeZlFldvSw6uYxy1faj+51/mWqB7FppxfdELKY3Ub62IOimxY8yiiY6tcIVoYLQtx4QTnYC6kP8s2ANqB2KSdOFEpgiK5r4MKsXonVJWbDFroyOmOdhN3Jcdu1+/cPIZK/J1rheokBtgoLsO62l79jvzJJRSHPv6A/3uzrsCOQBWV6QwYwPlW0CUh7hyGfF3u/5Q1VCcBglhLlWDkwhIhhxKqG7yrHkNwumDhIJ/5PabLo5TDmNQf/emdohZ5OdREW6RTadye90ZG+xdm8Wao4LRSEUh+OPUZvUCjmHh1kK+3zqmdmZhfqQu6s7srUSmKefrxEqRkN7YGMYe1B/FifGTtXsMss5B+ssknvWXwKH1/Pmab2l/QPCys8me0jZik3qzC97QyKg4OTG50wnLr4XWqJBMHZYfMq18Xs10hQXiHhVjUKRsbKLzSOtkVapJdjLaDeGguyOsDCys9r7kt8Sc4IYK+/eLgSV9sC85PJnz/JxuXD34cpoQ0bXfbG+zXAkmYhgYa6sEJcNmVlz36uz5yAqgZ0O0G07JdKDYdcPVOWuO5+oUAsYYFJZWIeaV7yKvTfwhjHZ0jgPLE19ric4cYdYKXWszDxJ0ltWF7LqY4nMhJcvzkzXqUd7G6riR3bbOzNCg557wawgp/ZbgSO0A+W8vmmGjxe1iHE32GXkzhJqYU8LLlylVhB1sIadgGS4Pvzbck+Y5uZ604K9ScS4mF1QgujTobSl9qoiYqo211JuQVBPWR8V6Ebq56mhasgA5rpIc6AAPi1OjXop+7x0Ud34GxLP6BJKQHpzlWX7xXgA/DuvsLjjs1Vrz3qxNuJZ8o9GqTfpnD1nHMAGPX37ncIJ0bG6s/+cHsNE16w33dX7TRwYnVkjSv7GAaN5ewyiRxX0ugdDea3eIMUVXrLjtgGy/XJtLNOH/5793LwVunwaY4NcYRkwokuZYbN0YmSiLu9041MnCKpBbecHa5Ym2lPQGyRnkgTsezgPdTctAmVMOELIQtP5HHorpwxWZrff4u+laiht6/XB9VDQH0Ro0J6/XvFH9JvJeZiFGn4e/jAi3m7p0+DdtK2LXOooK7hbYw4Jc0wIiUs3I79D5bmxUWryMQqW6OzAFvJza09eXH/YeD303Rkxs3Cj2/zm+aDaMCmX5iPtpl/2Hq+yTFD96DSTAAMSedoxwn2iYyBhTjhddkr9c0rjm3dz6MH7uzFDjTx0nMvAA57dwF/geRy238IT3eUZnbnOkFIDDl53vfGjXJTxCDcXp7NNXE8lmRnLASyZm3eM6sqdO1MSV8kt9qgDerD7Bvced/kmX3OUmtHX58y//rEepItBok/ZwyJp8Rw/8qJ2SDJNfkAAKxDc4aPAXGcP6h7hqr4Q2tgkmL2edfDV0d67YdDvCTESXpIGLhFzP9uuuAtBs1OL+kkw3dWQJkzw1makDq0Fxu/DZlU/yUhHxwJoHGkVSVLUFXnZCQ0CORSdPCJ/ayyq47u7BlID8ZumyrM431gWHFeWn2cFXELV2xypoRFh8t706NEf65luDpguf9pQfzZSQFaAcu8U4qR59RGFH3Jf8bQ4PA7v/2iSzduji+wEkVUWncmXMTKLpUi7YM62G5WqN4jD98XJXm4CyfVn0Ey2C/c/vnNk6Ku8lNfsbHh3v5hgBwxgZXSMjRaTglSdZJpPOPnCDWxtm9U87idWlmK4jRwjHT0cIzQ5a/g52WicPItY3f/NqekXXA3Z1UtdWObKGiUyGClMLgKNqCVCl/lkLHqwDBsIEiyBYzF4n5IK/ERa7Mvpml0/xvqlju5uqPS7DJLuZOJTbhAUQbZpbr4REqvdRmNE9BpOGIOIkSRQLP53gS/QS1nxyaRQn2f0FSS6ksx94uruZp872VLuDL/slVdjZwgPKK16vLSBcChcOso/SBzDx0xEdis7qcozHhF7HV8tausVI87FQ4/9neA5wuVl1OIuySzlLG6ZcKSPPMNy53IFAERMIXEX0XbOWHV0lazCrWusGeYr6pPr/TxiLbN/pa3ZN7tKnYj51g4LIFoAoHfW5XefSs52WWZ68+e75XMOlSstAAdCDJ/BfY5DRqhgeKseBfRnFH5VYEAoUoAdjLmIbcm4YEHhtLcapZ9PW2Ej1oMhjll/Hbw7xTqOCVgG9XG42FY8gGJct+JBXlmALa7F1hzcBbRJRSCprsZJTENj+Y9/HHvvQjTu8F76bS/lzk7WNG4L2uDh+uflr2kppxX/O+16lFs6sV5EDh6Daj0ZuWn2dllE4rmsdoE1XfSYqDTAohDYk2D3vIn26/V/pTH4S5DSPNSKlHvI12D2/G0Os8sllo1/ttHAmmabvFUNDn/fxCoxLera8svye9iAYgi/XYkdr2qqskiH8Gfvsj1tcAn5/SsQ+1lpoaZpWBgYw+cb+fXnF3pCA3FkYSmh163WnL6oROSP4UzEOYuRCXk6A9mlttdmfNQ71OujW9suA0ZEwJqK0qzGIBksW3scRPkK2LZ5dqMJeH13nBj3vYp4kCRJpyZctIc3O86vxfp5Yv3Q1ji163Z01YP6Hy5eBKf1JQRhxYpG+unCxu1YQAzNetdahKfBnccvKxtWO3JhWR5/QGvFXgMfSmzOdzuFwGf9Q5BX2lfYwB5fSTtYqCX3IDHy/gUzlZ4oGIPKUjiGIYQkWTI1pzOBQCm+9Qr9Giv54SBIvO8oMYtcQkPUmzqksIkNJwym1EXc4hLydDJYkHnIVDrD2OVG6w0ZylI1QVMunJten4al6nHjMJjLLfsQzl3/2XFr9vMeykGXC8VKD11mFqIVpBz6uGH3e6vbkVu1jBz9SnCP9E/bOYwZ7alB6oxSb/BIUZeoAO1BZKG68tWJHObUm2BN/wEQBqbksJ4t7aKKtiprExeeqvMm7VBmKIIQDX65Sf31SwqoO4AQlqOt4otUplnzUIWxm5wqQrMZgVwbxZHA4TK1b3aaV8l7aijxaCagA6cnM6Hr7H9MUMrXYeYqrAo/ziQhIQ6w6gpf+4Kg7oJpbk9vliwJ/OEsDAsCuMHrgQEVJpMSsEmGnKGzX6UdWI0bR2GS2a7ZdtPROElaNTwj4lflsYQIfg6ZYHL54CzO+10xaTsyV3WBA+PWPLsyXx9seIDxug4z4b5stvjaHORwtDL9JTHXmwfGosASIV2HQKt3aJbkGqE15jkcv4Fxnrkx5T1Mg/iARwQPbI135wr1dSTdB4bs2qCiZZsSP2fmH+OEJwWLAgp2q/4PKTKu0rj8t+/rELXhIlXDpE+b1rxFU3Cj+fKbUFcujOQgkcwjH8mVB4Zsiyd/5IqE00RBzPn7/WRtiDhaVcRLsZJgfeo1yaHGAdl5rQK1niKU2YUTrRKRX2zzD9n0Pu/AiDBnmpCPkvQhMn5c6vzUUVLpphdFBtLF4/65eHw/LGfX5EkKFOkdR6ombiTflBisKsTS0X3uuzgR7/54MJL6tov5afS7U6imp6WCLDD+AbNsjMz1pykg7WULLEeTK2LPoOqWUyr39w/MtQfWSGfWBk7hLHySWY6zmN3B+AzMaTBxHaJYHVnEXR9l+ZXRYkUALnNQDcBoEx62ISg6DnlfCx4MlNYSvXycvDncCYO6k/69JDvKa4K881RSQgRTB4JAc5/RhR9dDqnQdqumOnrORQySgw8ipFBsntMZfADC1/rLNq8+ef96TCe6r0JQsCcpbo6bQXkEPk69fZUMdABh9+tIgUKv78vyCta8Ln+sFBwfl3PUi7jVTidxTyiVQI3ObZx7/TZuLBfWtkPcDRVGsIkvEbzNK7NeGxVLSohPdU9qmiIX14edd3K3dk6iDaB6BqBiyGi4o9CEz4ChGfotA8AGrd2qM7wco3eyrpz8IYea+Azhx9ZOApcUDFTbllaXzblAu8IgB6GHgbLuHsbkWASFFmTuEpxaEgv9AGkyuQVuRz7bY40QvyP6EXt6868SaJdnyTTP8vme0rCIFx53fLkxcUFVmtUtK3A10oQ4SHJWwDtbUqWubehlk2+qYjNIIgGU56gzUGT31qAY41eoZF/wWdn5Qi7N1pdi+cmCn1trwpWtl+ArjIatMtkp3pSOQufr3If2RYVeh48tLRc+F6Aj+kR+5EuURctO19oXVc1cubFLuDecrPJsceP8dxErWHdxEuUWulnk6pUZTAYDZxpAKNLwgvCraiRsPv1SftQwFQ+OlLznGp+4F3otWl9yatb27NlK3j/q0ytJDwdCM87WWgniGXYMcBu8u8YrrF0aE2JCRR9d2X4MVz6y7pKDIqA6c5HBABT+bTTKwAkajI/hpXoYuu7gDIeLaSzIwErSv8JUopwkC/1j/+mVrkXKAvMR8aPtkVLK32st0R+SLKKVzunpjBLNNf9m/alMBbnRB5w17o7wK0L9K8VVlYQxsOEH9Y5N9uoZVl8XOBFQ1Sx7DaD4jcVxYL0uzPk17O2tB+SY8HnbONYAoXTzmIS0mJmq7grIK7DSpx+AXHxgpunZd7dtxMs1Td6ZqdxIFDG8p5GaMTQMAbMsKsahFwz6FEQqo+2MP1KUSqtMinXgfiq/nwcPiX8Tyb9vnPMETyFnF8yjHic8VzEG4bsSdve6cSaDGKoxYJW1rdS84W8SKBNu+HKPKhqd/WE2UgR8ujeB71lx3SQjx8GneAnMBDDv03fALbMxxNA1zLHl0sS3o1SpXPvWWMj7TaAltCMZI9yxBPfVbvvCBG49ij6YeJCC3pigTLshdhn5t0PBVN9uA8/1Y5CVokvjISRwSyCAN4xFLodpkBTpS+Acmgo9pLSCREIZBYroTKClnvRZ1oInrsYLjWQVAdjKwoSJqfIcDvNVc8iXP89kI58PYwDYt3YCD8FKIBEA5/PlVw5d493Eqw4yXren1Td6i9cA+/7D2RhAzsxp3qOzke8t1aGZjXc31hoIdnAmlwVzLwBQX95Vi/azZRRVgOZepFWYlrj3Qs0C0W3eWXxcS72lUyDYAToMMklsguFNBeEHSAdMDGeX8kER81rrH8dkrXaxeH6saQrTzHrAsjRZ5N1rUaHgJXgN/96COnWENfoqfcT+EQrYm3fZKME0EsqOqz5iEQZ2y6Y6V9PZDqL4JUc7gdq6k4S0xQ99VVemqJsHunT1Uq5EGOwFF+YxbHKC0O3Q9Wvj/zqU5r/BdmwzevWojwZcGv+L+N1a6Xvmq3PFpJgpppbdJuAgrYSmo8eB4DtkJBpLN/r34G6XTRaTqTGU4dkd4Dczij5/XeARsxe68LMV8pZkUAcgB84AYrKyF0TFH98BaLcfqIkdoxD2r+JtkDaTgy0CEI8jFjeWo5Ru0CQhjL1rz2Ik/vDihsQ2YceE0GPlvRvGd5sFBJ7V6ce1od59RC2Nui+AMNNhLLbdR0nGRX2fwaO70XxduJpuIkdO4zloyxZ6gaX/6bIziw8qrz5JnyXXd+IHe+uu8hgVuP9P6lFQ6/ijkMkaIqALrNVt/E/NrlEkVv93j3lsKRCk5fM5Zmviyh2NEPB020YX8Mvdol+F8WzsxFfys7mg2aMU+jIcfaZ3s4DJs0Hvc7WUeO8Qq/tcduIR9fgyy//3MZYVnNnZM2vTWwfX7EyBIKKBIv7mWaLLPcMl9gBoLRNe1Gg7YepJKDiKRLM+ow1huJjdynKCKl0Ap+UIFBIzlN6mL0X+PPqLFl3itEx2Vl5A11bFqXn5hHMxQhEzOU7SdmAx2554YOt85Lm2JflurjeYFGlAsvkdGETxfLgFEdp9/wVi2djZRxTATRbID7yXxT6Pf5WZx3WmfRf1+REBdwHLo9tn8FUUmcGUORA1IpZ1fF+lPmKTVyc1565oLGKZeNQDjpPqPpNWHRB10lip+8/urFpfO5EpN2fmcc4qVWjb0V5WE+JVEAWK9M1rkrDAMPv77/QUriBzIssOWmzswPFeUEF3GL3wEAk9wJja9A5Oeq0zs3UPQIcvvZm0vgtxaGvQ+Oxo2zLtOqwukdAsbsrhTkJL8FbzWZoVBcyIVsYPPlSBIyg3ulEE61QXNKZ5iFXVkzwadZwgBBIbEUTAaHIyhCG8FxPRl4T5TX3ZYlaggCLkQxgoT/CgOdflNCd6FrKycTLsvdV8sdORA3Uo243esBLmlb4rm6XcuJa8Wh4VSpTXxYdW1y1CQPtMu1aUcRb/s1C28+1DRDFetBL2qJIH1nBbdGB+0klAx+JtdqnuzA8pn26ifBdWKGQW3HWSRPWF4suk7uKaF0BVNRC/T04iQ7gTuCrJ6FLcF+Bqhy1Up2ZN8lrcJW6MI9/gcIqMhy87LyBkvH3lyadOQWn+5ArqQx/eRGoYRavLKXW20HfP2OSm8ukiEFUlKLIMZpsNIThPw+3EDcmdlv83kKoe3ydDbX5xlM1QxKjcHN3otX/sS1A0zi4AqBz8FdSt1YEVmZCOdf0oet5mFtynWu1OyXwNURnV0zdUQTE065RJ9zUXE9kRSwMBk0s5+23Scjc7m6QFY/AGZCjDyjC7Grvzv7/EIIhonEQuUDmNXH3KIV8BhBymbG66d4gOg8wDF+rjCcLnfLjydH0qvGxG8yWHARzqYwPye0hGIhJTOV/VmD9YnlXymcizxdhVE764Xn8p2neO2FUR+dnur2jTVwsErLBCVoSneEJYnkHfwZ71hi0FqslflHuS/uZ2zhj9GOqRmh/KWiNrkNNXQWN4Ykw0z/2evbTcm2LHiYppbreGfX+PA2Js+hsfORZCwpspqiZIVl2HCMPD8wihYHyv1x08Zu6SrrHqnVWGSmYhNYrIPL+o4uUJ55NcgapTohBrGCELdNhrNZsMJze2MiUuJfgz/JZJFeHpRZaMLBjiVdgcHwkd9RnMyd0ulhZMsh7EfooL4KWgJYqXcYRedufoY16JmYGouxhd2tbZgH53z6dcltLmWAm/q1qH0+RJPwFE5lZJomSvXRPdXisgIct8z8djAjNcjCrEWQKO41AWsxICKPJ1H2tWDAdro/y7UOoL0VTZxuUKnKndzxNZvpyeTR8PJP7HE9mA4fLm68Xh3HWDLVics/CDcxaPmParlObjRUZLQG5LbmX32+ubzX/Nc+E6/90biyetnKSWSJ9qooxoNFNdtMnGraSfmVegXc4r8yrjFzEONWER/7s/HznkmiUhQFve3oWPtNki8mMU3EJYbfx/TaFAe0v9Zi+dDNy+fD+CeYbytBlSWKFaiir7b4pJUm4iiEGI3jaSZsMvqtTXJdDil/ZrgWDaCE4J5VvMxfd3l7Of8fBNwOdP/h5JlakLzZRDwHLYYWqTC+CG30/QwekGeZbE1D+352nCaRJ4vMwIJ2pcwL6GY9q+cL9veqQHnoBFavnB5pb/kz3M5olrxmmARirR8fwtRUOqVy/T43Cee3ubQgppGOnVtPM1MiK0guCLq0MIVd8c/gsoJrTDiiBHqSxRNp/3HgTuIXfw3c11beaI4S+tusjzSAkWooDaVR5Iok1Ot2c/EYZtjJ3ZRYmHMp11BQ1YUqB5XnEekbcoDG2JcxrlhbOglwai/eOjl5U0aXuslEqWFeudXhYvTJ37ZR+ZgItT53QW6PfwmZc93CEl6nHGCulOHxY7I97UxyoNRxec+w5DLeDL2+M3Ye/5XKA839zJgIkn0GtQ0VHo3rZrWOzBGgoojM4xI5YO3BM6l+jEHYCNp6XwvxQs2nbM3+q8986TvU3wqE3wfWJJ9Cloe2meEgruwgewLiyCrUZBOFJtmVnaNYNqrdgdpMS6fT4dQD9rjk7/oVTqnSnbRO6Y/fe+NGkrSuKUXj1bBQHn+2YfVfXzxzahIh2htFqBRvHGMV3P4hoT/Kv/PZpaQVPoXcDZFFyEqsS+VFEiOBHxKKNKGihjTejrKDAmo3wBLlyeznM7QpDyxENT21S6wo3WPMMy/UwQ0DOZ6pICDpwe5/6jAB8H+KjSBkmmBJcZLmYr5siiDn2N7Qh59APx7dJKBgCZpjjA3UYrqF6RUZj5DraE99IMDYQRrrVXwgP99VKTzx68+ssuEv0eBekzJm7J6EgHe//jtrCE0ImMgoXgxuHHfbvKhfMhDhUs3BWvGdIT2j4dplmC/O12GD5ib+s7apdqH11bpQK0qnhxyK30hfqfn52+mf8T1QQbWaDbYsIf2huEHCz7WrQM1VBQeotVbxHxi3DtFFSKx7o6P92bk04Jdtq87gx5vfwCEtXy47fmMJu1NwqcFGwd/H/JNGg0FRIEcGvISl3rZ/Iign8gedjyFQ5t0fEQkoIs3s4mNo2aEsm0R09r87/ONXSFWbixJ0GmN3SoLVKIokEammCXT979tuPlwyfJS4qnols5KPqZZ/bL5rJ/hWlu42q+NZgR/J2pAw2Iz6iExP3ZIckiDPSEWLoJktla5z1Kw2zZweoX4iCsoDPsQsF8swrOu9r6sJpFfkDrQ/DI4r4ebrcMz2Mp5Em2fMYvpkBvpbAZOb0BwEBo3V4VsDSprS5ChULSmw/1sy+tRTmzIJdxPy5Pn10+Ex3iONuZIWvy4sZuV9bASYxaOAftuMVSwJTYpe3ppTf5AdglZe3q/IT/jda4uPTVtSQyJ2rl/7YvdHLyA68VOTXo/ya22/xPne/xOAUXZuZZh0q7uWTHBOPgvj/zSZWcJPIpOaiTIMwhZoIpGjULaSdHBUFDkj9R5qklinIxe7nXS9HgMQ0/zyY640xyefL/YDGauaEWJcwOE/Sc0PGOknhaIdaqJZUUV0iIqMj+5MuTBJWOEzliGIXVWs82jYcDydi/MLFgdBlKIHpnuvvfOxBL3gENUJzTmgBzumbE9USVk2328dmL4R3U0YLK9JL+0fa3Q/t+Yk6UUz+5s/PMZB9GaPQUxus/oWCPTJEmmbeKXuXkIFCLpKNq+fL6VXUkwItxFv708PECc4Y9g7uqBs0aKIHuvvgmuxcb2eUDvE/0A/4hPGSRsw1xf+Br6kFLdZKPVS0WAu4igo0YbCPPkpxt3UpGiHvDhwAW5xRmGF6nH9+RfRluk2HAoaaEg8z8sAyV/PaAqUOJ+BApi+FnNzH0puPEkptjECBrOym2m/UtAeYZB0TBAjnhKJftv1RojNF4k4orIH9sV8Ol3asjmRuX87kkSjfuLqhiSISF/0fWli1+p8AwecJ17VwTHIkBZlOKpemkZDwZkdaqf/H+AzwkelfJh7lm8VDoJSwf0qQJ5qKNl2uTMeSfsSh4GVjWEYzD2eWagPAr+oy8be7m80D/4mZmnlNA4uG2vHN4yn5HdmrTN6P1Th+at/KF2+eId7XQOtFAiI0MazG/ZhXV6EKvx8IRd7tLg/YjFbtjsMn6jUlNSxULjc2VR83zKflTQp+Cb0sbob3lD1CtYyEf+njmbWMNO7Sqc3ddx0ti2M9j2dF27GhxoEVP9wsO+lga4BeGVCIafLqUbwhGxAjclHNlcbLZ9Jw2h1Tgww8Nb/VGvtWGQ1s6j6M9d9vEvPW2yOs4PamQt0fHHla4np2IkTQJWO2E7F2S47w0lY6QI8zDI1Y85fzcRbgrs2UjIM8ixMS/TAEPhWyYUZU/O7Sgb6ivL1wQoUNRqeVLs838AtKm6Ll0AvqjpnBMznK/ODpH1LETFJRghdc56TKXyokIlnEnLCDiwKGJT9rXwfYL1F//p9jzUYnkI0R0vbOerFCSL8Oh0MpetACSDvmkooxGZ0V9jM3TLU0VFcjac8i1U81Unr/ouGgefYCnUaJoE//6e4Xv7aMJBMi7brjb1mYmjhzWE1D6pRx+NCohwoX/6Y2ECYNbiYCtP22DODfirT2OD5dHPbpTC/sKmkilGANz22E1I3nyZ7q3Pg8LTirIZm9I1k39QTsZan2IESB+yJ3ZTXSIW1MZa1Thq2mefc8MleMZfSbFQkNclScR0vSbnJCZYv+r04rmh/vMp6tSeC/wPlkiOyAEi0qIxI4rpgnDNwJpVHFNiDI4z3FLSqV6JtpOVYkaiZidwqRR13oePcTq5wI16IkBfzKnCoWH6h3KMxD5hETFqn21HgG0GzK0B7bJIBcDbm256QRJyr4Dl5Xc+QI2kesYZK9KIkJR484PHLAmRnyi4G4ZmRPNgkMgxm8yNbpFbf9Ctw/WZxrI3FzPrSaPcqPUSvSQVhK6OY9amxp1iViftHWIRREn77RNHl4AsTOCmgEIaJ2KOcEC6EuabfARKVXVbBlhXYpu4OlLDrsvfkezNvmlBFMaCO1OaNCgw3cvKwXFuV37DQZCvQ4QYFWGTLvQvPT0iJC78Q9kX3PAXm7KjZd1fdQx7Vbw5I35bfbdVosm5z14j4TULtmqz1Li55NCBjQ15YYfyxGa97UprXPOM8obsfX/rU3wU0xRf2ZcqkQ7Tkhl58lpEQqhuSju1qyEOuMRbyB0dgkyx6vn7LQ0IdlDcpFb1ouBiCQjYrKALGwDarCHziD4z+HEWqz3o6J5STX6WH8vF10sMIWkpvn7jLnNDBuCTBKRsF6DMYO8SzTkCrOlAUDJfVhNfoqjlH/zjoz17nso9buP8H7ycO74g8/XAbZQlUD5HsoXoLiObqxoggi+nq6ATo60esKKVoCRruY5t2FFYDRkXJwgTBTzTbv7/2zkuceg0L3MWNNCAxtR+Pz0Vuz5zG0R67gJlIO97u2woDoxo/3QzzycjHNCnC1/bs4RISJz8QzHUe5L0TpTECLDpp4mjwmhKcu5i/IQEOdnXg+z5Z/ef/4ePioIPzKClW9wrr14ppmT7BD4mlH/Uhz4g8lLwjcQu47QU4pM5U++JvgIppSRSeyi2gxQQqSsEHNWWbNoXnTdPH4t2h2wqX6AUma9Z+s3/7lhmNudGCAJe8gvYBBtRdYMeNYuTRReJ/XcYstX0t95rHxd6AnY58pHp9eVO7fNorDJOSXN7pnGayeXXkV/HoFmR/Bk2MKWVN+Q5VvH/oufeaJBYoHdOZ94xKW7nyQz/9yTwQ+2I2ABCx6j3e+zatPeUUvX1DmerKTf0bAEdcnKXR88buRIpfWst/gtInSHx6fUWDATkaHK43R0Yq8HypkNbJ/ja4b2FSrJum9o4jIipTXAAOoY5orQvNG33ZRS8AIKsJG013O/peUgcxDUKyiwt4otebn02y5mKu+bNXbcVz2pLfho05F3qeJW7FYcAu8LgLehQCjz8KpKsf7g5BatOwg3fp0vqkH44ZZM585b5kHYoEvJi/eUjG5EaNDjdH09pNNFBZnvd7LbXvmMzRJxYUHLj8B1IO1D+EBTVWhKlgrSyfj/lplpbAZMjwZZClSqVI6w9HPPiKeVEiEHcv/MF9XN8bjewxIILMFLRLn/qXgwnw+AmUy9jvAxwsg3bPxY5ng/s18amw2L7fsebZ+5SpjBH4xfSvGpeHASYDZBt9+PUAsMvnbEnvAEEP4INnl7A9w+rpZvBo/Nclj2KnpOGHOsO1RK3S2KwGhz7zMIhdvbIwr/1AUaIV2gdam3JuIWEaGuJPk38CQ4hhG2nFT/adICGttrL4FKylnpF0ID5AUsKKEyhn689PdmP/hGPVtZMryrvKETSIsjDrtfYLexyiQStJ0gx9fcBwM3oq1qqsWm/+SqrEcGeu52xEFbEsJ7WRWArAQEuULIawkPlFTY/XwHPbxMe5p15DikpJKWwKpKpBzJYAEjpN+mmjqBUkrblJ8IhdxlLOmwaFHa5j5gaA1SUk/2smxLJkWbCYAzhDb5IzV06IMFHkl5uw3bNPbDG3Fm2AtAeajjHq086CVqgnyjyy5XdDkFd0hvM96MWX9cI6uUkWy+mGNuJzysu54ilGoWacrzXawGbtVpRdtPBawLnnKYyyVGOMntqbg9Gqr32j44cZKChqBOUEt+TGIkzV+L8TshlQX7qbzzGwbWk9GHU2Bi8DkFgOyKHpubIPUC+lKnCKXtPbITv9sJJYj0Z09CWD6gaYmva4azca4kJhjOkc5aQ6tsddIwzwQeBdg5nsbvhgUQ72e8KGzMREhhJkBQkYtpOZwiVh9Pdor9oBxztKpMexdt7TUJ6HgZg/Hye6xTBesz2521PXTq0cz/QI/deKkXCF4qSeTiMw6x6O24LHEUUPvfx7TyXHnSSErd/skMQPr9eks1/jzdH/Ff86xE2rU7OXAMfvgMfbL2OfzE6fqsq3dZrRMgG0AlITjasWvJrU5SOs5RRdXEhkR0CHu7IAa9BESZpiX/C/QAtbFAp6rQXvUHmpSYK+T1hkzfvPIlYYhHwg5hccbyLK4IQ+1boMqb3B/EDaryifPkSiKHxQ7UNanBFGKv8IOQwGEO5YELOFhoMXyhEG8WRy1FhCS6B5jCFpiBVvYx9z1Le+iVATSc5JDmzI9WMTEbd0EKQaRjcnLwkYZ4IGOKHxzmXW7wGNqwUXiHI3qir+hsBkmk4byh9BvMhg9NNBdzYM5OdlvN3lXm+GyTKYJvRxuXtn6K8AQOrF38aE6GojynULy8zoJLqhAfnbpjYTxdMj8nKw5lz1RZaPOZV+luMbqzU3khkL1dirMhHvQ0DyX8tOsTGfc5S0257xlYkiltlBRCsedPhAG5jGZ+mX7C9ZuMDYJ8ezkt7FsQLTRn9dbsk8rSgI0shtgz+7WVkReM8WHPW9AVcKvQ6UtoNNhyA5IfaaQQK3QvkikJzm+YgIbMUx2Y0LiWr1Frq+OWmuPazBuipoY1Uey4p5zxula8GAqr+Qw2LqzT+HTMCcpEmfA0Rdz1NWU0ac62IKhlRrkU/xQWQ13aUf97jafeGEI2cs3snKPA2AUAjQBLyFF/RtmOhi3aPuQh27GIdLwMfkV1jfzITKsIfWeSzJS0X+HjokE9cc3YX1FqCEI0WdDuc0nJI4Hz8pmpbeTEdGd4itYnC9vizUo87dXnbEHW0M+mFulqsXjML/d0ZbxJ+Z0w5VFbLntgbpDKdqfdNayaobClDyP4blDBZG3hNH/PXdMd99OWksjFIqy4QI32zGnYDHnyp/0l7SKb5Vl/ZY1/NDwZzIlaWKdBMWurM5MiFYOS41e01HUwJtOnNBDSIbT2eT7W6v86/9+P2Zm5yGmLug1SaY9kvJI+Gpzm6s7Y+/ktFJV6j3oQM8lgfkX98OCKcycu5wpixwP4gF+zV1XKbjNEHJuHDoOkPo7sOsPIeamqh73bmqjm6+7pj7pWqYaihlnCEDodGNyjE6rh0gbRuqwGxBN1bh2BxwNzVRbo1g0mimEtcda7u75rJ465i+PElfWm3lSkQBwErXPPC6SflHHR5HDd87diOJ8ag9CxS4dB24XvXQXHPpJbW+7hE6F0+pHdxqBgJQJHrtmQeC4EGN4Hpbke8Iu7V1B0nB6GKkaiExyoKazia9zsMfZ9yziCbakC2v5c0YWczi6bm6XstNqCtzdwzvEx6A1pDAsSuwfInl6g8ty6n+YGizD4TEJUEHw9veKc4HYsjLz0/GafC9U4YO4zPrLxu5jtplXAG610Hdz8wtxXkHq0k2WMpq+VuH8+Y0MLiKg7hyuq5qeLhVWp6G9ZidiqmJePbjtMpDXUYqKtPwtdQeoCQVqWO1Y7nk6cXDyiWSolnptOlxnSn/N8w//tvEewZELizoauksHTS7fi4bAvZEEugkS1g1SRwALiU9Ef7F+5KX+Q0kt9Iy/seGO1AwP+xIz+74dfIJgQkLq49s7S9KYYK2SinejTCxOrMYNa0z0YihcLDbruCgq6I4PmScNONzCma1NeV8L1P4/Yil7fC7yd386t1w+b/z0sL+3j95ji2G8OnZzKs5VZZvdIGWatjCRetcvG+KpiE6y8WtD3TP+BIDQ4Ogu6F9OmrCrBWqC2dXVZOevVaHJI9It+VAZkC0tpVjIcM8piw6XOCGDrhiS9A8hRYCHw0RjfusN8k7z8JtBMAFTBKItjwHuFQVoNP7Uw8oJNDsximtp+AQf+Wg5wWAIfY76IcH7/jbZsE98Y4zbFMobb+Bik+vsO68mmJd5ZYZIrFS9EYwSM2hzrT8Iax81VxcIuqdSgAD4ta7wfFTsChFFymagxdlmlyGIlmdLxpCymCR8wv0zt9DEiGsMXm/YS8MIe/poXHjL+RI5JbLMotaGKmiRuwzvfq5kJXTIfmQDY8bohGI1eeL1dLeePodyO0zl8jG6mN2gsAMU/tuBfHLdnhnPnkZN6gLO7U1kf7qBmiVh1eHBVHcWT80LW/Ro7tcrsg3vLqPYb170qntG/0gl4pUUCGu23jkM3WB+7o1AAf6qZRNbh3A5pFKHHIUQINQo4bA4GYOyV3gZTRl/w7qRG8gN4tYECwtB2RCD5y50m+6baeOEpsX58yJT7knT2l9s8/4jKYh+DwXbL94TXnfavhvXYZDB3lZ6KLFrtp3uGJpXCWFAVBULU4IByIzLQJiuOgWu4ufvx0vVnaUbHs2ns+Bt7CaWbAZI0dY8ZHK+x46wgQGt60jZ9sOuF+QgUdlSA8bVz8Ofp4hwtcWdU7ns0cFxR681Ahlq6WMYKAHOJjsoo7CJOu9xd2PXPthWmho9qnC/4f0ZGFjIVJgAIQby4L6XUm+cDYHMX6hG19nHcwGBv11kqFhnXeZoext6QciY9+pErqwsATR2D2JAkcBLR7zlq35ngv/VFmC6Bnzxiz1oFdkpWVezUDIIuy6FyJNIc3lqUeC/1W0+21O2Cm6BD0pzicMFx1vpX+3KPmnolcFONiE7KLlc7WupEJejw3+Rav5To97cAF8pBxrBu5sfBbE70bMq7Z0+zSqUBif0U187CIBzrs6eg/hPJpPNw99WxU34te+/QDABeCi6idGND1L66CT9aNVxve/Cnn3/X3r7gTqWhVQZrPvDLL0Rwxmf9sm1xo5OMoipQS0n59uBZ5+Pe2PsWaiu6FarGpYuth+ldQRCgCgMOg3L9yytD1lD3YnqJQ3VnoIzikGFlQ6vomVxKbW7ADadZLJ7OSaKgySBAq8EOMFcZkFjDQ3831SMG+SUwE0osgsoTke5J3ZC5OyWHCeD3B+e1JWWuHCx9EfmtgnHZeLPvyxdU0RU1r1tLJxnWEgrthG10J7gEbKjFmk2xPJmF6CDMhz1IJrNUkeSFWUo2/txfPCRlWxeTCkHGqhBdkNKnhKhGkf9mOZ8pEw8l6PrAVSceRJoosSWgOOil6aD5O6NRbj/+i4Oqdp4joQ/TuMP/IHQR3GvS06QaSz7Bg9y7F3AotZO8pVFIQ/X9nsuMO5uecksKf1o6xQ9/pzUANwCkEN02msB/1pZ5yiT3aYla36Agnnr2af/HG78XeEEV2ULoVAVZ5CTFTrjubUcLbjvuAX65jxZLuF6D6DpryOGfR8MNfMQ/nGXltGn+WDOZefXfJv9pqOmv22X3WNQXfXQuSNabyKEer++WTEJkzY7eGzkDC7uIGT2gCwB9l9tZJkMQrgp/3IJqxqbRaojGteUUILdlMbLkEbA3u1wRmzneIO68lio2PagML2EPjeNmn6uQoadTIXfPVGWHHUm3gch/vspAZ+vr/gdW43E8kowL/VLCtEQrGZiJAeDh1EdzEECuLDqLPX+Guc8l4XomWCDCLabiugxVQPhpe+FDG+j8suIdJo9CeEeo+jfvd5EM64z3cDMbkEia86V5jMd2NWl38eVOYrwJ1Sgg4fRCaX+zcFMsiAyDP3bci+CZN7EUlcHrv9zkT4ujXvUKbwW6AgsrkEs7RWBDHUszD4/wAUMvc/0gjBmDxIOipqjp9gSEZn//8HNoOrYgSMN5dodAMFw6snBswPNeLSOlZTdHOoKEj0aEYuuNE+Mm1UTNv5R96LlF1yWDb5vql5BYxwIHhm3Zl/ZLsXpXoFpl7nNByJglgCVz4qOf90XyCbet8W8O1WSvBlKaGZUxWwjPlSXPVH1DcJmfriXOkIqEZexrroj3oEe3M7pCwI1bLhv1esWmv1hGdhBiahdPSljpQquyzVfSzXELkX9c0sVU4neCMLMkERzg1dMKxoyFggMo+UNio3jeqUHH+nq1EWVKO/s/AgH6PJyOSLCOKrgyNxO55yhySKJkQPQFnk2FlaO9TNE3Zf1bEmCp0R53IOEkQ0naAp+NeyHJU/RxcMBSl3TdDjeqZU4L42jE+eyFXi+czFmu9BsvzQfgOXhFmFUqcHFkNUt9wfJqA0jao+rvYcTdGIQ+zO213oE19sb69R01JoeajvIYJ3wjR3GZnqLVOA2LGhC64epXT5dovbQBAw9dZ1Qb84n2mH06ufztCnfWXO7n+Vc19rzHDBXmwvi2weZLWHybcbIPm0AhVpKmDXhZYyseUvryU6YbCQEtxKACL+m+0bzyGE9aor0fC+vYieyOCzEb8o5eB/0hvYTrdaBaS3lW+UKApN65+P7kr7z62ihPotOIJDbQqsJ2NZJl+nuDgBUMJJoPS/keoFtAUDcURrCQRR+F7OXeyLTQGw96eVcM/oneK76Gmb3jyHpzITae6DUnOZAk4YNDHh9egcQUq+BNS2/7N7f4Jw/fbKXBmnSX2UEM40sCK14hcQkIqFtQIWSIdiOVV8urrmX/7E5mMsHxUt0qXWir67kn3ABKgBDQNn00BFD+hQf/MQ3bLvsOfPQ3nuY7s2+uOU3h+BU7TqSdJHf3f2PadkWmM1ISY2KwkEcuEBO9H/Zl36bWCUEv9JQxewVpPLGT1uVG+1LMwKnouq0ib7B4WN3/hMKGD+XV3Q7L+NLQtrM4n6L/vg7r7lKJS2jkstBHES+J56+zaon03MduPnpOp9s2ZyL/3br1C+AEYUsicpBq0gVl47RUzTUE9Gg1ExDA7WPaOHpy0FiW16dlIh2QpOYd8BJ620vmNq0jPWSHe+B1+M8i+R/g3498BlpxgN11OWGd7SyOgzoCxyJnMzZMJPv5TcxIZ+P6l8LDpaChfpLjo0lmgg2gQjIoqVfzB3FFVrn11Rpe5/8XhWe243eVViyUaPhQTwTSyop6jov37TeuF/kyTdIyBeIcB7Hut1HZJR5zK7iB50cdk7uQXjqMk7zH96MwqG3oN2opz5WwrU+qcDijqBP6W5EtpYW7OvOVv9bW1a6TO00l1nweXGVtecVXaPNGMgBl8C4PaO9a9PwCxFKZzb44JesE/4Gs1PZHGf/ekFWfPf2TDB82MyItQoOk5WTvpKv5lNOWlcMqey3mC0zFPwcfSna7OoYLJFgyx+9EBw7HNcsM2fwcfOr5q4/+tWAruFUY1q/x3nOGPkRExA4Zm9Gi8a5GUq7u0dZco2TMJm7imW93YG4c86WjkbrRYizfwvrfJNWmsWK3aW+twjV136/E2WIyppBsYg5BpeR9WYrxRrR9KcXpKJBLYIPtbsoK6KDkQLuBhrzDtRZqty77Sv33lT7C9d7O6oWVr9lH283GBy9/tA/GhyQoQdUGy/j6TYz00DGyaGe1qjdgAXvOEWd17VQqzJ9YYbhCvXpjqIb23Uu0BAedxzpw1+UbPgxXrqB42DhrSjHVjlMHhq+G0aXXcs/qHXvcL+wJ02FpftVwAikJMr8+ZBJ6CLxPr5oy+jiS/+OHuhHVDVCXLduqhUik0WMrfyw4Vlta39/C7S91W//5BN/BFp/HlgiumJk3iBFoWI3iy5owtelX59IFH0vBr7z53gWhd3aplX0m29p8TSD8sg21DjDPhA4sFhS23v9qwkaHhH1LUqD/O6LNcnSSlVokHpp/uKLUZeAnyc8zhjsjNsiXd9Z7/34W/nn0/zNN2Zh78YafeS4Q2rya7UTtSGfGx7pE11ZYc2FBwHtAXZ/ZveGmAF8DvYwdfDVG6UcRc5zet3EM9ju3d/a3TacQJ8od8MdbG5SGvuelzKysF9PO+g3jyEBzj2ShyBQULRLvsLh3Z1+EKOmtSgmV1ziMmbz6m0NBiUE7lCxxYPY867Z5DmdBWJ2WrSbB4uT7L5IS4IFadk2nCFv5ChNsWBq10vZmPmWe5qRQ5vEurIGicXy0RY78eLiMlDMcB2TSpaQp+VmB6LbtlN4cOyhnDW7Di/OjjV6J7WrjaAF9ESY0mdWU4rFJOj5pmIgeSsPK8gjc85Dnn8rtdBPNIbKvLdKCUguSycP4Df9+4oPw7YTIExRcsKqiXl5IbmK6z3WoJ1o4m7FeLK8BWGRJjzeqq2pQW9zUG9KE4ilPxKIv2XRAK1SHvOd5f/bE4KSQANvc0vLeD4NzOM8drqC3yRLZd8Df6Zkl/Cl8uzcDwtZsPCnw8fYr1ymqxeBTPSliKDPP0OiU1dEXQclS6VgN2Hgo7SpMqOY8HnynQFuCQAbKmwBq/N/dQalw/67ORTqL03sLvnesHwWZCO+zxHhBT0UtZRyYRMRcJCm0BjmOdsl3G+nTmQ1xNEUBDE9bCMKNN6erXu9JZQT91o0fVMZadwhPrMo2hCdpy3M8213366MB44HqitMuKmEGqWXKXuR34dxxwTo3r5m04/anhwlCfrbcoD9ZvTkKjmQ/nxT3G+IhqFrLRfEqk1LMeUfCzSIi5oe9c/sxF397bEusF37lxBtg0oXJ8wP+42wBJ0OOX5aI0ts3S20BCdb58TXCmD5Qx0w/fB1/h8TQeicrHzW8CslLEzyT6aN+MwC7lhFf+hJpd83b9gRW8AkmKSgKLyrEpp8VfmEHfTGowD5SNA0JMNETPZHPvgLgBlu2KTE/wRKmYxkKgjFK/7iMBvtmRmMdAXPJGf3OJoaWpoZDtcjqm2Cx/NPl0tqrsUu74yR5Qaol52u6EXemZ8zJaKBQwUBDgkRqw+XtYQ9gISIaj3vzTO9uQ1VHUNmDg9jLOwfiunU3pUobcY/uMJYOl4tjciLEe58x4nk+OPa2sn6HQyC+bN6jsaMeYtZIeEY7qyxpNbHe3UOi+L7qqGWTh2C1g4Iy7LFAcRvRcTDn+Ppyrr1/iWn9FIWBbKhWJjZZNpmTtjKVeI5BkExYsUG97bTLgUxBBUjNYmWuDHIFTRzQp4xnCRoayv63ZJteH4Lr2HtWTb2bWU+p1jXL1xgjqaqkY0M1jZAas2c1raa/mPf8OdlrzVITLI9qo3lPIgmsSwzXtG7DV+PKMRGLRuPVV+90G+jqm5D0JBMhEFffgQvAsgG6lXaC/dEJZVY1f1eZcGe5FhElLfm/PEHvd4djp8iMiMX3pbSrmweqz2IJ8a39KpUhJAP+5NDl5iY69uQV/6T5eT05vsr0amgtW6ACvdJZAzPoIEwR5QWAhbpeQHFCSyrHKCSC6bTzHnkG84Pu2huGkaHh7fDcnDbnSv7EoiQ2ehBgLdD4X1HG8t3dJFbewYesX2O/I2WoiIz2zKI70MfFYnV14UtdUh0Jr6nQtJaY70JyN/iqQQb81gYcd1dU2XJoGYaP6azms1blEbjPB/Tg65T57PNDGCRhCdet+ff8RqpF44sr2stW5RXKUSgX3oYs3bZ5Rp9/EUUrOjOOcILPn3nfQd6kYvb35GDD7IJlPSRuKJ+UXGrOKzn+uFDi5/5qQM67gt7YOd7F5vS3ju1QTkYC8ui0F8uZ6pTd3eynXF3q8LYzmGKar+nMy7ROmgaMPC6eu3BiLyhVzJyyAI0x3+84E6FrUAHXQ/3M0aqZj+wzI3gxleBoLNVOE3BjC6/84BaAqdDtIQLGdekmSTLKoF8ziIBdb39e3408hnhkNt5no1LpJntxUjxhOShxs6UFGcVdSHo0cw4aE1BYIMjM7xYNzCPUa1HR9QejZ5Hv0FrAWuGedRn5FGvwLCHzeQvVlh/ubPWZV7zhdqj5Jy7NE2cZbaE7OA4YpL4K/9AFHdoT3AIAH/+PKkG+3ISCgNz5AgUdtSZJ2g8eB9mPTsCNqEb6XXaqhVkAPW/E+JKKqs+TZT/FsmhYVMTj1OjGkIFS6L8dStbo+YCgWuMJ42jEmPLVDVIVO0rdWj1jC+V5XNl7TGOJXmCqUDTixcs9TsEmO2lq5iNv7QKVtgEaDQOQbUAmSzcEQJdouJgL/vlIX7tcn9ZJtJ94Uy/+ZpdwetNMCngqmAbUnKb83Gva13HEYvF8Q7YJg862Ot5c03vnb59QpeY60shwujkA+wyQvQPc7nWiYEZR7o4xn6vBRlaRsLrLB7aQWFwIJBb4YLFJBl+ZQKw8x9wzoVyAtvEfji4mpzqnI21bU/vA/UPUn9q6ABtv238TfL7g9fb4KYN1QGIEECC2rb6I91n3d4hvaG6n1x9+2saQOm69nu/5ap1fuaOh2SuB0u5rq2hf51ecWNlXzDxUHFB5bbaRXOFLWkIppksIeB5kkUDLvdxKYGq38fAOnwP+8EP9tLktvGfPlLcpge52mRVdA+924jKYnlypH8YIsyLcmtlRRYhue+GNtd6eS0RGxjK2NwPy3mSTPLO2+oxhTcPODMl1PpfPFHU6WlZHGezjhjt33tbIhLIZuNHy8oMVMDRE2rSVnzFdkRyUpu43o8sEyhCj/sgGcVokVw0ddIXAX+nvbHF+7ymmXPXnfmKj1aQOLUiuA8TZ/uXTzP30dOox1LZYc4aG8K/gG+QNgpS0wIUkxCb6hyJ7vy4BCS3AUtsaFFrQNljUD4FsdDLvonlJPpxHyvWzcuyA50gq9+2DpRSsO3HOHw90A9bR2fNxfZTgDB6u1LXF/CBXsfG+TLWpSv4ZYymTLjAp1vyoE2ZF3zWEJ7miHxCXlgPKza9Jds0564HEYwqChBNqAygt9mpFvV8rImFhXqkavA8jVaJ6WazqjHN1MQuqCiLig+AhIg3q33RI+STBv9ouLYPV2ARpOTBn9hF5YCB4HFOFcROrjv0DK+qGEMgJfpxdgrgUY7Abyxn49c38Z5O1LmuPmVxczxgQWrFawyoh/DSUxPSqMq+o9gKCCO2YcYFbhAe3c5kJHA8AWGPRxvjsHp80uJR8z1COAMIN7EIUWhNftgmX70TXg9mUQgwAOsS0JL3G8VfoqyCaZRoOqQkT3mAzVrL58n+A/yFKXBEmqbqF4UADnocOfEY8ltnicgIIIgMYZ3tCfRGoTdq4vMPnZVrMuVSgLdz7zSlCISJ1n/sbKFO+rl7W876s0xIcgNAlp/UwBGQXGkO9gjUc9eO5LDqudAfX6L5k1kAjlWZ3QMJgSkb3m8iRpmswwhhXg7ZxWSDR3+UBTr9JKf411iOFhgYQEOte0WaQ+v/8PLPpdnkdUhRbhfP63OnGoz5GbS3u0S3eIan+mFpQb7mV0x7AbjH4tkTuRWWwV7DQqwUNqOCvnBWN1BfVDMtQ6ZcUg0EVq4IaBbzxhPRjfsLqhGd1FMi8DHpruvhr17Q8C8DT8FppwK+tY+pjd6KdFkRvPmXTguR9c7lsug7SZ3YALA32M58MUBk+E0DO2PdyWExLrWKUEldDmwaM4c/Mz87zPRGjvK1cDNqX6rRcemMpIkbq1pwbYR5H93gkJW+pyMvQiy/2TiNMzm7yVMNN6e33C5HjPwPSd7sH2kxhO4hWLn0E2t7leuwBMHf8NR7IicJCNGbqn7g1+8lyRYglj5TXA2pt8Ntx9qUsxpA44lLitByZDOUP48CX83Bvi0n44h9qNI9cN2O81PsCJz+9CkFwvyUiJaCTeP9xO/N6KCatrlhoP9GDQqmQEZHzCo6sKTQC/6Enl5EQ4FU5RbhrztRTdES0irRvCjG7DJkWtibbBoK/8lBiyk5ZdHdA0myxZvdz9fTq/aH4WWB9Bf/rFSZCcc7BPZAwYDXwlj6fzHdgxdhM7eBMx9sotQQUI2830A24Z8A4/odxxOhcFboVfZ4GaqMHhGt+KrYCHcpcDi0rNfAOpgrBimBt78EWk61Zo7Fi+338VoYiaCCNyPk6Vpln8D2xbFjgw9JPMl6CE/8AIbXIE0cCtJK7XkJwmjOU+REmOpWRVXKxw11y/CQjV2kmz829hb8BK/hY4EVb//RER+dvb2VCVNeTxYIbywydpr7dlUBFjoMeplb7goAiCuYfTZyJG5hGneoW1oMMb2O/hBJ0F7rS8KcwQvwgGEXWpB9iua8k3B6yXb3LUOkifcyZTkVkNl8G78kr7EFDqzyLMXh9Is7bm2Lu188rAstl0UvNoHqe8s6ZeDmaPwZW1e0ZeBz6xpaP5AEqSE61NFHWCVXQkrPJxEWlBhu+wbR83nwtFE1FQj72DQ8JBLeyMod9DK1RMcA6CBzJ/eOgXBp3I3Q08llb04Th37eXmcV77TlvyqD5coLzBuxzBGALgnUcBsfYDae3Lay3MAUrxFuVMM6rXQB/WOEJrlY2ehl0JlvBI3dEXtgrPx7QyaZ0ChaAlPVcFqzYeaaYaD/VLrFPeVblEfLKBdoHGAZSBXZLds5pa/4bVlHiunVAG3dWtu1YPTvS6BeTN8Yh3qUBgSv0k5GydKkY6VA1xFkwspNLn3YS7Hwgs240M5iAI/YeSBALjjmvdwHtixecEkPwqS64He3z3e+cNaZTersQKMGZkYGK0ww4admtOaUnLLskV2AoN7eW3wRpkjNFDPU3R8pAQ2mJoGqrL5nixXFOKp6d6L1ucHjBsXAir6uCh3/cvRQ6qaOp6e+/VPPI2/W3Y7VEI2P5wbR4ErygzAk5rpDOyv1KVeySM/gZ+Jjv6NXNSa4KLkYhxkniYXYrFbLm4hTONEVoYikNGoVvXVu6G7k+sU0Xui8lUpoRxVEH54z6j5R4bCHExAJJ7PoOJWGfztqtt5iHTog5NQEkZorLWQ6MSgADFQkfqZuI2ZX8sAVxfbEvSk3D+jz0hecRyt8DrGJebZsZbEffh+rXhHcmnfJQ/YdTHA855kJy+GfGVXaevR2nG5hsWcmYAtCrZLGp4CvMQL1E69ZRAKkCN1Nq5aznuY15HcksSMktQj5N22v7+RgoLQ+owxTubIhLHr2nVH/Gad0ttsH8RPk//gRX5sxrF1G3qI1h6rLUAMXQ0GJT3tweT/Y/TbkBTt4ad3jcwQhxIXEvfkDRInHLPzR/+R9pF+6Iz/wiJCSzVgvPO/M44vVppJQRnlZ65W+WLGNyz7es3yqdnzxBF5URoKg0pIO1iDE3SChskqLqhCar6it3PY+AC8FEEbkVUg68Lh4Fnt9g+qTSVZqbkmNyV/yM3J1J57vZOoOQo2mYctwlgqbTjbMdrrvg84PO1cdLxQnesZ2GVAym/ewoQYJYSr5YR2R0+aG8t1MJJVXYJB1Cv0swnvJQmo6VrDipzGJCImWwaV5LhPuPGLtYGRgAg9bliZ1qN7YpXwbHreugQrMPiZjrriVXH9ZfZkxTTOZ3EKIW/lgIMY0QS2QT67T1mO0uxmb6ktirAJXvT3ZOBWviKbn9BZYHCtX18G8Ad3CQgxPoHriExU3ELxv8I8nAvhFQJs7AxdOZiZKcVZ+W87hEnXuxmufkmwpprAyLnbjqhQtwZ87lkYP4fQ04QI+qoUMIe4vHrt+rmg67ajmP+bpqnYoZ+pUAcd/p12yT8qcGqbGNbS8aZpDdQmoR+rGJHi9fdxu0qX3c/fOTK+rlKmMsyYxq3bTrWjNLp2vEhEspobA9zF/wPEYgVqtHjd7z8YUcyZKxfLly1SSSJaHRnEeToXhokiGVM7DoVWaxn2seCgO1Fi+kATfPuXzVh4RUSiauyt8ea1zKeE1zjmOiFZ1ogFgsiT41K+0+OzFSKUTyS8FPnvsYyLqr12XweggAJOX9kbzRUt5P4mcAPLO1HzzmnGz5poRQV2NBNUUs2jYX4jZGSbQzIzSswy4QRziPikkfDCjhl5D+YsAQJWD8rvVDZRv1yfg6l2yJHoFlmgtrcFO0ZGVVcxvh1SIq0T0egGNFp890l9FyiMTa0pS+bt8zQ0nC5uMtqbnYgFtX0kwfdmyqkOV38tgU/g21sLmeucSE1p5/9RJsFO+ftYm13C+fHrhY6mV1TemPGPtOuJnzmpMlfnjIz0OdGHvFLn9DfO5aW6GiPO4wBVINV4r+CeSVM8cdhtFQJoQ9oocBQgTiU+GW12vZzymae7RdCFUhD8DcR45YWqF5PCL9nFz5UNytx3jEvS9uOdm0GQVxvDC8BtoLdSTwhFR7+kPvYzYrSIuunf3+OLixkB7YweqX4juhzNlvzNI36NF9/cTpNbVDM2g/KogO/qwSJZxJ0YxCfV6TLcEH6IZ2Xufewl1mxpFSqp1uiiofcst9C11kQ96zuMfyxTknK1EziaItose98nwqBgBnD8V46jkWqPvfX8HKs0klYubkojumypyoBsy38Z7c+wkCCV47zFKXIJK5e1wp7ra3vm4RelU1kHQXVw0Uu+keMlCNsc6OSdByzwxbKpS8cmMXk5nR7kyiOb1z+tK6Vv1FeMuvQgT5OT7O83eHXUsVQqg35FDSVMfVMcI+ByPOQNAlp8fPEc8AwWL5hVuESmqlHi6rO5o3bow3U8A8Fsr3latGLvGS35/82s5ur7hhUZT2+FqdauZIh0BbcyxkdB79QIRJgCbi4cdX7goavWf7YahjJBTpCg9clwioBI0AM3fbi9OeLvxkoU62Da/YVA28vrnN8D5raaTxdvHvoQ1itYCnSXpzYv2S/fFrB3cfLilYm8+7za/KZSka1VTlaR7/YgPIbZ9/6G8hDKykdP07rAawLi6xU+sDQy85Hbd0W5Xl09X8wBEtwhZnMAxOFKMeOLKjxEgt2vOXPtoeO8gVv4X41Gz3wNPA0amemz5tyw8b6YUhUf13MGOolyU1b78FdLKRyGnn8Y7wI13qpfRz0QnP5RdTJPsxJZT3edjp/rch1NSq6ugarIyc3FD6bvQ1ZslVLvFZpYOFrQKw2bdRnj8H8293pYbpvxO0ibHM7EmlXnTk7a8wmezh+I3P7jVTajD0bBM/XI9EvFopLM24SyN+RaMAQoe44vvckKG8yo+hYrhlxjkrufok7kl0klBI6/SCW/eau4hJgta8IUu6OSG7BepJuAE4SCLJjqZI3HBgPpubhV70/GfSwJdqUQzzkVlluzTUxx8zGo5w+/miEVFawJtbdamZX1H6R6gxsJIDObYQHjQtCDMxBo58MIyMOIX1G2Tri0Ix7TjnI9QIZ3ctuAlCNNSulVP6bcxY73dMFQmiF96XaKYGOF9MR2E3lY6/pCy9oUUGvWsYq+UTC/CUxKpQrpbg6COq/twFuNXjuo9Wjl9WuUeaS3ALZlkSaLW9OtSx0+fxSfqvsLbRKmuuRZ7Q6d1P4+aOWp/HJobZh1ULXAHK27LN1Itzbgi3lVXz96tbV6dfrI5rfADdDLLBhHq8es59PuJkoGJfJq08EhDERTMrJ5NEEBi5oq7vNVFKHkCkw0zekueUn8upP2GxDX1gjxT+tn/x9xTZTCQNmgZckU9dhX6SPpBS/QMTbZijvfT1FddW1rB7Rpr7rgtvscQ5mKBcd70tIFIIgRaipATI+ErtzM/gd2hUapY+vl81X6boaOeZMTjbIY9X5O7PmwcID3jvX8mTdEVzrNUSAJKYUF3fsbpk37cn3MYxxb8EDbgvVOrAdfSvlwM0VaR+6n4dRTN2MrsuDcGnHZh8o/Xs3g4euXg9mmgY2z1ztS8yUU7R/a0mzMnSiLKKrke02jw5kV962ud/OGZksG3nwhrLHckFmq3Y16vu4Zo6oYW4qDtqm0GZBKTUOpZyb6013Hqre41FAIbopT3YEX+h0N6fYZTOM8QOw1nt52ba/VNo/skODCUX6u6SLAFLHlxjusOuKXWBuZeqamuqYJ+XXTV3H+gTY8XaC7n5gxHCki3diUU+jercH4QLv4i0gWlJTMehOL/nJgH7LI35ydPVujQ9Vzla1bUxN05ALEUcqAyQBxQts3nfeMM95y3EMAGbkqQsMcQX53638YaNzZQANZ7ha331MUw1xMExJeOE7imwDCAesb8FpsnToiet3RAeNYeui566osnlW90s3/Ub04+ENMYwXIG1CSFZV7RAYgQFtwS+0gNPQTw6OMy2qY9t8OXIGKW0nv41EuywRWjn5PuP68lVj6dYRGmlWRv2H771ZJ0qRePbj6sEHc0rsd2aP7PUuEloIQPBeNuM2VejbtQw+SVYppTdNMoXWuaa7HSqbbrSgVJgjfFPCwVCR00oYo8cS816cZHzwMbK7oA4y3mrW9+k+aP84addJGjB8lqqLgy8sRsa41Eixm3lQWE328RYtZowkkniEU28O2mHCYE5MfMciKO4NjbAIvANDElv9i1n6Jb4gcmBZ3HYgbSYUGJsBo8ApC1DvwRUK2jP/BeoHAdIPC+pmdoeG0Pe0nHX/jKBvFJY1SlxNIMVyz8bnKv4RkSvVX9XjkrrtANZzCpEZ8VwkKrCFL6QustXMfTb55E8nx7IYCaMp8JMGj1Bk/YB3zSwVitCiGwji19kF2P/+2tn7nLw2Yk3iymLfyxkzr9juduO+xKzlFWMw2NkabVvXXB2UjwZjycWqtA6PC9B5LZEtMxWgNUGPuvGVBSB6lGj0Ff75YmgBZeL6xI88TDoR0+ay7t4VWmb+qKfnBFh/4jHnaRSnevbT4tDifU32WBHBD/3ELnpH6UjYDozqTQJCFG9ARP5hvMRfU9k+nfu4qPylVI7KWd/SQJaqNLDWrWF1DT/CP1wYzNLwsh7v/BVniaD1I/nW4XrrV/x+ze17rpzwTKCKRh/kULf9kNC9ZtJO8TH0t1pef1KzHd4MNMai32oFAV85guhtEHdpj3DHl4kz/T1fTELzDO56jHqSX6S9e/0RaUU1qAsEMtvmZZfnAJ7Kcw68LDI5mTlaJZK/igUMFiyhQo2nW1GiO4UmjYhalfj1Vprg71BuhYXksFS1yRGBcrWiGIYJwDSbQxaytYhykiB2rvAsQFo9NAET6Tmcp4XpRZqk57UmuL/ypdM5OxDbOpAsIh5jew+o9VHSC+HR2JPz04Bh64Y8n5Hv9p68n19aBhm72G0tEUOIIjSXhN6pR84A3PeZ5Ipl6kGXdGsfsoJ8FZvO/6xMj7F97EZix6XHxzicBhxVXkZnEE=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228600" y="1751330"/>
            <a:ext cx="4373190" cy="2592070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btfpLayoutConfig" hidden="1">
            <a:extLst>
              <a:ext uri="{FF2B5EF4-FFF2-40B4-BE49-F238E27FC236}">
                <a16:creationId xmlns:a16="http://schemas.microsoft.com/office/drawing/2014/main" id="{2D54DA63-E803-4D9A-B9E4-9EFB9C8F9483}"/>
              </a:ext>
            </a:extLst>
          </p:cNvPr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213407317795657 columns_1_132213407317795657 </a:t>
            </a:r>
          </a:p>
        </p:txBody>
      </p:sp>
      <p:sp>
        <p:nvSpPr>
          <p:cNvPr id="13" name="Rectangle 1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1h9D1Z5GDtPW+wuCTrU5cbsTyeRnoM7v2+KYfNB8pPDHY3/N/nQDLg73FVUjs5JX80ZEMdZ5aXYVE2SrM7ljDixtoKhF4R5tzsuuZUVsHAcuNRg/S6dWV3/DsdPNt0wsSzx5+btAwE1f6R6FQ/Jl2dB3wwdlgH4xZ9qIGhNmoO9NxvfQ0A++rrVltUHy5so8SRD+ORZkdpXSsmGGIG9OmShgqvoYjnbExqaQVBTuYYt/kn3nyJzDm/4DWRmF7l3GSelCoMWygFWAi02v8kYrK9cKXkvNX3//4nHhroDXL5UESKcn0BJGvsZggPvLGgg2HcM6X34dvzhgkxxXqNziLPE3/Fd6MxWYsLVYw/SJwbG/cgtR0djVNSq1WNsi3IGGgmy29d5R3f8G2FHPZPqhBuxFH4Maz0/atXOZq9sdJW5Vd9XCzjT4GBC1tSBiEZdv6md2BemG+cR37mAtbcO3T4vl9I01kNpXAFKnLPlX/7tZZNALFq4C6seigjDT01UAwhslEItV9JhHwHrri5jnmWNi+DWWVi695+lbBA7anZ8/4ZQD9JuKNpFJYd7yzC0AvgUlvyFWT6aoMK6mr8O9VpzSAETViP/D5RmOg6i9uNzEnbIyEFQTqASp4D5nOsfbUCovE+sZhujmNDZZD1f3PZIkaB74/z5jratXq8Bczw6spxQJRsZVDQvjRQd66OkFwPKtAwhYcCq/2x8U7C0ps3nwwM4bL+oSCHFTPeQ6KmJkiLS3E88qiDtkJe+e9mjGVW02lZAL/KeaazJyk6Z244h0IFSVlGEZnQantBHfupMyIAXjWaB6hjfUyMyVWDNFBCKhIAVTdkhnEBEX/6PaEpo20y2YETU4N9nFjIgABQaDy9s+F6lyZOCUqWYl2ZN/fZmLULOQ+e9P1xVHH8WImvX/NsFFeYLjRev0njwmuY5+wh5jHLMGpKpHGi5TZZO/K9dCysqX7MYzf7IdKgipLQihulQBXmgxOr5GW0yghJZAkq+VQUMYoDyXapi+w19rEyydXNg9BCMHLpjggf8L4MRUTOaW/anXT2Q/W7buuH8yN4RHzXkZ/58HXUJl2YDKzZOPPKQH3HJVD7VQD3nP4iHGgAQqw8vBQnYXdIf1fKOLB9QrF2Z+Vf35MKDupIOB5Ix7cilLRIl9IJnQ8P6fbVXUKiJXXRgBdGj67ijCdrgjSFupnIDxADGsGr5MSZBdA+HcN3Ux+L2W3ZhLF0H7mAj7NoJ6xFMrtlnPyWR6juUr+NJ3ZlGUbwYLoFYDy4aqBzJlfF5EA0y+8OPSW7OiZurBUo9dyqzYXHF4HijtI1O0c6GPnO6l58gJfKli/b72fwY6EYyGaQVyxpzYkqXQXhLDkQj4MsKGzIkAKSZyhTli7IV4s3fOq3syTYfVJfCygg9t+hJH/U6v/fmv9v8fpbOf5hUhmVf37cX7+8eu3CjDCeHagUovojy0rWoMsxV6y5XwNjK3pY/RPGXQdn2poUvEahGlqouhh6SL5F+9MMoD/mgfBOt3o4PsEilhyzaosTqvwRTFZCjUO0zo1h9bASN/ug5X0LmUTZVLV+4nYJQoaLAKRZAWwk/qpVSPmGZwb3OtwBvxNcYKtp17+mM16STIyiTHXGSrHnfsEAtvLUfjWiLVKwiRfn0cNl1UneoRxOUfjSXrI9Py923rRfh2r5F90Li6hVT/q5IKz2Kez1VLZCFJ0DEJ90wghnU/qj8HJFp+r5BFDs75JkyPDmkcJIQJGjWDnWFy6o/7qHZxIZHcs5HOMRxg9IvMv2fT8rD3qrYckpbj6wH5EgNs/3myiWUpdM3ZbzWXavEtiMbrcsMJ479DDZ9MhYeFmCRwOylG6bEa9HuCsg5kENUZDxwRTFYc9CW8sS/B5YQMAnyeklLn+pCJXD5qn3waGUT0omqqrygLvFpqytZbMSfn0cxJP7tYV/ujOrziYIf+oqZM2/VuB/m+C4qy+57BHcYkxQHbsocKZ9V7huhUdW/vtU42UEuGwRKHZ0r+fKlk9rkkTwVZSEJMpDyx5o6JcRpdbs3DB19o6vshtfLwDZMIBFPM/cTwmDEY1tpvdHvNldyYLTj5uXLWfScsVEoorObLVWLHKbPYGY+HHc4Z09t74bctCCL2nYOcDjGIuXg3y12+ZoFdt8U+7gjqusHhIa5zrVIJncowYvIMly5XNnG/7z/nXNFkkTLtrdEBM0jmz8lFpvXGIjCXFqBjr2eTkNNny4qUO/t/FkyET/EI0w6GigMZnpVKBOxH3pQ03o/qdIqDUnJJzfodneC+lTO88JSD1JC4jcWzao7lLKJNjuRhA0cEbm2Fsp30VgsO66HFrMzv9tPqdVXjEZPtR+9YKnjZ6X6fmANPFBjtS31QANdQxwhH5tdS0TEYWf7ZORSmRFFYzUt8NVwc4nr38j5boI83B6JX30WJ6aBwrlz/5QwtAxKo7zatd4smXachRK26RaaM2M0p3vh9Zq8lZCgATC0Tt4Cb3TFvKnHdBwDRX+GBYs2hl/BQpjk4kya1C/q7mfLp9vW9uPOjj3el6Do3obtHTw6ecQ7ev+YpJgPV40vZj/Q35EeFZHvR/Qkc0QLo5gGTHUJfDaE9XsQQZz9RL3Wmg1sWhgb49Hl3TpD3In3qWzrsm/YlotBCuyGCPx+HlPJJeBfJoN7VlFcv2D6YgmBbOgzXOTXtpF0UKH7hCqrZ+sVuZxVWHoi16bj3CU7B2eJHf5b/IvvPAxOdTL19EsoFaFVUXR52NM5sp5m6IVtVpTQ06fOez5uqb82qukGllzhLYFRtCvFiNAjP18p82gXkzErc0LJ7gvmnIHcQ6Z+x4ecSE8wil+9XzD6W7njBS2hatKWAtLvvhCP9X/eN2RvLLnyW81uImUPkk1YpCsaaBXlStTwQeRQ3cWryKps2Y36cAy0Ko9TFXWHPdB/9JLJAleZAyJw1pLgKJo625cmqj+/ldOIhlf6eNIJ/r3IrDmAGkKAl8hh2zyl6+4+mUjS1j1dut7zouq3M2XbVR5Ip3ba+0Iim2sl5a7vORbCTeHMUG8Q/tryq+sKkYCXbfeb2mrMiBeYsOncVQwAvQDh1P8JqaJ1FgXNErvDUEWTJ4+BHISnKf/PIvLANfzMnE8OhdEqr7Jyw6hkYoFWB/7DDTFPd5bygPm4AfYDcwhfwL7rML/nGCiFlbfRvud0LrR+1ybeK+eyCbpQt9oUOeP6JsVtX1PfU4qHf6ZeX2BrKv6nVqndWXwi0fJXzmj+qUX7hB+wU5KlHYVU0Tr3DHxjvkWqH3XJEGLF/DLRvtDUKNxx9h0Y5Xcjb8WVdd0GfWAbUnZ2SYZwCmkZktoQsXMoLRKelgMJJC2TLiY/ta96a86A1QCiAEq0jtEQ9oEvZasNCa4tEBTVdhdj6d2/J9Ez4gaz8785+uuTTbPs4kVrgklSHpGmQhVb0mhsaArJZ1YRd3zBH4PBWRVqItSIFTTb8XzjsJttKcgznf34lCYldbG4fXkS7EGMmlXy3HbDYDhsvIFBJPlwT9gUndqNlPdxeZDMm9UQEakSeffC+6DETGOaoCWFFymPos7gxmpdhZ3erkNw9i2v/xgjAvcj3cCxRBE1HkxKP+bGnEiPUjjuwIfY0VEHegwYGiqWjbQxus7NSiKPaC1EYcUC/Jxnk9fshM3gzReEFrMIf5AZ4yxqCp4rtZFQsE+fMrT/9LAQ45I7EqASIFIlwl4vwZ6ONlYAN6xUHzN2VdkWGGd7APjH2Ih/tGNfn+L68fQtzN1fCAiFO/9Y2l7Q9FX2s1S8EKHn0WlymmHrrv6R4JeYXcMtFIz6EuiitlOvK+YoDIyK6gyyUK3ju2SmYiLnlMOYm6CG2DPoCUsAgntRkdSbCcFcR9/KYeEKuUdOpK4NYFDD1B2M0xHyUWAc197X+ANz79MsOIDQoIHEupqjDD1Vk3mAep6HGXEVouSeYkdCBP1QfjeS2h2lUUjGHnFJmbbjEscQSHIvHCseqolHLDGGQA4aVWjbmziY+sVTcq0YOkGjO9xLNB/iHp8Ts6l64tjsy01vxKCiW6ofVXtZylpmGAb0DuVK+vzYSIgKD0PY9veU/4Z1KntL/Ju4Lmg+lFOxlwdu0DG3pVZMcDBSrgjorYt00vMmJtnjTTKpmSQCjo9HwsqUmGvppItdArKjBE4gj0/MeyUI5qYGBVXEibNoBeC4UoZJQVRCzll1XgLO+jW3ykhZCyCgeoPGRjz3Ubk78bWJuN0Oxj4Iw74w/HUQQvY1ZbH1qwDwGngg9B2xkWud7eec5e0kd/M9LbgbpUW5wnOFGlArBxzG2O6OA+qiTJc7ZYBL7oix31JtHUJbCxoUrEdRmdHPd09EL6zVTYFncahYYz5MiB7LEoSGa80wAp4UkH0OXMLAron/SvrmehuQJzSQOcX7zSzlBVLNPs6LJrgoEzK1tpywkZOk/QmkwNa38y3BrFo1/PQ/bnovT5Bsy8edTD0SPSwXG3V/fTPNij0xE/0huj5EKr2q30hTULuR9ETGUMPjdnTFWAu7uovW1m23OKRDxfrY2zBLk0tFBeCcHECHzyqC0iHhA3lZYAzAtdIXj1++Zgvsb40+lp7MZdLXAEOnLFr+ospWAlQ+w4SNtkZuLMA7XSPiUaBjbX5PVnca0j3b0xuxGyfj5d5fQHLBX1MhZbZFdOKIfH2SrPoqRW/9xByBFoC49fmkGKrxdOvlyQAyiv19Y+vqU+zRrQ2cvalvLs7zJ75bcoqbbxPLrfrpz2VwvcM6VSQV5oAFfU5YFwxmgovWLjoNiuTrc/fKVx0dRHP2IabttXozp8pvXv2wMF4BsUwnCIDOs5r3feCKFsE6zH750snuTH/TkiwXn7G1CsJBbj9ueYXKaubNPbbXJ1CXqcHaRxUiXjUgQSOrwpgawtBMyQt2n5kmPfBgK+7YlAGK/zql1MAw1gy4280FuhuvGM+aYEMIBDeWJSPPZ9Nq9qOIoTLfGlbJ4My1aOxEvXsAro7ENx4ALohG7YTp2q08uxoEDtjfvpsOw4DiSycB+rh9iUxOWHbLBg3A+akwNVvFOUeV2waZV6OkPh+bbkY4W1CvNX2GGUiZk4Ud9oFjEK/pSNlhEs43uf2qZerIrOaaC+NvR1N9w3FQxfNBJT6XSTYfvAIoVAlpaYB9+xNhoqbz4O8PHPwNY8JXS47VTwCOJNPFrotfTa4v7seW/eEmqfgpnXu5dBHYB0g+5JIPaF4aUnHloPHvpfgGJ3gzJsJfZ0it0aJiQHISwxUZbTFWfGEupv3DhoVHDl56elQHSF2JcD+pktGEwho4zUF6BKHTrQaOKUplh/P+wcwlliRuWduvCf2wa8nGDexOi4RSKiU/p9T0kHFEsCxF5GMFxP/NCkhSoqbz3n+PJ5f2BO2JYXhoJG8NdxRVgDhqprpim1xDreTtW9E3oL7IsBuTmawB7R4QUaB+d2z0e7mwIv55tHZcWWxIVZM06W+ndahiziMRz/Xt+Fv1EXUnunzqOzHdp0shiPi8Q/wbcc+HvJH3MaWI3MJYqiC7hZLRFdi3InmSwIkHgpbI4j0/szQ4kJ1EiQYBadoxlvx2EV3KvVwFS3bD5N1fDgTr2DdIpGinDtQE+K+bLK2dWeqspL3L73tpRl6S/rwOrtz1zBVk4IyaszBcoWjZrLHSTkD4tXJBVkiVzvbBAqXaw+/xvuQRSQY+8nYzYIsTRV2owFpnNxQxigToCrdciPoSrFzQWhg24GyIry5pDLGZV1UnjeVSCotc000J2a+ocAeSkabg+9rWMa/riE2egJzjF93k766JYcjdDzNMD1nKepVH1Jm4EkOHGs5qarZ1Xl+55GOBwV/EDdNKR8w67zU4qD/Fvv0RdP2GnUYxqRfTPycT2UFxtOi30mhkKgDbj8wAOfxrC1b03dcgAnxslsKWSp1RTZDd+F8lmcoxwgDYBXMOhco4m6yGM1HU5NeN0P3ceq8wp1saj9sEJtWZx9kLjR7ZERmj1wg+OxQhuIbgKq5DITRAzPss9JJE5NASkug3Prx/iARUI2e8i7sITdGHhlLFsVnlQXs5mndbjjgsJZo38Gj3NPmTDTIOMj+LlJ85dQSV8NvxiPf1C4sqmucOxcvgA3eRD9OFH/ZwUYWpSUF0h4A5yYQd+xXkEbyUQhk1qBf4k+sAJ7ZNVGUW9dLo8DxgTYi5meEjrcs/6y705ziHd5Q7DkNpVJ8ccwUGN7wRbwj6ROiYen9rhouTm7J7nXeMSqMbBCsl+NE3b/vbWf9B6mP5w+X/RIA1zF6qa7bBhTrR6R3jEzdxqvGeZ4E3Kw+ojybGeKtsaOMiZOTTzlGY4kfDMqwGXhMhSIsfakwc9lR5y39bQcYs8eq7tz1CIx6ejHZ7FDx63kcTgWBz7OXiF0Q43blMppVScW9ZG26spk6gTYPOys9jtbA+Bzt4ygeBOPHWl9k7ptfMDFAQw05ma4dndlgIl2JVExhup/lLX9acARAClwRsEjVXk3IMB90Ds/UFcHd5gTH/IWfB2FBlUV45b6cQImCbwsEj75jn21g38Hb1nlqZZJxtacEAXWhuuAEKQDkzbZ92QR9Wd9A+HhAJ+fJ67MlEB+R7P/ifNdmwguvByvylYsAUSJxWfyhQ1cuoIKTl2PyHhywKbkRm7h+uYcSpNFr25BjNJGaqjtopIr+Hmbl1O2CVxnSTwVCuJQkAyMbV9R3hbRXUMNOpPZqz1NiCdmyw0369E3K2Ecjn82s3w5avf+jkI9EEXedp8YQCIwSJsD2vWNZIJm12kaFCNA0iIsI9eBe3zVt4EGB89fDmBtlDrAX+V07LjIHB/xYTNQhfuZu8pS4c60xv70sUVNKt5HdFhoEE2BwdMZVfAhpTZSrH6Y20VGJ9+egCtdJHow4xrbvbWXHaY53pqVbjuqWMHi8aLCRvfN7OWUh2Oc7JOftNlhagse7wa+U/iRhbNkOTaWcHMDcvxUQntv2KuD3aSLaNE0YzIMJQRKzZTNy5yTLlIYIemJ7KuE9CsdXU6rvVrMr7EYeQrNR719AcRNUOhu6HFzkNAD/ssgT/ng+mwSLKaM+Xg/LDE+RGsu/Rqni1z1nTy76gOAM1AGkux4R3b2Iia25N1gu1VrX2PIMkeSU7vVelmE77wOakZ85omso71gufkFqdmZhbzJgvKNRFFKUAvMgvJhg1ppgKdozoFGLGHKKGOILe261LQFVFmaBPb4dd0eYmAQNeeviKNBL83cmIFzCXAq/wkNY7dNRqHLJrWAv8aQPPgvNzhDhiYFHt3UE9rSl7vaNsatWixx5sZPX7TWtC53BtJC9XojX7WEwtBIQGBdlqNQr8X16ZoGsZnuvAUg0eIkJeLpF+1WCTvBxhJqCX7/1lCfyjEpS+sRFBPFNdieizuxqqSUgSR9VlJyjEYQtXPQ/PbYuOhr5Rji3Ab11XUzAZNm7zwamyDrdR376/xij7NgnIVJwlY6NCPTE6zTw76ECm/iKae7KsqlZkMmDJfu5j+Qe+w7DxeyFLiLYAl3sRKqJPpu98iUEqn+99qIfi1yWVU/HZzaXAnvqYXN4uXjDs0nmy85PjgzE99q73IdwNkir3RLymtc6I0sqimnJByuiy7NETS/1vtzDKG8ZPI8TcQ7AB/9CaY9LDnzSj92rbZqRQn26Nuak206jHYW/gRceeWc1H4kTH2M3A1PVNQRid1+Ke+b355XgHNBtbKms89AyWK2RydR0vavkYPtDEflWBUJwVAGko0leKR0vHgB/Bu7Ek74mlmxA7T7YEUCCz2tytxtcPeIk7JM2+ALZ/27mwEDzv6l4Q39qn4u7BWK3MuYuvGuUoYHPM8VrRoWY6R8zVx9kUGigl6f4l6bLBN+JvR4R9HEowjtJCF2QnKE45puPonuaA50FdBePQMMER1Z7lm2FFxekvneRQXjAgL56R4BXwnr+ZCa4+u4+RTPZt5VPYX0CrQocfVj8DFUT/usb505XxA50aTJcwqQqDIi0jT9dBdf05ryv95N1fcx6Wj4T0Ltsf/0vmW/doJoVRvrfXhrRf0QUVgqxfbUk8W6AIt2UTawyUcu06HtDtxC589E5xu7qeTqeK69Gh4ZE1BMyHSDLsN/zSFo/pzm80I1mgFADOvR9GSKccovY7W45gVsuRMbMgRBRmmXKZa27DNVGEWrnfudKcZm5UJb3hLlNrySiBYwCWyyoJGJ05TWmc5KyrmDeoakbrIc21/UtPH4ksQ11NaTNySZ0q5d0RcTyct/PR1zU1W43/wNIx5oeZYIO3UqKKRJQ6TU5C8RPgR4LeeNLeJ50ig/TcU9BAsj83a4fC8f6wJSDWFpipUVbVWykdJoWjNSopMcneu+5OwmT5PJj8WEB2qbQDFuAURGgUZZi0SbA/E+Sh7NeV8RestQoknhQPHGdGoUzplMwPjf9cNq2N8kfRt7ZPNDVvSxixFNL0Ai+nEn+UTSF8A5kcYS7ZjWI3V+jsNNN3hz1q9PTvZRVfvMj+Ili/kvS32eFy1hLJtH+hCan9CWbtiRUe6rO0ZSu+uXsvd5+rO4sPMI0F6EWoeUdoHTevNunDXNTMSF2eDx0NByxHtHdotPYatgKM+t+fRsn3AgpGGoMngmI/LFlbykQ/t0OZ6o7wdD0heVA017w7jWZhH4qOtzfgnSAoI/+6ToXV+0ffoR3Xuq2FhMYEel0Xv6ZNi/iq2+0jK1OEX0OPtuGwPzt19cYwVJMdNvXDf7z891KPhx5cD+T1YiVYtoS/gkRjtuPHuLueSm96Xn6/5WMx+C4G3sSwV8D59YwR3EGsMgY84BvJrH0so/isoU+eqe5dbd0Onhn5mQJFMUVhcrNT+MeyGrEumAGCwCCDmPaQiO9fFSjFjdzzTs40RWJT1NlvxENI59IlHG+zH2ACsNo52dSFpCltl9gOeRhRgWEACR7xYoHQv1gQw08LYS1/VJUmj16OQYNmsvBGWnEiH/yATcxvzBz2fgNjA9Ftv72Womo9eHzewU0C9OvUm5ZOSG9QjzXZHh8Lydc1S9Q+RAqVJW/Y8KdEqioBB/8dpC4KEU35shkrYpqYQRNlmhvu7RmmmeqYL4Ycc/D0oqxadz8q+RlBFpuKRQ8YgUBHZ5BHiAI7zG7/EKWIlBXIKot5dnahST+9vnzonbG3x9+gqVb9LEGsH/UAVO173oz2K9ntabPYm/9prJKgMEa9CujOflFN5PdYTP3gY0vAdN2BfxXJ0WRvXplPIH8Dovv56Xgmibd67AbHwgAv/B1We0ZNfBuaiZpsGtxXROLAbd4nq1X1zMHhC7HKEZ4aHUIAj53m5AuuY+U1IJ5j+w+npYJpfzRkL57Dog3Gd9kJbTrg+MAw3pIsh9eSYJ7XKNYBqFuMGbZlek6ep8AbOR+TTKhUfaeCPBmeoqPcC9wrcWEhmebTztMGKh06w6XNwxSzMDC0e6ANfXzzXgTz0GbitlJ4hc+nPNCRziSw4OgwCADUqsWyQsUi6uRqdlE5gbDR3jntL7w8xZENs76hvmptZeHZq5xhPgjfxIbVxjeJbLtCF5ifz7pH23Nw+gpnG1REu3+yazq16G9+KL6/vUcOyxrXN3hhHMXksIWYqcdMKBRj+MvHqI6U5ViiiASGfqGga/wCnmIVzznbSL8uVilYHlNsg5HwJD6IPK4Pk41kRvahhUoR9sHnpnY0jtaRwy4xx5hPbhac215WigXNvZ0SPYszxMCZOh2iGCdydWM9DbNinim7kth2XSp8vBlewRFeZCqMtKiXUebGmWGI/D8pJh1P5yoC420X6p5wqSgxou/Bf9JDbU3dpdCwxH0DowE7s2Ed0uVjL8hgZ5ORu/Z3KsHJA4wwGpJxArrrvr7+JNrwGccZHt0XVjzxNX7jxAQz3obxry/ke4kCXujtMEuhYEy1sBmrjCbO/uiekars0gVvQqwykMbUUuurFj4ZH4QPSEsZPtVotiEtiTrsfpFhPdN6J4NLtgDP4ermEnMQx+UPnd84OPyAm/Mx3+UEogL6nOMdyZNdkrd8/xwp839h30b3LV5nRyjVtMep/Ld83e5yGXkf2o4eL8FsTKMgJ6J7PDjKgCigIyofsZp+X2bF8e6DyTm035D5GgoVfeg7bJqJsfvCl3o6A/jCcCD7j5b8WQih8wDLem7pVqQcxCgNmAFMY3122NsUyhy0XEwh7E+Rk87ABqV6cjAI45GP2FD9npHpHi8RlY5PSd6WIe7LExRaFoDeKddp+mTqwh5R0lGpjNWCvEWY+aSspMfH1Zyo8biOm5DOEcD5nGQ0TyIshI/2CCo2bsDR4bL3Ljc2BEnJ8b2/a9ecr8ZwMCw+tHKio1yaCrC9DEX/P33cr+X/eijakmReXbjika7Xgz2O8zBByX0KJQf08H7rpARqsLUCcIq1bqZulxa6UcVf8RDUhRvdNhQ+wlZ4JSyX4XvwPAPPhoQi5HkkoQwZuyjdj444sBs6bOXJ6tEhjB/b4zFJaW3zhKU+WPcQ1lp6HmEb5XgyE1ZxYQF6spZ9p+jdEUOI3YrXjIB4YRt+q907bi9zE4C0+T+vGkHJTTUoHPALD/DFn+qkJlW10zyCqThqpeUgTKcpTOYO2PcQ/Yhovu8GexWs07DRwVnvLORePuGOEgObzfogtA97ixLtppcA019pGdXF3sscRg2GDHpE4a//m1CR+HapL3AugEE0MuoOpn/2MNFx9onLUgJIHVVM/f3JNkJlGecXy5WAEFQQ+Qm6r/UVkT/YpuhQWkhMOq0S39dp8Yt5Z5WnyNMYHLJUA//RckMJPl/+yZSMsZYwlfzVcRM3OWRmq64cu2m/mC2Msn3jLpxkWq/81FuWSto02QP8We7hR2X2Z/IxvTs3XTuhvekXNHdb6rCGgS1sadau4JUIsb8IHEgNCXyNrsa1XyBPEpgnq+cwheLmbwRldczZoBmMUUg8kQpj81H/SlzQcqTcXPhRvttH9iCBG+dpnorl+QlmIdfyds3yi6/Q35UxnvXCObH8WcUXLcruVQnjKywKV8sN0ZiyJDSbj7MCCPlBKxSKYq45s4cLcZucplQKGdybJjUqKN7kubr/1ws0BLEDRllV6hS/ZItmliFqLByQo1dDnvfLK5EtLCs62VAb3vL2HaOTeZt7ArcCya0B/sl0TYUkrZl1guEKex7N/DmfsnaNlyrTgy27DBj3KIK58WfM1a6jodSVvyOVEu2yRxOULjL/1pAHOzsywZOfX6xTThw3ufg1qdNugBc1548y2wdLqdhWxfgUZchVreoIQqpcUZCTtJ9odtLTOLraJFxo8xW6TXnlZ5BrKFiEnNaGribkvLdZxGCYu8lkzs2kBuGgyugOvN4RovCa8QqBaapZ2cYIyoAgBVhc3/FDu18CxLZnwQy5jnot6BDdK0gWwzoyCCslnTMlYVNePz8O50cYjnlaGeF3rvnfzjFttnOrTJvzxVDZouYeWDO+SA6z12db3pHWYTR0IVDHwDFQNEKZ5cckjvLPJxAm1CY89IVWWTjgRNRhObjFCbqSZZ5Yn/EWOO6MwNUZU1RIAvsHEpw6Th7OXO6eKyPFXMfRquJoXOJ9gTfvc2pIs54H8l/w1cwyL6Z15MZdGJv8zUlEF/DBUBKee84KNORiWJ1zwdNToWWS7gfG2LQ1u32UDlCBB0M3qidg8NOV27+0Z7SOxC++d5hCGHD3qmF6bNJwshQIxiJ5+lD/GOz/rOf30BV+j43A0QzmZlZRrxQoG1eoIdpYVHOoZDJLWd1MQq2XMMJiL5I9ACOUwo9pfZw5eCI+cnrS/TLiJO781xbuK85/XOK7wBLdaHqHMccXuG1aRbDrWUWAF33lLoTvRKdKcAeVqKTKRiZU5LdER3imNx6BDOJ5bUOWKsFk40Po4jgq4HyICw+Lo/Kkfc1smXZfQbcOxAbtVzvt/t0h1BZ8Ai/CWOUPWV+0WwrGgnSOCj/+NrzROEB5yZhZVAgXAHNrWvunBs2GYwmTG/8/Q19P97ilC6nYELuM0oPaGsUcsqyJudSamToOH8fyAXTROr/wAu2qjvgCRBvoihKWzFQewympcWhQFJfRBbZkQSlzDpUeRcmxF/BQk5HMCMoQiObx5TsODbnWAlr63SnQWX72kBerCbikA4GJXyfk9Y+kekThPGJcEh6vzRgg+4A8akdrSLc0CvvTTE9hL0EIfXiINvuTHelgIiKCazXcb/ZEdLJf99KlH4VfwReH305idMkEhlXMpkyocQSe5bANMbM09NoBN9C8we668tDZmGA5XSbmiaDkY742h+m7RGgFRVG1KEm7FDjqVsXes3kdIgd2+u4VfNgsNflbkj7I+OOEa/TboVuFKUznLAczCEJyjBKFJJ31AhqsnlrpU0Ntrt92z0Y5bYAJ82U+djRRcXd8w9izsSnPkLNYsC/4KVDQthFx8jfxFUswYyuxEwnnbMvPXP5ZdQ+o15YzW/4LsVja+IA1IrxKDSOvdv5S6V58K3tlXpj5JolHH04g9BMhtp4LrZbkZeiqqbyr/+UzIoSSES+wlsaEprPSrSL87eEc1oI4nT/29zhRXn1tj+fzgiMWyJLI0ugcZ1TIc4kpZtP6goviDIe8069mUqqIg9bo7r1p/cCPZ06OTXOd9LOSWchfq+YSr8LYDjBw7+xNlDKuOQNECkuoIr3Q18kZpxSN4Yd6wye6mV96psmVW8hOTMaIwNtwo1nsEBXXGZL00Ok2O9+G47doXYjaje7uV3MphVB1uo+o0Zm8dnw5vQunvC15AhtyMcjTyJz5DJjP5r0p2F3uEzC17mMy0clunfPiSfbhYQAh407uVkDKu7IpZofh2RQfLEaZ++AVX1A3w2fI/LXTkqACF6XOqKdXdOA14cGrlQ3DwWdQ+beXlwTtPbDlr99l387HY6cf13U/mVZImzdxD8bNtzRMT3JW3RqLGf+8G3EnjVKf1PhE1vK4aJN7zk91cEUj3ADu9xUJS2LJa8t9CnRcMHiNEIyN7gCingzeKRNQNgOSpD0VPzHO308krgG9wtTQQTjmtICvyTkfTjzcgjELcONqu3NvtQxZdgXfwbjxojOe3FxwBOrRkSz01XR66inqew08qxNLWQcJa6ROTs5JmJ/zmyaGuC7sCDNNTnsRg0q1SQOOqvuyhA586mB47osUoTh3c8cgvIzv9xMtee2ToN213jo+wtCFWmX9Cui1qY0arycucfZjSj6wi7vC1sOgd+DlQ++uaUvzZ0hFSbLYFZI1GK4MQq3rkmdlywN+qzE5znDjIyh8ljAt90J8ZAbN3chTLvVWS/2J8/GmfmD7Ny+7lCct/FWY7kb1bLl6pSnQzmTzS5vVSZiFeLeB4M8VV5SUgYTXJu5sO5sNx2WxNZcF9BLvewGrFmxXhsTTk6MQpzMlRaf+gDYG3zaC/FGciP8XaO2i9bBnQuejuE8tnIAlcu692I+6CET0VN4RCo1WQNPgERuldjmRmtaWhm1I9h0uykhKY4lJNTcREsfWCgNQ35PZ39YSN72SeLH97KEXkvsyieZSUSL4KRNFN36smPZgqqwJ6Ugl+Oc20flBqiGJlCc3qfzJsjm61e696vnfMHybongVnRm2+NY7JCgbuaaYJ511ar0ujjLzFnXALMZLqKe9UurdqTvGEwfE96Xy3D4gyOlE4PQ7/MWv09hHTxFtvn3ALfJVt23SzslZ6DzFl4MB1TstrNPyHWXKGwTTf+ZczXhhQroJDxfpZEewtAcCkwBTkP1eNdcrh7whBPOF+sfRX7lgYcpgSj0hd0zjyOM94Y+/lT7zhem9greUhBk+4DXqrt/QM8u/hw7CQRuF/vEP52quEmOo+v5ZUdWu4J/uxFW5L49LM7rnObkM6GGDduyHvZclBn+BAKspZb3TSeckA/etmeBKtqdnDV96c3uxTl2+8b5nsA0VcIIs6gp2D4S/NELxBwpMsHkhbpELkHKRe757eUtAAxaEp8uV2qCFWvvl5u2AJEpuFLntYqCSC0MHvbiX+n6UmAK9LuukWYV2QyBvWTYglwvwmy4unw6TBA6o7enteQKdJphvVe5ovyNAsDIEdWoTPYLa404dkJUrZmQPgNykfMjFUTMYvd18TdNg6D0VGgYng3hmPZPrtoOfZG4pmyqKm+elc1WQBz9vfZ9BR6m6cW50xV2jLq2eqlCHFZwRWL9S6SkCcvc+CAV6txHKMGMbRl1Mx4JybqEkzIbEhxCdt+1fP6IInaPc8qXJW9KsLNaHeBvaNEj/PaPfCKASiCHnKvwK+tdTecTwdC+iuR9q7NZcrkpa+qOCI9BLm+gkQPi14LiH9Ofs69iA5MGqY9AWmRtxWMFr8SF3qXJXzAddMicih/NdzjnJn00M2iTXoGmkq5+S4pwE96OkZ6K5wyjkktLf+0IZtqdUg6P/R8OxnJlMxe1gP9SvCcyx3ovPtvdwixG74Eza+OpJ4eHX8YUi8qLRkiYFQi7ldLpAvHtIKqdGmRvK/GmEgzZFwaItL3kgvtmqpS9pbyDrwl7b6c0SEYUuAQ8hBRW8DTjPRGkEHPuM9IzwyNK11YrhktN/8byZe4G2XjwJjuJSXScRmI7V7qpvor77xhQgsbeSlHVyX4qDno1kFFpzohMIR55S4OkHJkCyU6TBIYe7YTfxBHZS7F2tSeaUPbfAGnLSVr99cfdI0X/viarroFD8IQ4qv7yhxuJdQ1MQkJVuJ5sxlW4pAzRF/GJKBdYHxLv+Br6eRdmHInDrg1jGuJXjb+g5HATEu0cx3gWIJSPt7EgoEDbJHhkn5YgXvagn7p4nVTFqH5/Pf3wCnub8lrLDzvmh5nG7/6SWDO/+I2gEapvEshmF/Mo8CxIwxp+4jP6lKxGAKSQ3tlbHLL2whdO+6eHEsKang2RVKs98H9sXBzke/imOD5VCnmIQI50pW4NDsPTS+UAOhzKvCfGTj4uFydmPMaYGvlRSt0VXA4pma621Pcjtw4w2oYhzmW2GogCbrC5ZXGiAQTvyy14sCUNjDfCx7cZUfDILnqIbrteDoYNXSfcwJte/CvcEKs9xXxKrj38M2fQ9AIeHWUx3k7n+yeXJmviM22WZi5nFbt/gKC1UOpoZ4atouCTeI8rUqvFQqqFvyJuiYaFYTm/KSBUKC3r80/5b7G+x6ZCEGkzT5syo+8QvEsxYe/0OIBPuOHhdhoIwSp4U83uesH4oNz7+Xdp2UTfXbbdtgdH+/m8Zhd9VImL1qFYBI3QvHiblTJEuTWjtKG4sQfXDmgZt97q77unEXHtLFPClpun8Fc5g3jrMROvekzgJUoGIGnpSygSqtNGCvYawwnpelkodl3I+907kl4NjD6wtHLvgDP6cWdDRE1AqAZwgov9OWziytFE5oUiph7aGHZxxy6u3kl/ae8cHBfAsO8C9+cQBfbYEHEZrjjqvT/kgHC3/6XvfjTYXlLsvuh/rAvVh0z/bvKwFqkvf4bnVrLanxVloTTuDYThoOlMPBxiv2Jc2JRyqSeao/XkyVKGkQVlIS1jBiw3veYkBgVqoae4D3wCworGuFs64w1f1i5NnVAA0DJ97AL1TYJfc0qoACIeCdcvMX9YMtZlSguWOuRz1Z43UPZJCP1dbr+6/9mqyoseSvKzDGdB1gYApK6Ai84WlsYVLDsiqnWfaq+MtCDTMMn3u7ZYhGFFN3NJGpkKUMca9MP5vT2Nbv0wRYJogdCEy+qS7cHZyb7szI6iSLA52k5zxfLl6bRJRKR8c7QFPYGnOLTM6VgfonxBDlPXQCh3VY2sZlKdreRfT1L4bK/WA2HMtUdfPctgWi0ET6BmFzjMZpIv4d39avg54Hs03GB0+aptvSKg6KJZLq5IWVs1RwD8hHB7V7gYlDh7Xxukbnff5uHy/pWCUGLv8bIo4icqJrGPskjw8voHn/N4dRE2F5PLd6dIeo667OTnjkXjrxaqQRmSdlPQQsacnW9uIVwUDRnJxZNtbboIAaynqVtDL7nmUsz8sV1/M6stSF3YKEYHHK6z5KMx2AJEukx1Adv5OXSIuHGczMkhm2OnVBdO9oY7mumU2jXd1cpqfGsnEl1p+zG5gLFgyoZwUoXrtoVoYLmBnFf0NXZvsc+CpMIMcs1Am1EMou1DahnE3m9Nly8xyx7bMupMCj1S92X5VoJgIox0OMxz8ti2jEgLC8PcotFx2c0+JsyxmFC5PrP9xs1mtCz8NMRTXnay1xOqjImjILPhCb4+g2PVuCNGZhI5b1O5+Jx58rvEkrIcTcd4d0w9lsQO4SJvG2CTDs2GdPXIaTqh9R1HuxrFdSvuG8d/Hq4XgTIWcDR2Mcn5pF9WNQErBKjc2MoSEvQrCeuchHpT4LYKbiXmUgIxeeLh4DRfpAjYpZqZZ69698RRO/Vw5gs/HgETsJcnXCwtNZJLqPnaX1kIr9uk4NaJADoQLE5f3TjeJLUtoyIKoNgrzTmz9i4OuujSKG05WFLfCj+3NJmUtwjB65F8CQxGR06nRF7GjQ2aba1y/KjanUCUXRV9MlAqZ4JmPJXXD5XtrPRC4x3av58YzWIa9LrLIDy3koXrorPzmFVobMA1gSrJydkgJpQOleGlQ0rKigtBimEfA3AaKca6yjasKC8DbBwxMM9xQ2icWAXi9BAjaerxHSOXKg/KbvDRAxtLSN7xQO4S7ftXHnYXyP26k/JwU/98PXuuC2dLq9V7Uc72c72bCdRSRVL6OEYWNskS3TyXeYZcOTxKHbm6eLniMidzW7BCTAuzApHeK6srVC+mcZ5dJPEMHIg7acutRvOR2k0Wut3RDH+M9WEk03gaBkTUHEBH8dxUF5LMa+VnkRbe7uWOFPOLgHA1HzXyTqOmgfJAWfsengyRUazQbKMkNS6KIG8tMB6S5Z+x0DJD53latJRNc2s8nfRBouKxDSkEVvuCJ5VwZgUgzEz2npuXWgUz2ytfZtC+cwpv8MDYYFk3U2USrTXxBHKeILIFo1dmpA+2Zx5Vvp+mNnaMU4SYOBmuiEn/m/CadC7MY5+4v/RFXWCPLPavMP7g56w94QNb+/qPhMwlS17A5TOLjSG07RxThtZ/cCFxVyc27l2c6WO3gFns4Wd2wUhYQ8trz04/u5DJuyz+GIRUBz+ebcQXb/2nqW1rQfnSUNMAw4XKt0sKDdH6+OQ8H6g7CkmlHXE2tB8m0mz1IWe3YcLVhKj56QZJvCVLt4NLyGamnwfaBEChZV3bPthRyvgNp/8ze+KqgZUvimL6bSTsVZ/5ELHANUMr9IfPbR7Rdsk/I/qtczv+Lk3UFTUxiKwDZWye5j0xtGv9nTfkZ/JOuPyP5JY5g8zpkomtZ6nhPVZAskls9Ld4CNcQ9DCu3TWNW58XPC2W60QwIH4PLFxxJn5z6B4hE/9x87BP3lTsaXOP2QVhLWfpIZL7MXx1BYOQcNjTu1sXgqdLWqlfQie7u/q2wzgRqixoQDaqtif/j4tFMrg3Mubt7x83YwsV15ZrRazkHPoZuTJlFlKGtf54tL5e7MaB3jgztLMYoBQJs0emsdvcEXy5zl1vgPduadrI+Tz5n+YnXa3e/it5LuBZJYwNwYazZaHnAUEJ5P4UeFk7Gc5aDuEHvnumfjIhdi761aQWlR5kZSTqDeeJt6ouNWRr/XaJNFQQeDefZ3fxalNMSxv4Aj4O+7kukoK8HVQMJncSObuwQyQTHsBwnYQ6eZ4trHZkr+qxsqkuB2r9fJSlpHlo7B8NbTFzz+kFA7lB3Uo0uHAxyr3OfMiSk9pUkwfu44H/ebn+7p+585AakB/m7IMKjdowY+isFIjg6YI8x3/rcEv4fgv5b3TcB+0Zo4H7RPHaS0fxn/5ESZU9mEgpxKwtAhEqoA4ey0lDnR0kMhrrQHLAjp4759TKRftXz+uVoMsgabmTHuh8rDTSC/kXP3gyUc4zf72+u5GxXodFUJRWGmlba+bg3o9Ziu4rTRbbZBTPQVzZDBB2Rb+kVeGeJMpuVy370it9lKWLaJSxQz5Lv9kO8U+X3fDQVpdlPi6zgbMhX/4TdVFn94rOPgk5SjsxXtr/aRj0wvy7OjUaokp2poas4usiyXBHTpB5Kp2AxTNz6Fv4KERlHKDSR6rRttA/Rddj5pifA5sScamC62O+7AG2qmIky6RvH+wA7awAM0V5PZAYbIuNxYcjfqyUxFscfUYb4dlYaqWjt8y5wwyfoGJrFUdXFXNj0d95jSNT+/y7tdQXWOoe8xaSFVhA209bsOrMVmYQs4YjYCJrXzeDmUyTsvvgmNccL5p8EODUhjFkzmM2Fy0Rg/lJADjJ3a8djQXt3cpzg4B75OSNQ6fychA4/82B5iEMVtRIgIK58RahCcByafZiW23hkUb/APxZ6j+3xNkNhnpG0vt8xVsM85HdhTptx3rh9hs+IrWFAMkzHaNauJZ8eaZpJhE4LZOA71y9pw4VDhXRta30GfQxrsjiVOTWBMVZgtm+5mR4muiIiwjDxmTyeDvLZYeGQt/NCx1i0HF7kTFm+aG8op8o7zsvTTLt8karqIRAWuG28aUFQjnPmS0eH7LpgnZUszzRzwmmxVm8r/wExqTsDc23GvL6J58LVJCxe0OAkup69Zoo6Ndn7KchWdBShzf8yiQoleLRxHlLtcH5ZwnkLYBTLfxUiynrDLh6jMQbWpH7IUyd4erU1+v0Do90bPcNPcz7Nsz/WpM6mngGqNMTsw0+K7AiLEBOgQ4jyIjnNomVd98TTYRwY3tAUG3Rnw5I9cBthb/+pIDjs8P7ISw8I68/yiuQG6DfWJ95Km2rvLgptklAX4V7yZbxqWuKapIZgwUBvvgxsaW0MhDgEYc98nNsevnPNKqXuRmlXk1hGjLFaQrgjd11E0y/b881oCx89ciPnko74B+aJ/prCSDDX9DuQtG8YkTTyYVwF0RwcCrizS6xaRHaJa4e6t5pEWwPC4YbC81CIHBSs56RKm9kTeJpO22/htq9bfq8B0F9f9Bufpq+o4p7HlmSjPNzXe1nZGHUlnLRWHqT8/Ciutr4jg6wANFu7WBDH/5mnuenluRGKCU2oeArVqUidP5qda/yxAjT649X30d4N0eLsvkcq7+R4xne7GzrSPLdYNTEylQj5QSWA7//SiTSrzDeCZm0o6+Xx+EMEUr8IiK+9CwIgB9hJdzqCVx4/YbrOEe9VvGMSBcATrNoIsDsXSJuMgJ80fXmCsS3r/jd31PKb8ixrwNFWnHfw8VWZZYzsgY1VBMgDAqyoK0Nul+tJUjgxvSG4skhgmCO3XcT58zw0IBViRzRXmxmz18+janT/yDRxDBVZFgRJ/w9WieD5FsvPhFC91iZQnoRLStl4MBBYMd9D0g9rK9rhcYZH4RVLhUn7STINfIJajiVT7To1eAc8r5MKolRjRnhc8YA+9jdSqY6+hUevr+I9HtzWWsjCHUzZD7xSTEjGVrrNZ/EjiSVgkTsUQZXmMovajwO3yRoV2IDs56FaceExDCDVN8iVC1dv/fBz3Yj72r0Efg2B1lOfqCt80mnKgIBcF9slVG8PkYKHGP8rd9Blch1SecttEH5BKaTR309Shl05LBpuI4tgXFp1DRQsQnry7JByyRJON8hQ+Y15HHoiTp3M9Ee5Cg7uMKa/lktYJMwdQN00P+J8lamFQteDY68IOgNOc2N/0fip4+Dv3PvI0e/3rQ8t2j52xmYIYPg9MQMO6ZTcn3ytkch1eUitTGg+xptxIJL0xCre+WH2td9plGSz1KzJHN8l2AsdGgTcG/RJb9lLG8HyevFxBxTnQ3PqxRiuTV4OdRV93gEvyqIFdTdjRZ3e3hq+p/uT/DtvdTOpADXqpW86YHRpn4+d+u5Ps2UPIV9ld8KR2MnR+CnZ7VtMbqdXF1FG0yoHuaUfF3nf0D83D18kkTWithtqpE5gA/U9FMHtPpcxp72tn8xGr6xyUS6xLml2vxh34wFXcQ3g2euIvYuUE9zz1F1uHr2SomfbJUxib0TfsPcDm0NoSWkyDhDDFjgGA8CpLnwPjxubya1hhNPJMh8Py2pwWi141dK7+yymtVV8HQAL5G5BaqzUl6IGzxwA9CSxoQ5KAre0POVo/YJX8icj7xtpBGUjYjgkjIfI8wrLvjxla2gat1xobY3K4WpX+QFkKRsCrkivN+WRIX2PtCxr2KVBPf+4sz0GUe0pK/UyvYNwELKDn6rcH0f76XcKxQ9uwUyFlOyVSjxCXAOkc8DwgLQoQo7W7Ragf+7gSE6Yaz7ceuBxEKSYLiihua+0+R3Bh80EdlOsKcneqjLJB6E/9EDvyT19nx73XjWPVm2w245qHBtHlcxbm9YNzfAxk1wJbYfJKQdrKuUOfFkegt+x3BNhJzKC982yS90dUDqGdwGKgP6r9Cr0eeJJNNsotGcJMDVaUVHIELnadjU4eB5ygUTeeBAERN6eDt5cJaPKNBW7RF0W9PZf8gGSya1fcPlfVOwDvBwrN53t06/YcrN8fWho4/XMSQoSt9AFHLsXISt4Zfbk7UQPLdNepne66yEzVk/PkQUq0oxt3tYWITZiT6TtMxgbT1DKr5yaCd8lMGz0II6A0hiPBl6co0sPBUppn4uU3T1snGTjXS2LDPc8c/3WnvNz1ro6ohK7jli6A5fd6TiGjv+gxf18nyGP14jrdyP4Mi7sLpWV4pfZF8tCJ7/7Otrr/y5LIowuL+N8ajxJgvaOvXKYqSBoz9ZFZmT5plZjVTUtppnBG9bQ73R7tV9Tw5p886Iaoa/gfX8X28pdahKhmcCC7FFM6BJVtodolkMmnoowRP/FD6KWTyWd0Bbpx+z30sgFePIwtVvAToyy63yzKorPt1ePrwzG3652KkRp3T1izW6dB7Egtq7FB2At5JMiIuX0JKuDWXRhsiJ6f3zkMXlMxZRp2JL2gr+/VcJ8ygfL4PIB82t1k/+pbmeYSudRQuSXFBHJBHLLixwNR9uO1YDqbfGYGt7RJybx7AphxzSz2+LnoeT04NEZW+6PrchK00QbACYbfm4r5tRahqQqRLkfyRxv4r65+onTfl3qDalcz1mJV6qxbfpeQPcShJnuxSSgSr9EJXjF23Y2imRF3k+fnwsyioGEOfNBV1n7P5Pb72FFEA9kWXvfTcUUT4jlVhL7+gEix7MYuAIxkrUT2HH4kr9+idDexeuheItu/hiQ6N8wVYVKsIxDGv6uAnuGJ5ujwfqfsWBDCfGbaM+QjoU2AVUOdM0I7VXxMbL1i9PxaXvHAORfDqP7WcRchCHcBa4GN7tiri8dyRRv13c7KYVSL6W7oDeKaJjkbEn7UsqINgZPOBqxuYpciA7JCM9cNDWMM1sRepT1bY/s641ofC3rPB1g6W2e0Rewq2gWIxTXZn8E7O37Ind3qbnCsRkrXdId+Cr1+1UPpMH4WS13hFfIzO611p/nlCBHVJOVTszRz2rlG9Sx2W2RK9sgzdmfotaOG8Mca7jPr0oonZF9fxOlU78dvuvQPFvAUbOmwciAMzHu7sYyWDNgiFTWhJi1k6Ic8Qg2mKrSrlNaKR8vSVfjuhrf5RqtoOFNDu1teYn7flOwAZe91GlWIzgjthWendgg0AWfUnI7usBt1CVEXdUoyhjS5BIHPJOQd+wFKpX2f+trVHVqx8WZ/N8ZeoZxMYfLt/0/QpFNJ8UmUuRKGPME6S+iRsrv7IEz/VE/cBgan8kg9HVpN4Ta9GvV9AqHM2CQTEs0+2PC8d2CEKghqUCbEENVa3P5NtVWDOQJXZSejR7p3SH+v1m5Gy0pxmCA+dpsusU0laaOMI2yeboXx56d82EpYcSYqqw4KcUlU8QlEnY7RJHWb+LW13Vi102rXM1Q2/At7AUwk4YAcrqzgUm6+PCobkYfwxgvehXX86fWAs1Hfsawu/hk20OvbpJIRUbgXWDES/p3TmEJPhrxhEZAqiXGkxD29IHcYDMuY6LOKHp1Uh1mpSxXln6rT7Y+EkfVY6RWGV6zTFn34Bmt4PA68zIdnxPnjeTic3dz8aRpzDkZmKn4nTaqzrT0hkIAhXeL48IGAIQz74Wpw2N1oRnWEiCs7bLsQyKLtdSyu8aTTfPuLe8iqsTg+1uHm2RIRtGQt7cC8J7ylmNV5ZikBlBmU71YdatdgjyglasgS+ZesYaAoeiuaRZVjLWQuKHtySgwKoHYKbXo5fL+Izqc3+vTW6R5bl2g/Tt1+SKzepO8Ua9PHNc56SgmtNG/cazgZSdehqpQX8Tid95X1dd6KItLs3uO5Op9uqxjBFFD+YAp0cV/iqpLqeEa6hsHL6R0xSPkQY6RrrhHk0Su8Z75bd3nEWX9owP/dqtKQuXk4JPgp5C/PC6MGv+vrzqzJqxgW5e59YmSie8wWcPXiBHEQSCtou/mXo03PA5oefbI3AEteeLCsGr7WUW0pdVooM4E3JjNKvD5dIjPduvTvDd0s9j5NWYVhN3WW0I0YnP/xRClgv29SisxVkSgKQSs+wbvsq44aob9DlomfPFZPv9FzA9QtLxmatjpqQee9qc5OMU947Hi5gE9LGR27tS0u0KYXQuxUUAueuqLDG9A34VWuTqw0mnMcJVf+9C0WGrAfAZ/8o7axdZtUT7cUBZLXaebyGFijNbTgWu/kgpOPO0l6a4OYec5jEY3hKKGs2dqBKAlDhw57lsSLDFkYLSK5nV1JjyZZLnedNJUP0S/gMw+vKupiKS9kZZ8qEEOjVt3ZHNJJjUp3G0rFCLJiOiaD8x/E2Xgl6LL1iNWurA+p9C2lPQETFH9kbz6XKOjPbKIFrWipDY8iPtG9cS7zAS9p4xs9JcMCuPygR7Mf6gRqiQOgzZ7g7AMRQbkTRSIRSv3rtCsUtiNs9attiNowlMiRCCpqDzZ4IQXTTpE1RRtCTRn1d2d8grd0jpAL4VBSkrp7K4P4zZ7r+EeEkzFgu5ZLDOWuToLbRMMmXnCI1aBIsDCGs1iBvflV7SfL/CGbIOzi2LnhzncVksZPwo9GbvvVyDovUVIkhgrjdvrRv0JlZrPYv1mxvhiq+1VNQHQpsAwrxRPHU+FD5WspZve+AF7bsGenyU8D8F6RlwOygQNSCbTbOF7uu5jrHTocZ53w6uUzLHZakk4HbHcGAIYIfqF6zn3n+W4KIlBv4ycHaNMvJmiWYyWv66Bz5CgiVkBvJZOUz9HEDDgkisRzL0ePd7r6of3NO+gAzEVhEzePZS3NdFBoY5sx1w71ZDpXGy8OjWEg/echxjAbaJ7oYtzMBej1rE+mOMJ0egTFkF7KNw/4lkIGMyn2aU3S2PkV8knza5J0H15iSrBUwtTs0ASUUsz6b+OfzZ3VMH/SIonfN1FjVntzA3s6gsLaaGEcM7fA+jQ4GC91XtOfFOXUrSpiBeTXDUBZXRw1p2usZEdJlLlD7WQKVsXF8S6HH0nysgvpZLL4ZMIE1k9ygiyNp5H+C9fSDLtEgRLaXt0WtACb3T152BQUxvvD7N7GXequOIJGEKEK+fv5ZiUGB/rHNDrtI5K6D7xm+JqJsgOgLGuZAEnlX6pDD2nQDEeQmYz5jj4jI/a9fuAl65XwBJ8b0d7n4CreGTle6iRIrmLp1BIyFGSjGBV9voda9RUEhD2oo39+E8+5OKxLLPNSbatrKXNB9oqLVcmLtFXaz8Shrk2wyn8mMZHJKMxNtfnOjnJ9Eo+Z/MJPUXmeoZHCU+lniGU5/f5EO2ISKyHWfru9ETfRVMRHIPutFavQHWq1Z3GbCymNCj3oZQ3mRkNmhfC/ZQ5hcRV7tQaPgZE0sif/jKJhB7OFF02kzOU8HSVOPESbUqk0RCZasGuwkbZgRfS7LYX59w8cfU7/3Nt83zbGRIQaspYeDbUF4kO95OBatdgMaB6sfVRGUK8OnBtRlV0FaAPstffleCFg68tWlzxWo75Qt+m/6hwsuFbClrB9PBq+PxtPx3Gxj4mDchYp+BMNWCEL0oH8By4zdOKEdtxzw1KCXLV6LSLvqfnK9t92RD6hLxCU47ytLPYDUziyeW91fhj3XjT8EdsBULDNFgX2U0kksntytTA6ZsFeQaH+U1Eor8aZRz6dhLMBVC7sB9LBVkG79xiv5raovBuwlVTl9zGB2mh4F164ekjuBeH4RwlKRw/Ti9pbC8H49v2Qq5194BPb2N0hJrULLPDCkYU6Kx6Bx5sEm6DA7smX6m9tR6C1+cX3c+RRNmfZX1WBqexiYaZm11TPBMETrNmCvqBMZkyIqqIuud8BW2p5+OtuWRYb028tZhGUfq6/GJ6woDzN5YAh02j836YiEYrUHMdhG10A4Kf8QNuP5PvFisjlLYPqa/FHzvEWLc+lo0Z1LPpf1cMb3jriiRQoZpnNXXahhuKGTwobDzDVGb0tV+rmwnEUSNfUwKdz9N6HKthv3ei6dyYyLy/X0T9zBeUavW8JKyQ2lwAZcG/+OG7UHpOQsqg+6rkzOcdrDq8h/I/jbRULFkLv+5w0Tp2fl87PxPIC9yAZLE28jN/Vgy0RZZmhr5QEH/caclammZ+dsJdrrtIjfjI8WRIbdAPDt+BXERdwIOJhjjVyBu4/q76R8hG3mjHzGemnfs1UOkOCE5CcH0aqZBenEgIWpmaOnB4lLiXpHEsndlZRZLAfP0JrWsMr4a0j8toGWOOrKQfCHil0qB6q3u/cnBkrqP6ZSblVQCPAq6sZKZ53YBl/KPWioaY4PlaiE4iTRfT5OUP65T4sTytETkrDW7NRH9a2tydjsJSfPHyBr38cgVJZd6GtGqUX/b+R+s3Yzq6+w1FtRmHjTHWVnbq3ck9sbcOhQ0Z9UUJPnuSFSHBOFZQD7eZuuOzjnFJcRBKd00+Vvo3TlIKoAPwXX/wa0pUgBBUGr5eq0C9S23B5EXF0tAojX4DOu+2OlOz8lxYx/ei7XTLBqaOHQOGlMlRszAFCJRRjXaV6kzq9QzYZvt3qFXdDDQ7nIBuI+EpoU6Fb3033pLC5p3sfiYqZX9Efo/hQB1b0ka03ZLv9NBwYxmb9tKfuO5RBTZzZM5lQyk7owt3iRzxli8uEGDnGciwglu7wztjhnwMl4jMDkRzovHN6iEWb32DNILhighJNL0vtN8caYVamgq3i1TTLqBEwGC0Ar9DRH2UFGB0bHkxvYl8RCjIeeKQ0FzUxeoqIQbmRxj3tUN7Pm+u8yFaLzziaRRANxpuBnVyEv+uhV6j0olPntdHIxWipJ2Sj1p0b3iu9HHjnZHeSZzIs0uoj0xTuWFch+EOG0x0RlAzjCX6n23IaDUTM/i8LiDnu8DhN7L7vYf8miTWAh0VxCBiyDwaZMKGZfQXfubitvCYPVmYeQndhkZQ+C+gQPToVZFeXmywbEa2LairTqVnpyu23cZnHTaELQelr95B26dcKVdxeHKMZcbnF2yeoRkG1l63NKrjYZsmhst+Ufq9w4WfCcb2O9XadA7cQGAz82T3oY8zn2NayDGGPr+6MTxJKeBUQohsE+YJ8qEwL6d7N8twiIWR8Mtk1sEop2d9NkLZLDLwDoDVKUBLZgoBCLhh6rXxmIl8Lt2ajdWZfWwz4g5WV21VJNJ+HTmSC4tO36AK99onZAgMH+x9IOnCGyxcbzeSoQr5dvfp1RBy6Ni1HfxAJQo5CtNgadZyIhir0fVcAL2rKlwHIgDFs8w6P4ve7K8fjtkJ6HMeuMVHzZXHMm60eypWVL+/89q3YyDCf+RI/pddxgzgkJJWC2RpgUa1uNwc3NozCCKQl+H0ioIcwk6Qui5NhNm1JaZ23kpfJxEqrG4WKDH9z7jyjXDoTuuh7nH6TNPJdjSpRxwBc6KRK0iJNQj4sdsHPQFLhJceNgACsjzUS1uWs09dStSr5cM2sWLUUnEv/W9LrpS024x7oX6pEQM2Q8NZctWSCtUgUFWN+V+s6DwfLZvAEPTHlhxNo/RnqjL+VQgx46Kpi9Z5C2VJkahOH9gzAH41+IZtEis1e7URdTe9rmHoTKYIoaYuaDIwlaHRnwMhvmWdxUm1NLLIx+GmK3Gg13KfHGFYTH+tgGXy3r1cyW2tnjEZWUYZ975/8J6PGu9/zH+LxWcPHlm0hubuxmZ+RBJIWGXs/OPBU6ElPeRz9sHAguiy032QHyUTa6FV2bNlZcNDc9luDb5HkJAuA/IYpkAvbHuPzZEXOgJ72dUi6KpVfDEuqNy5RX3dV5Ymhc8XBAjAHcunPDLRhAOZwUurBgGTv+7y8ZIlPvuQvEzCaPernqQIYEM4eqoYIeflOJ1FvdJsEuhdPh3zBL5En1qpD5Yfh225+zlKZiFwc2tPGQjkQL4T4e8F6KSxOSwr+n7dQHRShPtiszSMQQc0lka3CzeGocSHvznVHDao4FmPZoi2pMkgtLnvdKbHin9P7lakbgzAENILAheFS7RThwjlWii6Su9LynTIehSBEe8ZX/lTih0uVJPPLC/hRYfAzAqc+R/OtPjQnEQS0Hg4TJQTvHCtHAkc0AcQBl3dBFTnCetbG3mNzv2LbtNhhExbtPDz/QNWsK/pNhrS8H36BR6vbxq/koDGF+fycLkN+qQNNtm4QTOFVUzIVMlC5ZXwLwX7UTN/kYsHkTEBKAdpL+FU6KlspLWcka4ln/bdyAgpLJUv4pNfPsSZ3hEwk1ecIKeZcQd2Yh3oNneTiTZww9HWJSox204kcSCHggAq/YZAiUCTsjlOrdMPgJ/lftqloiUZdT397MnQpV+0C9HL2hZ3kWeFqE5SxuLBTDSxCg7L09RnXJ4DC3JD2QO9C3mpSsbyqWUA89d7ITZ5GD+bNynP2bG4343UD7btMcJ/KWHhTb0tggt6FV6iSBvMXPEFQ+hkwkADtHjYFOpI17TNJOHPLMs87Z0a0UiqeIqq4wJIRAqajePKi97CjoSPIUQQOI3X+4CJUB5Ck9BOTi+7kl+4wPlkOkkbYLvY/JeRez/fY/nZ91cA4r+5dce42yhIjvdqUGiAGLDclsLQQnLLWOZI9B5GZ6/BQNksYgAeVGAjmqHgy7oWdgEURHNYZ6vnOAtyzFaYSUYF9cBxfAZVIwlR9oixA2MPPp/K9PjbKpkg9C+6XbcpEn7PaYoTKhvJuUq5lCRs4WVPnvneg78gWtlGryrnsGGoCKAp9x3L51DL3BMJYUl8QDfLM/OdxtWoWXZgG26MyV/IEPpTZswp5EcgP7yL66NGyVsw5XIQoJJmZ1H1ePlI/BXHt4VOIGje4uCtieENvt5rZ/XqkajkBr88Tf+iy+JwJ9Xdku12DwB4rHnPP/IOzTOgmufsL0kf8QroLt2pxs1LL2fbzqtdnmSJ2BlFZb4ELb76hOm4h0rxX9hZ+3G6hG6FiqFubUkCw/Zflv0W6x7ok+lPQuIlfkm8/ULf4SIwoeUcaINtdb1MrL4TxmEH2ZQOLFBTBITxjOC+z1royN4ls+wgVg2zmFQV/MwxhDPgjbxOFvecroTOu4DqY18o8PipuaONxLEQjFpo1IUvWu22RvBxiRLcody/pm0Zkd2yFcdBl9lVEUmZxpZ/3iPvbtuNoyRVv4B/pL0H+FeHIPUkGa5D96lTL8pIm7kC/BjAOah5OpSEJ7Q7jTzPJs2+R1+cYg/h07aL+rKc+B6FR7eypWaS5/0OQArnegNjCbeDyxxk9daP1KQEfU/DceM1p6QsrPoXBN7GtzCBGrwnzNTXCDc5OeXGN2d4facmdTINVl4bS1EczN2h1r7MoBdk0zXRIs8EJYgL570zp852v8iBnXmZVutiLpD4mVhhBRpToWxYq0BXGMWqWgz6y2z3prnng9kPXO0exNrmFtdOf3+bv0wzfu4DJKPWFKUVPd3QyF8vBkAbdS7h/MWizY82bNKtOlIh+rf3DzK6RXj9znC6XPNaqYYDP8xtrngKwdEuujyYYc1TsYIxIQyg9slqWu2DBONgwTtmxUJeVJJDCQO1j0TUgjy1AYTpctmu2yH6C4r//cEXBkEJd/LRnr5dghQs6UDKHfccp++MoluZWMs8ZTAhpQmkgJ6Q/D5VMIzSKi+Q8vURcHreGWOw4enG5EblqeqObpuy1r4s8cLlLwSh0CqqdGr7tINlGGYZ93dwcw0ANf7do8i6BnkugoEDh7vbUioxKO9DxkwNY7vkk++1sYeP+6rozzSuVH5fHTCwgcdb2F9rlyTi48J9LlyxH2jNVV1lna4L13EtQWClJCp9Y4LsgQTblCzSxdY4VtY2B7pwtk8L6g41KD0Whk1qOpl0K5lLaolBC38G2jnZqSKPfOf/bk6WcLFVArUGM92shtjlktZXIXO5WpSuc1RjgzanV5tmex6xW/riDFpKROSxaLasb4arv71zyNO5+AyWQcZuHwKERZQyDd/izoYhXvro7QhMmSUfR1G64vMxnWS1kgrZgNvzWILyWNouZ6RvZox4NE3SND4Aad1lONtmuOs0Tfh1vrdUj5ZPjGoyt/WSt2f6KSzScC0JOA6a8MIGUiZSnBUZGUD2q6GRhut2InaI6d0KPD6cFBkDGaHkdry5B1gyFhWS0/g32zhbW1YjgRCs8EKOImLl0e/QOjwvLepzL1W5YjieFvZuZ/hxMjhj2ze6jpkYMUvJpQdv7u2EqOZJj4ofWBZ4T4FzX8haDdEpMIuDPb+SO/ZZ2UQUM07uswcZdA75iKc49lxQGJ910FTQThMA2l/D3V30GRbygFK/7dYG526xT5brR+qcQpkfMAtK9mh/kLdyZ+pA4z7UFMyPmzRZcRseAskCJDgnebkVx0mBPWlRu7uEddQ+asA46Wy57ho0IPqo5nCKmxAbX97EGaJRDp+99B17qENMph8qEsI6Habp7h2HZLNvlhgWATfcVNoW7o8Xfs96vM4Xon4mhERs8F6j2EDzF9+dotFV1/QAuAOTi7LJzzjKjg5Dr6yODIWnCyzEDlYags3ew9hwDSXXRLrFeHksMtFEsXEltRXo0uS30JjdzEWbb9wQbDiowKnsfvBpw+ETSKDSU/PvJpqZakSWpQgOiWwGjh+9pV57leIjDznuLA6ZAML6sb/V6W0sP2HP0AIBZPQRve9AVdEjjan5L+ghHbWqCB3dlBV3zykyxGx1QK3qHbmmkt4zhSgJyyYsLgKjFx4qcRHNlsIVluhoBg18363NkgWD34yAFU8cgQwq7mFoULdhftfF7896V//2jurWLEsN4hUF/PiHpxSs7gOjHrtN78k33LJO+7CA+3v+0QvNiwkUPWyEe6uZbHUeI45V2FXMW3jsCLGcB+MxDl9fMy2WdkFKgmq75zeWA5BX3c0uzFK93SvKgeyl1Y2PXAwq/UFaIoxy4EkNZdkJp6ggnvgoo5XZzHheg6Vm/gSmog0hxVIbmxGckJFwxJXIRuXDc2pgtIFq4xIe3q8egoGO7rJCXN1znA3WcK22cfE+zvoVumXmcVGDib1Za4umUzUyxosbmiahNZlSKg4UTU8myNAxFdPEJBVj/25Feu94MfoKEdAhpCxgd0fVYZVHzS6LSb9PuZVikVe3jLp5neFqffNtRb2wUAcKWygSSpWB+5nQUwc8OgUJyjg8zZpWDpyOmNhsF9t9Wqz7GMmeeJkhSuy8KpcxE9OQG55RTZKviiN2SgBtYTGz7OEmPgK4brXNoEFE20FqeIV71ao/Rd5FI8qgzPK/rKD9+MSylMaVSTkEMRDzPp9G2tdz4cc7Kdhgwj7dutM5F14sWzarwXdjrPlDAv1yqrMF2t1UnW9PnXLNf4BH2N8B9nJk9/US8raYBFQEJjafJbt/v0I/zj5jCvWa8JpzQfrrz1Gxq2ORapc0uEK82hM/RwgB3R6Wyh4qyuCMM9nkdae+Y1CQ8plyYtd+cuqtL4Wa9LQUAhsilclXhJ3dnvMQH5M+zZh3UzW3fpJSsNJxiSi7+R87kEDXRlJGgwkIsxo4Ilt3pNHkt+tVHYqEgP8bYTemkWwAQvrmhSLKmnpkWCPKijWkmhXipo/fKdiW5cLW6/zjnHi5K9RorQ3P07hQ0zoPAoGS2FQTHEiVyePTQBo1xnuPQKTYt4xNK0svXtMAWFQArzyY8rH5KeL0Fa3f0JdJ+Fp/4fnmRN3C1zFE+cLds8K99Ae7X0FIdCC6AtQYT8rHoHin7FpjPx8pimUnAhZH/XHf79MDLO+1JQyTTFT+aAVnBBsGLpCeg76KfBD/4+Cnhhc+7RQPl8FQ68/tTX7RUywGTUYNJUGXuuf4IvSjtR6BXx76VRFV08XJRYh3M2m3oayiHtNt9Oy4iICaNzU5mYK3FoKgNy8nG8t282tg1vqsixtTtXA8EYRpHzT2MbaE7wRXqVKNpz2HUpc/uWjoQGKMLho+FPbt1aYvRUQKiU1Aaw+6ouKU+ggv4XYd97yC49ZfqRohSU/Cw9FqNT4LwBJeFGmVFEI5dUkgAPD9q6GANTuR4gpIuSARTx7g8ZlVYXO8BZUYhrDs988MxqCKROaaOvzRFy9fHs2P02xC5ICnef1hmF44nQfX3ZBBOFpoUl7cS8JBRdbtyu3MKsUbmLjfpN+v4plZpWMTgzhsSDDb8H0BO0RvqlzJVSpUjunTjWgJ01ptX3CFsuj8Tu+tWPmQUG3cbaDym01QaR/p4AYyWyT058lUc0s0op5DsokT2jwzGgmdyR2mMtLi4S4BDl4Jdpo6N30HNN7bt6Su9r617dz/HxoVF5gAN6Wtgeb+S/k/KZXvpkPkS9ADwK7Vuul9OCFoC4W+4Ok7p41BMgG+bMJg4Og6qmJoc7F9/4fWZ5qRW1Wf82aYmqmd5zOkKSOJ+qm27jllmWJQMKjf9DCe1KL641R2HPIniWr7BTtvhNKwSwSL82/0rc2mLCVoazYyxK9O1GDytuEjihNqck1FD/Nk9wAFj9gDaBZDUv9kcRJ2q4R6+gCgQfyztb7UWnhIR2kKWy4tGMlI1EnB45PQBEkVyCpY1UgAAnLB8wNkobH9YPSWmCaeacb1Isb+9Bw/sKUpFzLD9gNYGhVlTY2w9hEvsLPDJronEPTgFgZ6M0HT/yGnJywmiJTjdEe1QNQU20F3Nd+h8ao0T+XYye7axh8droSmHaidyv9s+5Xzb6RjKuLLEWuojI9vai2s8VarSSIeuIxtgRfvkh2KeZwQpPVFdqX98XY7qqzqP6LaheNTO0Y7iLubgx/QWwoOhtcxC7SKruNeTbDiEueCcyouulCtJcux46XKMlWGuRE9e6rdhG4UfYYjG39yWby5kBOtEgseEES66UhvvdMTPvt/Nlkx+ZyKScsf8fOFD2KQz05zIZbvR4KXygSHQYeTuThfG/6QM38+XgLNDGgemfCRagcu3lqQa65UGapV2GwFLO+bzaDssfUcGctYc5Pr9W9eMKiaL9RHQWE782dN41dlUF+RkO4sDbsyUdF2MLSfKPo/96aHWQnlK6yudPigMufDX57L9ekyIzO5R0AOg+NZf2NfNRSEwOlfLYcnkkcCRM2sBXlDoO/CbvWH9otYPkI0ERI8MXng4KK7aBAkJ2zIR7fpeMtVgHtfQx5iHQE87n1xekc3r+VvZVYnFOtzwQnKC7sE5orfUI+LCRss+Sed6MMELvFpeWqYp+vbZKc0dMopux6JuBM0hRhyY2lTNjJzvR60g3M/UGtKhP+ADP7kpyZm4r0Caz6IcISWOH2QvtIn71WHFuc1AHXSVenOzgcQ+nHs/Qg+9hwSFuysmX77WmmYbEgt/sDEfGJnnvAxUZEX52sZEZ2brj9+1E9dmgpxpfvJQ7H9tpKwW+Fmnd21fRacbkW+/2Hjt1b8S3nUX8r6uOijsvmj/9CuBmaCATX9/OzwhDgpA938zWKU9zRDsAOGrkRzxjEqYX4DAm3krLuCE+CeQDXV+QS8PAE4RasFypJOWortwcQe2raV/7mgG1bZskQ4tpHZx9w5y/wkHO1Flv6q9uzQn9S1GkwXW4cHHy1mljPxeQAhWZVD9WzJeaP+1jEN0a8u8uSdcBXM5EKOConHyP9Kc93X4ZF8mOiJf+yKs1c+tQMIfocA7XJVxe+eT12t8iUM5MELigIwwxPYk5HUSm4q49t2tzFs0jezkeN+rtk4iOmrUm0MNZBQl7TXFbbrmT3vH0lL9nIH1+7/NoiYpIR/az7BrhjxqzjoSic68KYeCijA4mERZIsXjBqxzMayeLk3RaWreNIzs3qirR+javBz6Ib95KuaCqSoC+KOwI0mx+vlo+jNjtVe+t7Pd6Cp5X0cufZgRA+F2alBqj0S4SJTfVTn4zpO+udAY/ATzeRgCGj6yjqsQnTZqEsTwJsuaJMMaF2a20+UZH7KxbjJuG3TdnOGKkB2tr38Zc+W9wgHX8kB1HJjqau2bxGfYjyyREC2tjMOV/if8kX8e4NK5pUDt7EOJ6m9xt2KYJuyOdd+bgbnplGuZ7fVRxwUsSs+jXuW3qmi5wzQ9GSgm9Zyw6PBjrYcNA5k3uH4xPGjyPjbPklXKTqlVzzZxgZI9WWDeHLyEANUVVnzGVW0xKEzGxE51G5I51ejL4CU1dYi4oaw80MOT443ubvT0y/izUDQDv8jDmekes6TvJQuOUIOSORiYz/3FdQ506uO/0Vzqbn8EDgRp+u2LtAkNfBnY0gvt+VzcQ1s+gc7aH6T4DReJQohuHt52zSbDjZkC7TNowkvV174ZCqtEk1iS/ogRxtMI4JRUjvG8kBI9EFAcoA0gvcDnuYdtxwQsMgb8AFFcB4Zj04QI2s0E3g4x39AGsLVNWEHsZOVxaV4XJhMfEC75QD4SWOkPfgqtpM/uM8QOk/1wH4cFW9pHFDLEnb4CQdImzGNJAeIDpAMdPzcMBOdJUakdUyDtc7eODVfxk+VTS9p4jar/dfv8zCgJcu0qkOTJvi50UbZ1nlyoFN05c6pqTl4hZTuZuOrzFXTswvx6eBi0LfhiILDtg+IsIdavFJigodK27RodK1oB/e/skbIcOmlMtb3tl1/I6SkgvIQRRNRYCqcJovQAOcRO7Gsw2YeypB/Q3ZI/ihesRwcRhExPaNJYS9HViftIifzdjKlb7KDKPlsf9A3TjGhxNvUxBBEZuxzoEySajX8Q35bDo/k27sDKRNUXvh1B8/406VQZd10RykUfy8AbsnpEduoSSOs4YLoJJYB1Q1LLLCmIleEx05D5uyLn7S/4+ZduXfK1M9KE6VGTjp5RSegol+Esi14qiWs0N3PbUWqVJzDkuJSzMMbxEDkIiLzOXUhgF5NF3HaFoyYCpt65iYVtMEasWimPnO6RMqpjosFUkmaACSr4FdIARXhXHcbi+/BqSQW7txlnvs5ZwtllEdUU9eF3NDPI0LM3nO1IgUeyX89he/ZaRCUtXQoYmMgpl9CTOTXahRaT7KcoMFoJJiMRtUz3f0LIFIkD54zNVb72Hgw7nOb3y+xDup0U9mOHBfzoDdKzLP1+xKw/nKjJH/hO3R2GHkwYUNq+le4sm7FQH2dh8cvnr+In/ws4qMvcaLjkmIy2Fp6MWeBJy+urzXtFUWwgXFO1BOzWK54EEe9pSyEo0cFL8z7W7eZVFtJlbj0ZmcMzK6HX056H1gKvu416m/wC7WPah+ZdRs1bD00Nk4lvfDzXJxgT3CA+j0wqtAE1f3UmOUSMc4THkh9LKxabZtN2zSFFymMD9WHqZLuAx3sx4ZlZNy8rWrKzwSpF5LILftIJa1pIqAGmYs7u/OA019g0nh9gFBzbPNetaADH0GrdVrh/RFnErAV2kU6g4a+VnZ2tZe+p5/0KmOVRCdX2gPe7JIsTawWAUWB5w4/Wr3T/4WybEUaZvmA3M8VoeD/Npc8rJDkn+Qi4VhA1mL2+gz35q0RtjTKH+rF/tGcSTy1KGghDa0DtThf1jL7TnzttjyRKGxHnqY/Y3ETQ07j2iHgdJ109/JruzWFH1bcNDSAgHDC3+/Zyv5GwPvnB1cBL8qTPYPJ/vnyHGNoqVHrFiN1knPJXELgtXeTONj0EDYiIiYSa2+E5S3rfPGhN7JHqcVx4yi2XIrz12ACznD0KKeJLDe16dqgDftC8CUzQBzoNVoIfVac25wKMF+yYJENdmhpjz5ezr6+SlMXxQlUGa8aXXgRlMHKdGq12e/CmPqRvOEp2Hb//jkxd6zb6N49RxpnWSluSffGV8Q4TuQNbsbfOxvy2tO6Xa4ZiS4iFoRTIjmmBB0JBe7NmxqeIAEx8UtpxPSk9t0v7inLtOg0FqsPD0+UKV6kR3GaMgyVgrXet2T15fEjxtlRhgaFZyKBwSmDNoOfO4QpQL9+58GTZv/Q1jIPLSdLirQlRf7JRkeOuudD9UtFuRvC9iE1PWhM4acotxJofY0nifru71R42J/GAJt7gvnsi/rX8wHGkNfndt3BHGVHrPmEqq1jbjvRWbgMpxs48W5LN4t82USQRoBHKlJEmJQyNsulalK6NrFtjD47zBKcGtNfJq8A84WWzV16QQvCRR70iKfBmf91Pj2lN4QMlcm6vSe4EZshVqpjxV7T6e43p+aH2BywV0P63PIZ0cZHEes8BAimQgBCgTGvebqk5yIN3DHaDfHLAuwYnxZyiYrubZPuJGqoKXub8YVumkSNvvFS47ffIlaznqUSVb5YumzEqPMHJN1hKhY0XFeU+3NA2EDq7JAfCYCduYXpWIfxVihVmY4XLX+zelMQGWIzRKEog2g8oHn4MxpkNqTlB3+Xs8nnY0PcD3WwPBgLrmyhWg3LzlmxADf76EKUZRXoRjZ75/9LcHabxYAwg0qdZJqwgiFqU4R3X4LWFrd6tA5EwhrwOfOkL7TAofWKEKihVfYTH7XIyy3w7UyNVY9A4hZCvBtMUSCSD1ojmuIKdDlcKd57LqUcOIRxG0Caz1w3l1drx9jSrlnH7f3JOEVrb4Ui1muLihu+42UfkHxw2NKyQGqyeYV4FWvrA0c4e/IDOdd5LzVqVRN0W+eSK3LY52LR5tCJQBwQlsf0Ypd0pwJgg3TdrQEeXkXMIBsre4E81hR0bIKxYQuvN2At7nZ5ml29cGQSCeqSFlDg1QOw5wOz6fl+BHH5KSvOIpWDPoHcQC5F5W5zYrIHOWu3eaH+M8/KRgJ7U/1X7KQNKszI7P2GcMoCvbXNrsbkmN0jsAr9bzYOLO0v5cDpqCtr8DZhgrTASzux0EluiKdON9gYXL7MoLO1DPlRMWbY6jzaS102/6qwKwU4NwvyGkaWPAME7Sr2tZnK/JwJ0JMiU3e7RXnll/I2g1BVpBRImGzcey6UA+7I6MW9dq3UreQWxbnaH7LXEoH75Mc6/CkKMufwJ7c5AbxhjihfSNRGNiYvE/7adKhg9VGeTzDOZbvkYmN3kQI/aDAdrg5rLCwU8RKSt9tiBxeAOYnfXqTUR+jjBnjli7xHz2TFn1Eu/LZWLYMCq+5uB+Fk/cbusXaflDkCi9eYm06l+n3mHiRDqStJmDl0c7Sl4Vf3eToaJ47jnEnufchERBfAuEbBQ+rmXesMt7cTuD3F71UiPrSjZ+IaILqmEniQuqJBIVR+nQ1+GZ0f31r2lBaJrdHJ66ex09VirVvI4HHCHsVewiZuak5wwhk6lw/fJBsctc13qSz7k3sRUvTSkmb4DDI2F+5zJVanElkAeJbsldjuZGNe05Lcf/5aLb1HwOzysP1PH8erJ7LwCT8PuqhgIK2GxQFHorqQM6YL0+emyKL9nd0dCbwOCVakFdyhDetjI0fX+ic4bhIef3JjHVL84x5C63yLqjHOxKYUwXTCZaiUeImjYRDDnSDBvV+IW+J7hF5JND7kjw+Iwp9KPkeJphfwmz5jloIlpaZ6rr7456D6PH6n5rmqL1tNqgDx2cVZX+6FKd8kt0SjbUU6qk7O6L/3m1kBYLpUHAReAh1TQUCrpPcRFvJkNb58WsHisjqyF3xpG3x+uRDN25r+G+ZXxLaXL6CE7kLMRYAgCuT9jkglo9uOZwcEECEXRdDFN4ql6Y1YUkHzGrSCSo6mKkXMI4Gbpw6FiXJERpVk9OIrQPOvPg7sA2kZvzVtpcgpVP9dzvdQ7NCj9JcwBqh6gQdl8RYjRFW4jYMXKzFLvI8yulDKFbpnjh46JVUSyWM613f7wuFOqpLKJdkF9L8OB2x4IKeONxzn5SmOlopZFtJtLuB3wr5hEsPVXlb2VsA9xACEATn9dkYSsGr/L97DUh6OIqZCAzDzuvWbdU40QAMKX9BHFA1jNemYECDem8iXbYe8EBijhusS64fBEN7h6l2IdR6kZeMbACUwIudEMqN1tiabCCj+y5F+HgnTZ1FkNOHGq3MACr5+yjWNBCegRA81fmaktpLXxRh28p/eQ5G8WYPcHRphOewwp8r1aMTB6SPLhBVrdp7yUbrks3PRmBPC+o5ZuoteqpYjF/ggIBmeENI16pmIR70CIFM6pxnV2N80uyihaxvS1XahWHf3tZbOqMLH7MX7k0dV3gKHzP16CO1PbOtEMaB2GTcx42ipEJbPrlKUixQ03KmSaDyIbz3qYu5ssB47xqfhZb4Ve8k9TtPMkYXzF45xd9H4mZuoVyXyZSrXNW89t3bYddkeUnIQsfwVsOWuR9b4XlXXbB3ihY8vxD92KkEXNx7ePK7r+AbPfSkveTqL0rr4+dB4ux7h/pMs8Fr6m0iP+cE+ysuRU66tTdqqwoAgNzEVUC7ppCW55qR1yrZ2gRTAa9GY/hjgS/MwdSmqaF0Vcz4ORqR17r65SuI5XN92sV67kvottCcI2vBbpTCjDNKdk98j9QWrIltMoYYpAn4r4oSdAZyFVEUwyAjyW54LNqHrbhgj92E7Yj1hragLPeeEdTIMuyExDWZHB9vYLxjO09/qNBi91AJRH85TmnB9GDQdiwER7Kka6O/J1p6ELvkWuaPlqTRPQEU3SsxImQOAQtgqFbqanNHzbe/TcV+hH0bjlSZxjTNLetACxRbJKKIru7f2dDmFoMDT5Zvs2WvkEEbEeYoaLQ89UQqB0Kx5nhVxLKhkzC+PCw3uQPCKxo34uxUNJ5l57rX4tRWX0Ic5AsYkNaK12Q4UpqfJuXkEsbnfFA3wfhEWbrDlAYKnKz2PSgV3Vu3r+SYmsU28LxXlpQQqWQr57lSPpM1gLz43w4yDhIWbEI4hMj8qVngFmWepAgvmW14QmsYOJPXIGzYqghXGjeKWUG8+xGu+bmct0NZn54G2xcgHGJmJy4oUuhUIB676JZgbkdl+omeSlbi2lcsJqk2v5Gxwekg64banKgxdBEsgnEHQLHf16f+jB9tP73XbbMrOB4XHd/e1oNGnW8KBl7thQKiHvsVBbOMktiYj939CQFYkcT28Ac++m7TeEXdADU91JIEj82hpOZIMK9uTdVUpVIT7Gltoqjs/lHcDOSP491y0BZ+spm44HBsw6zHYkyUeQTsXKPqoTw7q78P0ykxGoRzhLe/QH7mUsSDfdlukdl9mVOcMhXWdf3s4D0uwBGZOhe5ghSI9nz1VlNyaBsQSDQrS5VpI5WK/eBhpvloHGPUHPJDjiVONaRWc3tA/NEYgGP6r9/jRxzGB2pwB8YpLhcL9JFegZAS5PSEXWwhInuGDSmBsu1Ym4TAh7xBANj2D3I58x3dAY5D7cHttuA4gBIsDRzyfMQe7RUOmGNLwgnukFNRk3A1iuCSNPxMjRU6gJBh2CvOIVLhFksK97X6Q8BFCr7DKGVYupXov9eqRxHF6Fhoxik04jFF2AivDGFBMyYFmYuI0LKze8QifDaNEoCQE5akTy22aPwk4i4+hBqRJQDFn1PAEQyxITlTE8GsoU1kgHwSegbnPNwPNykqxYLTDiHERcvtOk99rZXmel5JljZQA7QBrpnJOrT0BFHprn3inxbXLP13WBwmUM0jQJhZ6dlAi8tEmNhMISUtQkOqlE1Chv/R9sGRVxL9mhR5nrtwPcL9RQilHt+vBEp1Is9WyYPkIFVSi1wpNivYLrfkCX0N2dfK4UeRD9/wPxspOa/JbZ7eLuCEXYRvOIaReMgg1shDHhjTrvucm/P34gnoriFFq31PQXTSfc76BkcmAIy6GWUXu6uXL7hlY0f3PKYxgrDgaCqtG9AznH1j33qNWsdyaLD5DEfK4kZAzPDrTtXzKbFntfExHtN7UqKwJQI2itag6/2JmmlzsRmb2AOEy+Tmwl9bz5ABaXpLT395mHORMIL3+mxUrwePabsAsOjC6sN9jsOlRzVtVl9MD4Mk9I8aE30b7PmtAlghy42NqAhWzmVVmnRY7OVBAYAJe1aLKz5IglpNokrU5Csc44uYjUJwoATGyUUf+3N9UzLlHwSPdo/lKN/7S4fagYPlGYnbkrZ8I5VrBrDcMxw16LgMyToGvyX1h0RJBLCvV1gfV52y4apj4oihuhaePJe+wH8hrbGBtDqCm7nlB3lrrVrG4I3h4GknOuOTRvT2bfZ0oxe+1k0JDNZEnvIDow6kcFr0hbZj72WFc5aj+iQc5Z4sgsUf0o8mg4HHVyMCCBTfWBYzGFS/HStSym040RVX8UVp4R/kgBnLSnIE+t8+zv1mMm5954Oi1PSGmKFYgdrzRfkUq4OXLoFvAbHqAQ5205MJYI1DSOGfz1vCkRqcY5yYR+UvsPdXjTjk1SNaWjX0OW62t7ebNGG1EqHAtqsQX3CxriY81JP16MnK2ugw9jaQ31fkAqd3RP3bADvMuZXFYmgF5Qg5Y52RnOg31c4mXgKFhoQrPmMkmhHcDju9r6dJF06dlxnY4Cd2BTPdnF+QJdTeBdEmi3jkX7m1EBvR793ITZZRCgYPnhdofekt8dxNjZUw9HL2F62TsAn4+U8fOhhRjV8NYeWDggXsAzO6fj/8R24P8yJziHifPUqqZuhqkSuh2MlJIgl5JjPGnHvDlo1Golf8flO0rKmv5EY+xV+MByXofb4vXt/nbGEfjFgvrxVocoN4LNX/3D28dZfZa7r73P3D+VBO0EjX97mzBDKkdDmc+8RKsdxqk/imxNazY0oIA3i/4rMsK1/5+NDYPeOFBDwa7Kvem2eJO5Fw69qX/MTiX1iIa4bHZi2hCMJhlKWXABB78yKI7y1K0L2BRrb9LB3aCRx5Axf3qbqDN4/M9ndXgzqARp4Ubw65tu7h7oN3m1qjv0Nnge+4CsE/jThQuwasExU+TESJAgER0zSQa1Dd6b48wn63p6B1rCJ0xwK06N3ZCxyDz6A1hFZiNOJ7JVBYkAUsVIKHfuGJVPA/FRLnoc717YkYuW67RfNb7DGVPKZnCDqYak3HZ9+diYcqedEFTsv8kh7lqDhLLq8mKyzTxgPPcaq447wrnC8nJYe+4keWQULeNX1bltONC6RkaQjo/4EsgMQZ+j06A5Fu1+gxr1oOOsaGxY7Jz5j4U0tC+OUv4sDNhJ4flM+hxwuu7wAaG36qdsq7zwqZfme8xWauhvS+wrmbRK7n7nmM3ZqOPuF/UVxSR4OJ0hV+hJXUzWGMPGFkDr/CMZMb/ovW6OA8JtiUkePvCGS2s3Fe2TWWeS6dNGoEa3Nbvga/vFB1ukrob08nx6pBqqbB6bXrdZaOaxu+Zmi7wPFCxEi1XkfSRoPAFpztvRxqmS2EFAQQwzdtfBVL9HGP9vrERGBZwWbwTZIreFWylON2qAnIFk3Zx5cY0hD9lZqb895wHacjcPDuJXWHPeox/RitUJHkcn2mhuqvYFYeQTZQHntj7Mta8PFO2zaSN0smtoyLck4B/nglZg8MFvJTJKrRflSQ84n0a+q7Fu6eGXTJozHvNxcX7PO5iHPSowaN955luIkrM8o/jdWiuQaVTA5LHeumfRH89OO3m16R7wubM/dqqJDdh2cHS2HDz0qqUkO5d356cXDxIlJhYrDE3XT3yLwHHiC0THpt0FbU0swyb7KIy/XdwRY72AEmI90P4LgZz8d3TxCZk2L0veqUd0XWAN70JQkSz5Y5R67akcUU8KWerjK/WfGbYkoXnbumsQhjas+qmcCfH8nSs1z0xhFzFeTqY3jngBiiSKR2UAnzN4fKlEuNylNheG2uNpGDQwAOHqfdGRFcOwwKNssHwZTnM28a9SHuztaN1R69qG4BA/3xlw+Q6jr24dS5fzON4+DCq5lYdRdgtXIVieoxQW97cpqLNqyDBziQi+fEaT2YMGw9sJZ54BjTa/sN/81Vg5XDLhU6Ji66sQnThXmWqVNakjrPZlCs0Qtl+BUy398/z7cTsS3BjchsN3bPUNkkbrwYMULT2tr4Ki7jDbJnoDAHs+jeNp5wVWiwUFF10uZrOLAO/MjhCX2u79vPYpbYTKS9t0wFt6goI+rmiQcit3r9Bv/HOqyGZOE+neZzLnuYFgQpruIPbujnZlFJa/yz5owdFkH67Q8ULBjpW7DVQbLqyzM5tzioPPzjFTn6OXWeD3h+/tMeogBwi7YLp4zWksDBkAxhiBLrgJC9CrFv9Q0qQyAkcQXtnD+XF05dOLoTweo+x6fIObNWHUKXfmPsZVsMxGoezPrO8WydEKYfK5AbDU2tmxWZ2LXuqgT8wu9BYLd2AnMoZMlUKLqnZ8N3S7BNQ4g375//TKpivqWmNOpmwjsHQTyZdrFeIrnIa9KOrHDvANAAIuNTZN2o+JdPPdKM/7jwAz8kuxsmuo9B70mX4BqJ5lHKQ5Pwm3/BVFSfn3Wq+uWeIufn+2f/IZA4TqWyy6DBCG7t4BeamTk/nUweHVJYdA+qNnuRpinXeHuZJnDmXsZLgz7+QsBYwp9+JApc1nWP0dnLBrfQc0W40wzTgMuDBO1t9gSz8Tcq6Oj83OmfM5gh2RRpAp/Ayyd7sHc0s1eDLRhN1At1HruaCeB2a7d+s595NDw8CGitOlfuPD/hQTbmuYqwMwSs53MaqeHs1TyfBKisxK7JPAAoiqJCHGIWGVQ3fBdx99TpWxbvxR8kQnNMMbxUYtFOWW1Z/WCL46IlUW3bb5VNWkpzD3V1x8CMnHIauwIJ2j0XQmN3AMp10sXkqNz8zA8iffl45kT6GYT1DS694EjutBASATeutcFuputxEaNqLFLpdFMUSy1cZw6eqcRUODmD7uNVsrK7YTZxKWN3jF+FOQcTS4uEwGAyiLMxeZ34bkZ8sCImeu4jxLlB+wHA4kAqhi7J2n/1/4TMafr6NdwnnUC+UkGGwPIRWWWkQkCzxa20LVoEJc3FWX3FTNeHzBOMyNLriyeodBiA2iATDc+iBH/FoRjsIuDfTo0ZC9d9J5d+1tx9K8h+TaAR+bRij+IyBpuwGLNwU7ccJ8LHnKTSeMGRjEa1L5diohJbv7dJUcXBN7dG0r2rDA5P6IUWmGArtKeLRsg" title="Mekko Graphics Chart">
            <a:extLst>
              <a:ext uri="{FF2B5EF4-FFF2-40B4-BE49-F238E27FC236}">
                <a16:creationId xmlns:a16="http://schemas.microsoft.com/office/drawing/2014/main" id="{B2A52FCF-5BA2-4967-BF32-03A3FA1A9619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4382125" y="1751330"/>
            <a:ext cx="4373190" cy="2592070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1h9D1Z5GDtPW+wuCTrU5cbsTyeRnoM7v2+KYfNB8pPDHY3/N/nQDLg73FVUjs5JX80ZEMdZ5aXYVE2SrM7ljDixtoKhF4R5tzsuuZUVsHAcuNRg/S6dWV3/DsdPNt0wsSzx5+btAwE1f6R6FQ/Jl2dB3wwdlgH4xZ9qIGhNmoO9NxvfQ0A++rrVltUHy5so8SRD+ORZkdpXSsmGGIG9OmShgqvoYjnbExqaQVBTuYYt/kn3nyJzDm/4DWRmF7l3GSelCoMWygFWAi02v8kYrK9cKXkvNX3//4nHhroDXL5UESKcn0BJGvsZggPvLGgg2HcM6X34dvzhgkxxXqNziLPE3/Fd6MxWYsLVYw/SJwbG/cgtR0djVNSq1WNsi3IGGgmy29d5R3f8G2FHPZPqhBQ6u4hUz0XrIRobnJMP0KU916Xb52r9clIJFchFg7mcmFaNqFTRbqo4F6wbQ9qz7c3yxXNY6i0yRCabZzQ4Lp9nRHIEzSSvHzjFyOpoCMrN7l30G2GRgtzEb9nA9dTN1lp2MWAB/SNmzHqqogJkP33StoUXz1Dza+PAuXMmAauNBhcuIfoVnw3NueeTQPg5MyvLWsHIlPCFo2s1jK0hTYzm+EQyRQmwOBAK4TxgZGYuYYL87j+kjaBCEZZIY93Y6y0tq8ZJdMSkxRJi59NNO1O7Uw/2hEAEnYxHEgomIDvX8V66CCk/O/QcWYYC5UkL19BQ9MLUmyHdKGqPbE0gY18DgXrORC13mzARpaiWJpkvVvL2FC/BzRwRVUclprxMezJ97l433WxA2TfutWmMjsqGk4UPHowvcYURSx/AX9hGyzULEbxnFv3jGW3YcMoyDa0GofUPQW6q3ikn9J282Z3ZJ8jMVwnj0YLeHS2BCebvbSAgUZWI1fud+AP6weqEUAGdqQgnVqlAMHsPPG3siFHN0YJyGMbcpHwuTBRbxcsO+7vFcNuO0cqT1kpC4YwbTeuL07HR8iRDMmgVPdmHJa9/2uKvZQacnrTfrGQkNM2TP41u07lRtkvRg+I9xCRBfj1rRYnFfSC3ajFESof/cXOxmzDS1vnTC9RVEWyncDX3SCSopZ49PwQfvcC9Dox4kxYvjNN+h7JNW6JTiiZf3RaSk3SwOrKACeRERZTvYDLxPsof9CNDKAARmoNDZA8hdeSQRNB1302Kc3pLDod+Wiuldowe5t2JLY1+hI5GFRsPmlr3clQHlTCvcG2EFo+d13jta6NCx0zFEywCjIHd78hXWqmOMRbgVw+p+CcdNdneuZXe+cPfIQsrgEeyZFiKwmKwSF7HT3WfMKiQMh5RRabMcFWv8uOPXYszIr/updAosel29tvZv6zOt57Aw4bx7+SGIl20a55h5sqDG8AKgSqU8FzXna7GSW8a+VgT3dLOgJ3UFZhYVvHaafPoneS4mFqwQY78V4ojM7CXfnAwCGAXzaCLzPcjrAmiKulJSoCjY2T30OSnIm5JZFEJ0FUDLJ8w/eh8TTfj7SE6iFbIc5aP9UPnNl8yRu0MgA/lULyCJWdHyfzPEGBsUijZpWcRoAOjHIdc/NaRZtWOcI+X+/IzFCj9QPTJex0D0bSERazNwW+L6Pqgm+1iZdTQqRjJkKj9bOwjCcHYtQdkgcsnTxlQUuLsEVeuC3NHofCurTe6ZRkN0SUHWpuSu1zkW2Hh9KgqzZbOeeU8SVHaF7UQRMm+gmszZrZZT3j1uzsSi9WnjXfES3Ufk1rBqQapdCrKsJlPFen+rduwIamQ1VVXtjpdzYsEQsTlTZhShoG86hkFGtCQW8VhMhzak2ptuLoFCCOHb9RGuE0FAKHq6E3aPvvtQiEuRTf4TnuuwmYbCQLYI1qyoWYFFlne+hK+CPq4CDdCbTRFOZ1l+bM9N1vSGhPxRJoXts/G5NbJkg6HLtnZzX/ZJiG3c2ynObuDrZic0x5hPimClJ1Alywphjf/mjY/N1jnwkJDWDzngPpO8FhpsJdLdNifrtCqaCb0l7mO/rhQcwp1GdXUD3EQGPM0JuvveyiqZN3TDLuocMq+FAOf+6apHy16+CQy153KIPi+MCA5xNTrL2qwPUVykmPXkB4QMkEA0hde/ed20bsSxcql6Kw1MAEGxp+0IYOiImxgs9QAkoTlTi1GvplMo3oO0cj2RYt7ivgj5MFjBEljnp9v8FUzAmWGr8iIycPTiMfaEZtaK5XR+aQzpxWMzi+q5WFxW6QTulj2Rm0ZmJJb8XPEvJ9DZNBwyPCzPEvszniDXxuLjteb7IsRQuLHYxOk8TS2+nJHqFQJVmTpaCZIF3/YN85zhjkdyBs4CQnUAlkIboL5a1iwuwnUVQB3xTi4PirZaISLv1mSfNEVephcf5iYmK3w8AutafiN3ZijeYh996snM6wZL1uCSihcza7U9o/lmSbrk+sBfbCK5oNZZRVXr0BSLvxQni0RzWOOxQTsMltQSvh5WKl2z1Hnx/QXeXxmYJgp1nDSD3VnMYnrTxk8hQw2S9mmXgQfT5ctXrgiS7GcPL9cqYh0nNX88m5Xodr/mLA7iikPDBJa7n2O1LrFCDnwNJHc/HFMJy4Fq+hPSRXfDb6xa+gCHrXBVeYQqC0ptAfwIDOfcufgFjOmoQ9AD/dBWOhYYbnKn4t1SU2d4AiHlUEwgo+7bNGFHvoj0+SIBApEp0NErrUBbeYV80oHISPVHE5MjjoK01h9QwZvbj3XDzeZKFXGEi9P7ncK0bh+MK1gbSr9ag3GopI1jXIss6jDQaSnnzb8JgYGNvtBg+v6VawhpwmWtohif4M8GoY7toBJWtzk23D7+Yw4PS8EvIANZz18KCG4Hb8fu4zanS0bac2RUZjoYgBG7f0hrKEcjDtwSRwcW8zWXdXIXMkMQ/TWNDlnARur/VW5QJcsBE5AtXXC24lAEghMTY2VVCVaSz2LPXhKFc5sW4LujE6ouV74xoBDMhJwcrnh2tcFdAZdFUIBJdpKv+KU+RAT1AEaNsnqQKXZIOezCuRBUnrcQtO1W10/Fc1KVfY52fDlmK1ObHddKOTuPdlwDmZcgpC8sCQSZttG3ti8EWb3QMNwlnR2vhpBSCZNBFdk4PWYMY4bWRyZ47iuOWCFYq1t6hWwewjuq++Atu9Xby2MxASEq9QhHphBXLnIEy5hu0xUkrvff/KiR7EXbvtoUIWXumfOs+OqUQf5PbJcoUZe5y3aGlvLxcjeqddT6Vy3e8eCJIiXWtYMTuQ9UWObTXwbTI50crJfvrQg31wsKCJnBxhzUdpRdQPXLz8m+MnIVbfobwG4m5m43TM3hEGrwYJSKyb9zPc1V/FZuU02UJd2t3st1Fs2aBPAauglR4DhnPu/bKF1ydGvSpZDtemD4SRbK/OtAqBqkyAXp/MSrdcyQVBOZ2OL2131BMTJn3fCjJuanX6y0RC8OIsQqD7n4VVkAW5dM2Y4HbCdi7EIe/7+fenYbjmGQSGOF/ClSgYY/HZVSyCAYkTmZX+C0gCHvjrMKQx6Z8/dod7k0e2AWoUQZjZ/mmt/Tu2v3QEQr+nowqxwBVFK6NryyOHXeQGFmuakOS1ke6N8dexCvc19mAc7zOqwW4XPPOKT2VGCyPNUYpimYsadNFq+10w9HMWkCxtP/sGOqp503RDx9sAj1mfWnp8sANNvvMl1wrjGOWy1oSobFa7oSwX9LYyp7sU04DoqDR/qYuVC7pODlaCtP0yT8nab/6zw+JUqMUWQFIyTBM9FUeq5f34AegbeQb8brIf/E272af95iUXFNORe2/y5+KnXCYOvMZMdYU48GGrRGc1QcLHNKw3DRly5VNm2H9Eue3KwDdkMkzcfN1ev0LE6DNG4chgsu0u0t3iDg/6pBreyx09Hob1wJPIF6WiyCOtwzKXHfgZwyK6nr4upACy8J7e/YDjbBy7EgbLS1eueRgNW49Epyk58U3Z+kkj0pHapTS9LJ3haD06JhM9Ki46EGVafRVgE0kFgnwP1tit1Tvlo7dftCWP7QXd8qObKM0Gh3hV5b8RWJx5SDcjWR+o2/IrdsLHJWewpsM+4GkhLsqujxzLwOxWchbRpw92Bk6d3+ZzWTr8M1c5FwOGEVECkkIHuOimqCx0H3qRf1OkVwD3RBZTTEJZQnd3D5USXt7lZRPrPsTdXiFykq8L4FMqr3hWBTY1PFdc+Y0KejWVygB/6SKrFyIaOu6X9OrdjB4e4yIKDXHDkYrPDLA+/cyFRPdCr1wrR9ZRKA8C01T5F93td+beprAoK+HdCcuOgYh33EoejtoUbuxf1rH0QIND3mdr6kQKDpIenuHV7TmrMqNz1vQgkDcPEXd76gPuSS0UYRSXigUYp2Y194OXGrwiL4lLDjUzDmJXGzHyzgm03BfZ0FChVuazDpChn/pPXUL9hXj0NAxq1PY6zix2Z7sCmWTpNa3ogs/Hj6QR58mVpxBrXBgBIzg447M+mG8KL+Jr7bLivkcD8ksqt4HuUj5wnp1PkRkebeHXWM8XNIadgSrAbPQN6PdKMCysGvOnwtn/rDvLON2iEzUka+PPf0vYb7NRk1Z2zAewoL7SNQSGJYgMoWJEv1TBf2ZFl7KURXfCvKsYRyq/l3dzPxYCUNOCqwjMEtF/ZAEvbjnFiC4rkZ2qKWq9OwMzWGWo3P1Lfkrivc5u4Ls4y3aN6CFyZOqzOBsyawvPSJT7grlcz7pS/YqDV6qDnTskHh4Gb0otwJXqmKBSluN43aPi6oSvkGEvbgb0WX9O0ZXCAYOm7ZUvwsRFNRU4vbK2CLMfrJ+AqYCJQwek7z7PBSENtqSQVmENNHN7KjKK1KKG3U93BVoyyaiA6p65FKJPx0hkkR+7fW66LoDq6McECPcp2k181gCYKpOXyRml78LT7WPHm6M1f1te/yIIM+RzjxeInETl76Dda0KmQXHNIaTtqMVXkM3pSThXfTwix5W7+ZnkZAP3FUWOlLjrfkWHSK9QDGFodvYhm/AJamKg4p09P7OF60QtrZSULFMZ4uZnZLBPJclSNcDl/A04LBBltDgi9v6ySYsBiivJ7ZRD3+BE98s6KZYFG8Z1uEsMrvMEAH1m52Yqr7bqb4xgSC0Dei4HVxD3s/jF6W/L+vSSJ4wsiWfviamlvZfMzAVimt2hpamJjzXQ7dxsIiOZG6/ZKuSxKifEBIqaLpp5UiXL9058ITpcqjmWoA1qzF0GvtgEzOY99sflMZoPvh3x/1bIOu+y3umFeniqaPN5BctVO0Hzyx+wQWuPjxhvc1+3d04J6iIlO/Cs2ppMUd6yrmVH4JcCCXxAJRikFwXinkSefOhkZn/42b2EjxKP0QQC1KSUiWx6vBPPZzLFX0vuG+lmxB+2KBNj9myPmv5bg0Htiy6OGh6bRE5l54m9y+X9b+keM1g+8a11k0cyqbJxGyuLu6qTST6o9OwaOKO+Q0NaUeFGtPW4WkhslKsozuyZbWvAtUuH7SBHT0eRpzsFbHt9DxlgjR/mU3VRSInfC/AwMcZhTK+QALkurtFk0piBhMxpBXCJO+ON0zm9dPg1CkhD+W2X4+DOK+c0qLi9a/ogiTekJT0RS0X0EGnKjgPcGvpcxljyo8QQPanG2bABBYdn4gfpX5m4BwHJJwVc85FJuGcDHo6zXxQkeS9+VhWI4Be5dnZY6ABt0cEStf7AwXqil0nEaZ4ixdHxHrxxRb4HUrpbhbG9dm/92FGYbqPc5mYTA7SUJOEmeAoQ0Nn4teiYXvG3/iZim2cFF7sKlk0f0K1vjqS8MtAvUmu4CU17Cbt3EUElLXS4dtCbvwHStz40h4G/xSDrgSNmdU5irpH9a71MXuWFQcHz/19y8a4DOPAVbASP56qL5YItXfda1ZQwafS+2deNiUN0C2DGn7/1qDBF45sd8z7a01gOpiPXblw1Z91TDQqfJSUI3eP0Nre92BTEfUqw/biEU/EIZDVPb6dbJIysz7ySZBHbDvmQjmujkzQHD32lxwnF1yqRKiu9yR57tL8x+YtqFhq95C9h8yhnXbIAL8uVWBPbyMprXErAOiCE8nnaCpCs8K+iXPxSoJ2DBH3cRV84K8dKOLUrLbECaCrFRISuqmZ6r5/ljjvkAY+wFuHdpjjMbEjoLfm/GYEZrbI8s8m5I5ikwc22PgAyq1ZtMEKcEeXKMl7kVm9laEZPzqvMX26nbwShfRNHRcm94uGLZyQiGb/lpgLunUz+GWny8pzPQtgkWAzHh+0HdUap3MBeTA1L1VOSt2UM2tEU7q1g750jSat4ii7Ntlgb2JUBO7lQMavcQMEfc036OhFAm0jLmgbJNeYyASFsHNYHSsQJJPVdiTwtLoupmWe0IZkg2bu3jiSEgM4ek9fmLJqVwwxGdbbE33NTRME2sk4LpOOJNqyHND/K+WPB0vYRm8W2McTTtfQT5JoEVXOOce9SyTxDPvuyBbrsp+NCu3OcABYj6L98rQCP1anpNjD9EvnKgByhzfm59XY/qDu8HeOJWErs17OEzKf7nHMl+cAgpkqwaBweQtF0j6shoBakLp43B0pmqGMQuxjerFO05kzyebPb0WGgHTF82AwxSoPfcTpCDlsmiauihbYmoySyfer3L4p232HrgTsWIQc7W9kwThRFnrpi3+SzXUAW7uQa1aG0NpvMdBvXfmqwMtTAHnTxHEktJJW2cpl44kVZNA8ECyMO5bDtMgFzP+qwUfqFfT5UD4zBl+DdP526JO+HJhFHZ2+1IE16QFf8xdz+D09s5SW589vI37x2xgZp2eXWYp4SXBEFhkwFyl0vHjufPmF1SVSajpKhEl37xaDJ5SXArI7NNAthKeqE9kclTrHr3IwqSwATISVeuOXEL3krAgWA5SPd3/6uTVGR3PYoBspcOWM78lb1Dx4MSLyeS9vN6kABftny+fF/ajAc0SaPLm5yGXBdcyhmpI8P2TFMYpSlAYBAreQKWUfEBUR2MJHQdpIjxgo1PxkrZINSfVNAzb3511x5NlgL8RHBd/GX6+pGHvCgeF4lrTJrBzos6oRd/DX/gewwcSL0UKcHFOwAixSdjIeAHhuWtquuksBm/AnQlaN5ePrtSk4dYy3iXTpq+81L8JzAp2F66LE8eEI7E8QuFxKUfr5OwlqPVz4G7V3Qxia4LW1BFtOkhm3gzoGG2bhEn2ITBmKx2jruJtw3bc0tQ7slpQa7fKjrGz6vbrl5CUVDynTNeIN9XWkcUwOf6He7n7te/bUo4mfAFfOC887jDQ5jYKsmh+fI51Lcfor1Bv2qUZMB+vTh/ZphoeBFU9UPNaVWFTOMjykIBEDTvEtIZwiC7XSsqeIAZFJ/5RXDdvJAXbov1swHy0FPq2JfNZ9A+a1U9KJ1koWwDKxVnPpIWQofNgNQkFPBsbo0WdhqYoP7kuBxe2bzis4Isy7yMemzV/0rbLOzCdpMABZwir9Sxd8vKGZfjaWIz0a/PEQDUEC+N6xk99Wv6Xdot/8yRMX5def2fqqYPcWBMLDjAfv1Ek+3PsbeED1WfI0yF20YgGNKOHPKUVT2DDdFJFbV1h0CRrofpBBmBv/U6BrCS8OUcEUBi58t7Kl8R7T+Geruwpicvyh2rKkulF6gk/eCBGmvuSM/zo+koM+W9Re20CqsKdKmaciybjCa+3dcMhg0TYytsMjtCzTv/MgWq9vOfk6jEfTzFKinD4N5PYdNeVdS/k5DjapDYhITnkITmetdl8r4Phf+vvCIAe8P5LIpFog0BdV6R3hOcKwS8I9HGJz1KmEtl2sAto/rcGLXGEjppQbgMytZMcPe3eihysaSk7hwy2IHCJd/mwTxBeadm7MhPSx3n9fX3zMNTBGpy1y9aEQrSXsrt1OsrxdSoCDddyoWE4RpVUToCJf8AOnkdKFzJDeGjpNCCyZdJEXc6zrABu/4nlj3m0Ik9S5+sB14sVehz6LyqAtcY4i4I03pU5dPe7f/FLLLDVw6mlQYTagrIIa9BP/jYXz5lGIvmDSC9PsTaoqzf6k3XstTk9xHjMhZaDQod5Sfynnk3Y5J72Xmst5eWopmLXNgRsHa2p/t421+p4xhpDEAKXCLtiEF4XvnRBGyUEYSp5R6KtYRxgkJm5amda7C9qdxvXH9Hdm5IDDr3/U5b+OStncyZ4bG82t5oZmPz2wvKF1KqEOMMKhHgyRXD6AVfurj8HAktbirBLEzvNZAFUPoor6Q88cahQctGRfMZyabKs199eSxT2a7PiU+qZUmkpNNaxuSG2YhUJzehWOOyXMjI2zd+XR8xsANitbOcBXm+2ySPOgNE5rqJR02T6MXqHVQdmKbGdXl/vYQgqPjALjlTUnQBOWfG1ZUqyMeDGqgicYv1HDCrQ4qQbeFkp6b0StpCcElq8OyQSFzcoSIT3qSTx2hNxRgv51JoiDVGuuE/wSFDFlDz+k62qAjEtCNLh1bHetCsarUJB3cS5XLbMBMhFQSWHkLWviB6AHu/iXP5jaltJPAMVg0Dclku6pOtSC4gyDmQ4jG/LAslzcQvvBiOTZ+TgSNZHoOSLPR80mkUx/vrcScZPo4vnI9Nj7Vis0L/P4Z8fIxURCQU8sWPZJqDpJzwKGIjBYqLQK8SQ1sQ0A44Nu5uFZnDVtImSuTM2k2FK99TVJgceXJSsZl00NmU1X4AgZLY0iWDL/S5bFLUl5c9I6V+iCidBb4sxkVsrzW4n7UiHR8svM+hvByKYuMmYQmbPokTS4k9cCczD/m+IfugyLEFNVU4epgMe+QNUgfsYHAGCsnJKF1yuDxOehbLOk+8NGY2aJYFa2lvSF5WMr9K0vhT1++AhfEJCp4+2xU9gBY/X1WsfkWdhX1jmSNcUoUPXG/fV1OHoNWXixwP+bTQq22oNm2im4II94uf/bI0BaKeoKr69j9t4eSyOWJFy7jpJBRgngExBgZw84T0TCzHJ+n0Bd6UhqlVuJqPuqFj++zL7/RIrvxRryAyD6fClK9BS/EjIy7x++Lei4Gy1Y91zeSO0FZ2kQHMS0uyzbt0iNOiYxUxQ/ywd5G0eIIgUv44ip/DR7QPSxTehVkq54IGSwbW9GVBELESeiKSRYAMgB+YjnzuVDVY7SRdC1SQw2WngWOI4cvJr5QGkgNH48qgGNkLliJC3bYwnkCgxgp4V30eIWd69wMyTM+EICMacd8LXl6i8GpsWilzi26cAaiD9HxjiC4fznanhLOglgICUncNh6wLoFvqAG/4yTD9dZdMAgl2KAnPXaCvHQ4pCtlsG1M8C3ndDYAAk991LfRC4+z8xs9p4V6nMDTCIGsp4vgmiUGfMb9CGYuMzyfK130QCTAaHDOqiNa31D7hYHzHgofki/I8ox2Z41yCbwcPg1kUrFhI84EXmj36aZg7gewjQieYVvlgUChtNe9HsVhxlzJGVwjMQJUr5L/VlUL30pgOQZ4llLIgD3KRPobuHluWiKmzrd4DoFEWAXSya1zSc/aykwSxCw41XOqF3gDQnxA2W58RRgbKcdhLFWfHpTa+H+5ooQ0S1f4P4kkicfp8Op+7yievjXLCiFLWLn6Dr4J75ULLL0mLPrCRO9QBkLLAM5w2pfiLy47/jrlYleqnVbZ659rmh+Y79baEAd42INprYI/Drhhc4r4DVVxGH5XTkTw96zP746UFs6QIhf8l7Lmuo7/fOmq7aiYOn7VNxBCotVwINLW9+FVAR62tFkStq5i11E9cto7fzq1bRL2pMEBMWGK9f+s3H446NbwPbHdjeaH3mP3UKCNaomljmN14TcCRHBco77NB2vf1YKRDZK3H0UUQ3TTy+pig6Bq4r1dp3Y57NmIW+/SoNc/w4ktMpaqgJCaslLN2K++Ps+dpyFVL9a/9tK8gfE66vK9jsE79LbPAEnKW3Osg1aLdWLR840NfJeiWlBMGAQtUCObkhIIHoiT18HFsZHi2ljXpNiKpYpyADxRXGIkAo/vGUZYCwMh0eQLrPWZQsjM9vsco3/KCkweuQlXSChCNRrMFENYnQTV7/7Jog0S57VRRsu4mmGNhEnw/8OAF979IYk95q0+Ot9VgQlRhoxtETDyzrGbdI1+1AenDz4O3zY0wVVRoet3X09ULFnmLliYVz30k2Y1e+YimzZ/7tsdkF+seqY25IKEFu/atz6qtX+t2Ryw4bknctsO+PTK2BK8JKgauJVvEZZPumKpRjhxTB7euRH2TYAHUHqElYcH51S0PDfiSUDc/p7CZLcb4ro/tO5jeMgAPP0mlU/4mtI8QlRQ0fAn3kbdXqeZlUPYbukz/br7tsnOqZ0szFbAVbxbXuFC+gm8DkrlkmtVBYhAp+BV9zLWEBbajrc6vE6fX+rJBcHimcmDsrTPa2NPGOaJSXFD9+bAls3Wv+dfylmMJUxpwIN+u+RjMvWLDJ4d9CHMdef4HQEfH0NFLFG7j0yitTWBtStjbvjds1sN85fmP8J7LdkcgKlObfAYrYSZ3xP81PAf98f9+TYI6K8KuD/pvX1h39avdSqDV/TPFFpQSqMdMUDTePTDGlwIyCLoSUbsUZXhCMshsKqYJ8irW+olmZWAWENTdIFXMrQvG0ZIsuPyAow28idKZoP1N30BzeSUe+p7rLve3X24v/nzbcwWnuT0MUoJFO803kdty+ktohNXr8GGtb7Q29bDbgrAtIzyptZBbpSdqUqCQgquB5CNU2lEJN2QXdCntD7MyATk0J4gy8zBRNIGPOAhRxXPlT5rviZTvoTqkHIvGmHMpaV974YMPYs/zNS8rw8WWRSCu7vAN4iSzI7hb9STweDFJyC80q3cCLKRQcG20O8LLskVftbSockzoFkwGWoPGCZi4YpuMMpmnxVYHAuE9tasOcUz/ZVQLqzhq4jnDH7WN7AF9pFLySW4wm5maXkNU2dWP55g2iERWdKDXFXreYpWVFiBkhGUbqmcbTcy5lu/l7qliuNEPedcqPiAL5uacvY3Drio4VZZYjSw9MTZC1fdPMuPcDqJ0WcY2lu08uuzJkTHHxpd0uQPIW1g+a1xupAs+37+VDwDDE0ZIIEGionz5e0cPxCUnkF9DlO/Bzm3a1nWj4gSqUdAxTdQ9k6JhbIejZjXVgwqEvKY2L9XwSlufrP/1ID3xjd97H2L1vMRasr0uoQVQ72uNOY9HoYYhrCnukDn0ONbPOr3DW9WIeenrc/YTGb45hn7dJ/rHod47RlZypk/7DrwoSdcbGg+4QSByC5+QIZIKk+SkEctGcW1zArBkxmqO4WBZBDp4pba6vsCyGX+BuDPY4q8jDPACV7/7XGKA6+9w1+YKSIKY9IvygrX7+5lI1h5oxsIoTp1FMJWIfta8Qz8M8JVQYhzIjuR2TPTqgF09iuGf63C1mP6qlDXPx52mumHfBPP7/KvElX5JXY64wWgeMSjJzG+qzts4xmCMGHJLAVqENR3QOp90TqlGByzWYZ/QP6HpzUfiu1LgR5uYb4BU45adUZ+Pudy0eL1pwudu61OvdSBzbapb+9JypeWjz+wq6m5S0ZER5DxLN6fPlyRySDoeIQCs4FzY+/Y5M2+6fRYN0ojf1HSb/fHL2o360DlDG01iicgPTHZJZUSEuICCn7yL87iPfstTYqTq4Qs2SD7cpNFw9T1gHSlY68yQcPZkRCziI9I3VfOUImrXuD9SVrx0HjLZh/T+4qWdHQOxTIvnqn8WcQTRgHpa4r/xJFTPWfWGSgBxFomVVgs2ELsHgBLYK0+Q1aeoV2/HTEx7KD1LrlFsc1bKOT75SSmeFHSQXKGVhPgehwwpF719+97bwxAL0seXY8+F4udMDx70yDMTwduiBhxig5tIoNXZ5/rBDSdP7gi9OZU8dvBIaUISvTQkl0pNBJalHlvzX3Sib0B4C5BPwV6L1l/bw8fGvKJxa5fK0W5NNDniubl7H57uld4IwfKzQSrq6Of8xrljSrH/wRmAq+2XcHA9FT7KOJRKTrQ5agnTPjSJnkNU4BQYQu7rC95mz6RQf/3v7Pc9zk4xu5phQVdU5wfbeD1jWByy1Pce6Q7TSlYhrDHjgfo2qva/5ts6ZginWQCydfSc4T10TO7yFY8H7iN+Ibe9BGKCsCOBIvrwXJ5PrFla9U+FUd+Wz4xAAYdKk20eM1XFznF1tx0rkOcPEPJTec1MhCw4t2WK3tRryhAuBJOfbDxwUyF36zuX2xpkOFcxIvIWJY9hOgaP8zIoLi417QCx9FlQF14ne9kM9uLIqhn3p0rPmVb2C6/onAkYXeGIIdKpWiDhjbFVSUCPeXV7J52Ilhm3jdqN5QM3KxEKBtTDYwZujsU6VmewC2JLLt1QIi9CTb8qzPGaVsmtxfckH7h6G64n4+ckgpC/SwlD/8APaOlp5DDa0/nob+tbs77rKEqHREeok2BmBJpdeh15+oJccfou9oUUdlfQfOn+mGZeYnxJ+Q3eUvrYEs0irikxsOpfngvh9EDVU+yxOdWn8D6hdPuoNUP5fekdj8wpI5CG2D/Xbh+ezTOTC+rCjIFwhEb47wEm6boVLw1ie7oO1WwCTagthetkg26mZJ4IhMLe6dhHBY7L/0PkoVk046j0msrqXJZhWbzQoR8W88m+A7Gd/LvulXe/mKyN4BLvKRpk1d6VS61Ku/uLH5FErHRk4DVATWG5XR3NMRIQm2bHFKmZBENbOtF7tjbzTu24Rc6yHccv7xKcNkNw/nixpw0jN3sA4MdArFzjqeofMIL4AdG1ZnJPipowCp+Y8Xtukn9JkMOExVkdKcGxUcMcJMrKIaU0IkI6eRh0+eERnlbcupbwXJ2dc237JCjz3+uVVYFjB3MneQKSESAgItMoQxKWDIiZCrNrp/AlrfiZILaQTFodVSTKn6hdKouMobTq49SWcnOxI+yFCjbSmOC+qzQgWIsBvyT5W54clg9JOTggvh8YAsa/4fsvu9VNFoxf7ZkR29B3S/fXW85ImSQoAb0YPa1ZwY3jFijPG+Kby4ZwkK4W4ORVhjtzS0ApuwMsVRccKSWxRCe0CemnOxagnzzxPdFBAjlhqLQoyo5Wx2XfId7xUGgJyPlVyJeazxzLP6Yb9TlhKq1WUk3L3gDZKzYprHC7npCYniF1yXUhQVOZDLnTo7CPlINW6cjhxbGcR6F7vIcqMjW4XlDiQaPE6XCbNJmZnJC54Sue0vPCfawEQqF2iRyvMSlWnjo2jxVXW+dJ/uKFAHxqZfDWasHWWJMbpQw9wFBKr4GdZSekgvK+D7tbHcci6YnouX3NBZADmnzcPwHw0lOWv5E2knLT67rfwvAqHVyKxih29ylBYu9yceISSES7sZt31KqZHcpT0A+JjwD41fhfAtubIJTmDOSw647sZD8P0ZeEhUwf9efm+Ls+V+obQDByCX2w1a5vAd3jtDjWQB2xh+v6UQF3SrXX3290fAJjOugJ/HJQ+g100EM535GY25Mx44SVvHHBsxLhuI6Y5JJXVvXrXBqyPX/sQ6nugfmH1+aU+UPTW8KsN77pXsP4wEwdrtdYIRxV9zOhEqevlYQAWWFe27bJyLegGSLfXWH4ScGW162NsT2Lk2sPgaM4pHWunSCiWUjUgvYtVcVRU22ig2rq/VMmo1wiwjPCAzEEhMZInISqYN0mqDnRwV1vhRUd6kFiFo5eb/L4e17iQL9BiKlpJK0m6DO5uYLUoTIbzFqB0GZ3ZV52yUR4WUg96jzULFlk3G4uLvM7xv+LN3XH3Le47RnOujebw9gfsJKJdxBkPUUwLwVECB70tfOy6kjuZm7TUUHyapXldvaNq3T24ODs2+BAsh739kZyEuSjQbQ9JkZIqRH2gkfM1DziAKhpfkDhgpaIOfMEoZ5lkG1kDkBAL7ppvF9Ayp/hkdg5kL7spgcnskWT7PgosjDWmW/9iojVa6eiu2L5QaRE4wJ8ZpmV+Qm+x4zUjNQ5zlVCTy8wjED3YoJZ8b80N1iV0QUqgkx+dy/DIkBYF+ao8wa6ufEm+KfvtfhHgf5+yY/kvN41VZkjEaE0XhXdaOiwjgu4cWOPqZFXTPCuWIVn0WiagNTq77IkfaGCCJntsbZm7uuXe6aaoPgtics8Q/FrXi6r24ox2DIlFOOOyzN0Y6/s8+IaXk2I7zwbK8B/RK9FElDUAFQlxMmUyxHV1XiAMhWW0zG22tE6lI8VQKyCFjQW9487rrlgVwWHV/sQhfJbyIXG8C0b/6i0aGQoUwH6Bo24tMnctjOA6WN95SHIGewSNstrEaJyYuXOQE9qeAi55A1KIWKlZE3wPcRiAfxT+HsqgcKN+6moScS1oBonD30M0OYJikULudb7M6d46dnXP4i6yhcDK410WR2Cm8xwXO0sGKsNU07Qfy6TyJuhMdFfweOmtX3gk4ws4rg7fpQHsXKg3NCwFctnkjuRcvW0dLJsQ1gkK6pAkWwQPRtwdT3rqCGirgrx4uTAne/e90mDur/yJyzfNmO5kdKGPHLWOpZzTUe+kwWXHV9KKHtfP5XHkpITpGuw79hzbD8musTDzOe6KxYQr/WI0o4BbJ1ws60gGGcgBEHoags0ZM7Xn54im270UbV8//2RWBJk5bO3/xXkQDzKqFEEQZfEK/qzB7bFJ77wVsgqZLpYX9VbWmPPwxRTD9xpzNcEUKgbmYr/Qc8+k2n32dOBc90nVnFDDLAOSTCvTil+lOcxvhT65jWP1lXbHs0LhJ09LsQuLMLkXNzluacA+aVfcLmBJXOWTPUJQOkZJx9Vw/8SV4Plydpzxg7eif3wktIDkdwz3MABcl1f9B9IVJxUTFnDCrW0nxtCNjLNHbNE2JfidL4m4zgMEub051gwkIT/2iuD4C+kIHQRDa9DJA1+LrBut7eb2+3JG5yl/PG9v3Urv7yiS1RlRTOpeVSZzO9mwtVnbLY/jj91qdeyzW9uNnRklEsG6sukT3secQwKZPCyjTpWr4YKFG9K6YFTON15OTBJ/dC7t+h8BrdFpeF8R5pMzLnXsux9Q9PWF6gkHoIIwAckwP8LuTIhmpn4JKUccucZbIExSZZiwy5KUBrAg6+R7EU2n3cfg2NCepyICo5e8xeDwC8XcbWJ7X3KZkOJGrumqCc+Qk9kPRtaZIWm86tWFbv2jh2cp3mktu4twtxDhrGNem3p6eb+331NzXtuOqvSW3W53nZDl5k+buZC1+UNuJEbGifSaHSVx8hxiv2KwwMWbws+sLdhSQGANJ1fl/dVxoslWSgDyOfK7YKeXuFxIqrQjrvn30b2+Z9HtQErtjfjy2gWhDXL7K5D1qGva1Cvw4oFD71yAm75QlbhC3uH/0RX83AZueWxTXUzo4XVc1W/YI6N1avpmawGi35JDzjkJQDndgyO0D1W3sscrcEpvRZg9pLm4jBm4FndVQsa+t/OmF5mKE/mcErJjMKEutGFYp8Bq7IYxb1AO93QP5t9ddMAca67FFHGaVOje1Zzc8ZQOqLDjlCkZno1ZViDuMtHCVwTknM55HpkPV3vEPbNJc28HKs2CyubinUPU19VNiEEroxz1+rriY8FJOWH4Q4q8D0MntqiL3m3lhnil6wpjZdS5AzN18oeIkMuheCdxtM7wbSaF3mRSKXpN8ARBiYjeMzAh2bjuw8cBB27U1eiqK9ucVoWmrA8qEpa6xgG3r2hN9rnwPiFguH3d9HErNpajxssC9N1eWxRCClpc6lO+tF4gUSqsb426IbE9TYrrY31qgqomi/0lgXGT+a5YoF+LTH0mRFSXV9C1fL8h4ZKHkCWvK9CifcUWBjeH2kdSL5YDpycn8H91XcAu7/MmJpT1P43q5scJOmY4qNo7EHo4BySERGvFHQfbfxpYcQR9i7rxY5i7DNZuZAabq95XtXRaACol8lduNDr4NHkTxSL/lMlpgJ6t5e1eEzp04JKJHj2WySEQTSCGE64sqFlmuQ9IKCr/0Kf2tICbzr14pkN5/EX1HZjWyDMq/gy1XhSm59gPpGJegLok+Fx8S0lBUmIiBkaxiBR81RlVrjsXoeIVKihu2bWy6QFsu2zNMA+LZGUg7r139uulw1L5wXrOt7THJxEA3bpSGLd3+ff4uzc0vpT7pUrdxZIHAEhZICoQH4swx9UcwoXq0VebkO+9UOqsNJlzVUHl3lNEQzX8zA9DmkNttlghRcrb3BtoSVOmspaNJAC5oSY2ZJPWG3s7Ftb/vDuk1Yekjq/psw6GNKH9Bp2Nryq2Adsj+CqThGNGfFnHONwTjEZeDweeauZ6OT/Vh5w5Y8nUNyjD8/Tiuw3sh8GSM4m+SZG6utrDrr53kpHNuX1oDOpgBFk/9QotG7MWeHtITQmEaRNlntyGIqkuGKgLW3xlWrlDSO50fRLREg9inTnvPLp/bE++hpzuCnDUeBkHuX2WvD5/xcuTnCSkz3fLDJe2aio1ioHtig58ABlBf6xsq26HLIt1lCe6B7wV7vPcS/eC7PpwnjUt9oqmQhh8oJx51kB6BH2rTt5+GIcE0pNNdl/Q/Q4lOasO5/h5UXxB4COFZYYSpBZAzZhdpmT1B7iJ7kEY/4DBEEl3aYGvZ5htzVBU3T92H+oOTY3fx4zzesMF7IybCdgjUnFjp7w2FT/IbUFM9+vxsI49vhEGumDgnCVTxKbZ2y8NjwGi66nidBEVqw3+oZiYdp1oe8dMp3n69yTalV9VdManPOSuBJ4rccByGTgxxHf1JvzTsBDKYNW1yD9MstL/b8GXIMejRBfV8GipVOSTsN2ugntVu4cwcFOzMzCNVX7019VWyslZplDcEffOga/4pDhpgg06ucp3Pl+cAV/t7KOld0lfL67X3mHW1csnwnjk7sDt3ieQgXyHpfL9LYLpre6xbBcoYX0HU/6cTyb7vrwzihSxQcnjOG/3KaZ+HHY7GU4RempD6Lk4BWf2JfJfe2FWbjYySwKFOBH0N67PZxjSNb87CoxlkQhibg3QAlgwwFHPLUQVq6DUvPfRFQRHtWYN5W3jXqUZiSUbmp5RoGQvymaUsQgO3Bu3dbv+NyCcujWe5sn7C8uWPp58NG9dOa+6ky3M/5xeNs9+izjtWObyrNl0Whnp3I3JHSj8hlZitjYvXQZoGHBe95ofGm+NXurm+CJ0QCXHPmyuaTWxIaRyCYxd7CN+OlpZCzCrLgVwx57As9smqO4OutpNvy3EfruhWvwIOEkTv9hWiitHFtMeBnvukiHle3Sz9s8RZTR8j+cgBbTZqg8kuwvzkESVP5MjzFrLnoornvPomx5+9Hms/OXmlupvP1+Lso4RvunWDQocjzBumSUyEQ49gUEwj89qEdv5Ih25ngedTA4b2Ajf6KmPJjbITNlZ9NJk+ZFaTT9Ly0PFcDtsqb5ktt4EbO9H4IjKKiWo9qNxKwHWFH0/+1pKaAv18w4RzvTlKbK1ign7mRvd1AnHV926WgRGlpeVwXM4QlDc3omWcyaZnzT4/sEgvkEL4Glav6OPMPS5NTRNM9YJW7pbjX8fsmMvjCZKf4P/tNB77b+ce7ltRbVe5PJ/QXRfkA8KDAJKqKvxioXV/H1kHB4VyUY0DTwGT8xARHnvGGuuvkHozS/X76jc+oG+fOk+Smj6nov4qtRI2Md7PLzwLB8ia58/vn3QsseyDw2mnqixhneEM6L0MutH8n3FfHG022SMfMKQpp50d3tLSm53OvBpMXYSwJGCwzJkEP9f2dyf1uTqutrJocP4HaEDnInbfgJkkMSe+Ps66+lwlhOJ8Ov2g9fl/yAg65wuLSqQYs4tLKdsJRWNVK2TrjIpPqb/R+PC6wvhfG3sLu1GUjsheu7b0xZxjsScYkOoHAT5MzPr0is+pXtp+8hr4uyNsOOg9AX/NfUH5n7umA3h3RjH62qklLJWV4OJ0baJUls0HADZwE85ceqfJfap1XuUC9PWfLxu1vmBSoaFdCa4dNua8QlbLovv0U9ynkYVB+5aHaFyauL9ApJ1aSA1boZ+9kpJX8Sgrd/MhKKkxTygeP7oinGFM5L0oOJ7T2iJT1irlX758bdP6f+Q95xYv0BiBWYSXtg5Sw6aTSLo0UpCgyEemd6cYCUrwsWTjLDo8Huywex3Afg+9RCS43C3j5yfx7YfkyaidwjtxOMoWJ+cqVr4NIW3KXGpYYbOUVqQFtdUNGeAIsKiPo2a9bl8ce9aDdehCSCbMYf9P9tvkJ1c8haTfM96q6GiW1CPxPx7SXLnHu9EIbxlIJhV6I2XL5K1ta/Ow8FpCJxlLrsPCNYZKr5C1DI+DDBH0n/gS31Nq+zX+MY2YZwh/O5koNHXbki/5dighXlCMaC4DLAh1MCXhFnPofAciG1VTjJ6AJg21/K0MWkOl6APLkC3PW7SIvPv/hVAL1jz0TwrJQ5B6qWobL5h7CgwnDYk7uPdcm72NLcfkOFNWMqXaSMDFOmo4LNTiCTzzr9VSXjUY4b3j0Kw11fhwuSjy4nNihqVxDu649KuD9AvjmTcU8OODNKC+5+q/NKiJZzVUIcsdzZDOaejuxArk787KnrQMVTo9Gq/hMfaZSFyUcCoe372i6nQtpNvVOPl2Gkz6rqFxc72nptiaamSHd69ROgWhDtwRuoklwsEKT3RsiwylCYzYyjMFL7y3FEKW6+xmop3bHPBRy+dFME9dOpYA8Mie/wXq0L1ZImZVYxJ7MyrzLuss0uhR+jzDSgabqwIq6OR76J9235JbItSAEMPBiFimYOgQmo0Vly1/oDyoI7EhNcqndCb+StSKiHJibqHrS5eXTyN7VEBnCMKvXN1/u+xlC8amiy5/N1/F2ZrwIs1Mi3LhKYtE3qMr1FboQUk+F0G774dGvAwgSejTkZeMnwTkhjt549Del03cWjNHyJwtHpIuGqLoPmv3pcnYiB9HERnVQPYmfZ6rpwpqPIPtaXNISgyINdir7rXY1Vy4jfpy3LFHyplZNxEF3Nr4/W3ENXKccWFqIEv0tG0pYvLm3En40ZRvCbTrgnb0kVeoZtgTGqwPASg+4N70w59uFVzjoxVMOY2vu5Av9il+ojuovnvEDHuYU+VgovVO8D+knSSmgqXSTGyB9+Nw3IplNq5q4CBFULk2fM8roukbhnLXfrnDkU4Kb5JZxHat4V5W8qgqApjHjhGzXlbUxmkDP4CsOamgdi13LEs+WPh/6mjL6t4UYyyf5CfBTPNvm3ewiOUgLxfWqMSiGUOkQLKnhqGM9dWCeCzVs2nUYOTpU+EPVuaKVNxXkKPZNkx93UYjkRBmVc7MUpm+thT2aorrcLmy684QvOaGxuLTfZwg0MUhVnnCtQR4RdfvhxWAU6DOppSPzql79euSirjo6CGYRhhPEBsbX7FNJdpfsQnISBbiplRhZ0x/ElmAPdNleKqF0+rDyBlTzP/5jp8v46ghiktA1aa9t/qs+cfdROOwjTYLaRbXtTXt6s3Zr0FEICYCgpnBHayBQe7ANXRW+QHjdY2xlvNbnNxjGdKMV9PFQbxhSy1CczuXOxv9idiEuBLIjjXiIDHSK2tYk9Kitv5mzc4W9h4B7J3IqC68E7lVgYxH8yuO65f8cgU/Nh0kmjVrzfpWl6stqw7kaNccygQCX1qSna2ry5Wz6v7SaoOy34lVELOgk3iYAE7l3ltoBECIVbRBdWdiGgNJUb4JYBSCS5cPLal9L9P92SBJb5lmkN8Kd38Nz5kFHZQMinag3Hl0CaTmZBpWZk1obwnzBVlx/lvSfdMwUPfdPBs2bzlPi+lB4tv4xMs0jHq259fAkZxJczzewmDBqWcK+rj4uW/gyzONTlGWqCjM6wtMOOcWm78BUb4zOgiX9gylwW6fr7SfM5NiLAMDVgetuPSsCs8Ujri7DQumEDvHEuKqfYwI8xqlYt9flLVxrQb6F8F+xQjzJmXASZ/pbBrZ81uSZ/3sx8CHx0HG0cuYWW+Rrb4/Iopa09Y31NEeWwFcxPbEo5njDkq5HYVi0S0HkeFQkpTenNxgkKXNSilTV311CKHQZnrhpzdVGCyakmRWsyP0l1yyoqIu8v4qIzasyIMD6mC+Zp10JSfuVGc5mSf67waPsuAEq9FOkflF+9oQdyhrN89pRsO7LndmSGYXSu2A1dK3jUCU54Jro+ezAaiLvU6LSrTULvymHwxsqRqG51Ylfl5TFZsmQm/9jG4iVxGk1K/PEehoLa7r7qNB+I++0HDVfN4evO1x21niTGflW/Pv3eTjD5n/CdSezex1wheuxLLh/c9dwaWSrnB5xoAj9ImocR2mDcxiG/L81Q7G07dNVC4v0hLFrBCp6ypyCNuvSc+q6FaUXRQnjaS2PU6QC3xZ53j13k5GRtlnBvuJGUpG56jyeqaWT82VTW9ZhPE2pOQBlFLofYEU/cxf09l99xQNgiTMslLaG4QlznnyqlXFzHBs9UN3dh5frY8XGlfbLwhfMJ8fhhhdLjn/u75KECWc6Jz7IKGXezELIetVBYbViWAGPylMifhIbvrkAso1+9IbNbkELpBnpkVLHcNN6Ubj83SeyNgeWcaTDBguo/OSsiNL4ElTdREwmT1DVjUIz/aL7PW4G6bfqMhGXJn0ao2W6wnLEwzq91beJhSGFViX7j2nY+hGYkVg99RXVfk/AhjHsqjezh4wK0DXPW3ngNT4ZtX/T8UxNc/uU5WlR4MtxHgQl6Oddfk3mCm69TtxaYLzo76iuAM5dcgjWLG4jSyMFjjsBNIOBvtQ0sXt+XIh/MNe7qFLU1oLa7gVHH7RsRtAWcE4cHDYNRk/lZbTTZHeMptf80jZPpKH4/XNCVNrw4kJricMzsYEMCsWIljWF5w601dl+bgXh86rVKYfdzgsvsFZCu6oU+SzZjno4rOIrgBGwLKsbTowT17PnqJt0I5mNdopuNyazmjAoo2AEBTIGVeW0ouyGjIrctlyX3nsL//ipRLjZgsBWFsRJ9v95lKLrMsKwaXxmcKKoykkrG662G+2yE5F0ObtC6J5bNYdm7x9zaJrEPn6YpJvO1v8+hwW8u9LUNp3ls2V7b43V60C1w/FYNYVU1ZDRYUSh4piHiCLt9KlmUyrrDzf5DT3g1ealuqh9xR99n3YhtNPVCKDyGowL/eyGhbGhYKurvZQ3euyKLtj+2ZVy+u9CT4moMUBaHSMucb9TrCnSnu7mx21pA1q7f8hQbNtuYho66ZdwSl/tcrF1nlCRW+UL0LajeZTEEj9ynwzsaL9RxEqWAM3ekA4vM/ACiBDB/w4x+DGJ0UgQNm5m++/B0+ACfmXs45zJEV6ihD/83n6sVxi3gtPFKBMphVl2/ruB4SoZlbBAMwcouCLCANHt91/44Ft2KxnyQbAEq4AhnPUk1HX+kFZSaHSHCk+SK3EMh5WXqBr42SdRTxFh8jfGoEqX3MY3kQjfpyVxx4lWuDBZBpR+i8/kRR79Hr6jSH0UzviGd007A9ktG0Ad9Kt5bsFB50SSu22NvBPSSWcQYprhITytyUlz5iqiZvJ0jXPAx9lcTZINFs806JoQRG7bTUnikMc3WisaG4xlzqRqRJRDxTi1taGQv0ebaczlyO+gfqASEkD80uD2Msz8gFYfpyjm/q4GCi08spzMGatElaIcARXA8goCz0uG2amIRhUE1rG1CVrWzBgVY9aGxWXq85wH+Ocu60a9otfTro+Rpfs1eoODQu2uTuCIMboUTjNuWw2wgO8TIeb4st26gDGl5/hNNA4kSXS7UgLSIp+3DvA4z4LFkrPYXIPY4ThHcTsE+BhwKK5HLcRggB+MUi6G2f5ntMMZ24rbof4I55rdkvgfhB8qX1UQs5aRCrHpCdqBkakbF1GrzX9q//216lZWgQh5a9nMDFeIFbM1gwFlN/QT9JWzB32M3uaDsiTU5Du9sFCjE1uO7paiceh9y0uoYKaXFpzsdxNTADU1bFnC+ifko4BesukLtsq28z2ofYQANZbjtbjm94ZbW8Uv9yEAcdbzHe4Erg/uiFcv14SPdVEG4ksGaTVb4UXLCJpOM0VpjxwOjH+FJfRnr8u6faa24rn+g22BjabhFB3hTgFDniAfz9+tvvR6bOWLohXG7wt12KzJQVgHUax6ZP5KpAsn0a4bZvp0KNNbsrjKnyEdc8sVLhOTyAbyYZhcrekCzIVsXuRLHSFA5PILmbLnTUVTtOGE1LUCHMYv1FRZSwQfTboehxB9rhOz9XijrngMWaR5w4jQG50Yw9JrrrVogegZZ9t55vUYNoUBWYZdd6vePdNNKg+d8DXFX3jR5ytE+u05FAErpI4762Kd7DTzkw6aOtk3DJXbRT9leMjdxrwypDdE3O1S5QOdNnn2cGG0k/Bls4Q0fc6yyOtOVF1K9ZZUxU51hvBadFFv3osWfotDjMhWyusbsHScQI/VPRsVNs06tROhGe6Agrj9IUY5i2sEWC9mZyyoFW05jhV0SAMvg/Vw3yqj50T17aTDpoG32vPZLPbI+pat/Z0TyEOVlJRNNfKT4UX3vMmHWZLQc+dJgaRKo4NHaFtpAKh62DDG0KeZlckB3hgPCK7VjPPTQ26RASdZ3hWFvcuRUmGNRhgzPE6LrY3e6SDoeJlSmHtUzDIDVSfhIT9TrsKwrk+ylhB0v60MnzECQt1Ce7yBjk/OU4Z2MoXX8JqhYnNSQp9Q/w7bGPR1pss89XkumforMoq/UuKiwB0rhbKP8wGlMJ+JmHgopaWCxJokvXyjc6lGWW+gu7tpi41qBX+lFC8GkT5c3XB15VIjWxr9MbQkk/q1GPIsJz76Z/jdjwKCvUU7VveWCurvPDV58XbiBWQg6sqhDHJQewJUo4MRoIMc+A4ZP5c47X7/sL94xnAMams3Q4UjTJJwFP6BvCn2+8FTt5rpgXh43oq/paJVegp1R0bGet26lHRFm2Q+GRk4PfSb4bg2wORpiRkj6ucs4GW2FlUxrijDCjQrobS6QLqILQGKoEqTHHJ3f3V2I9Im5M8iOhmzuVtx+0vs0ylOpTfh7Uk9eYxaGKk8+BM8ovERwRujXnq1RmcBS6KNalqfl7t1wcJXpw4hHeuM+L8Djv6lgsYCO6XPVZFVrx3U60CzZmlnxNdPWaoAONnVunYg3mGBn/fkIziIlsC9bPPhAL522s9rFD7kwosQ6Ygh+GtLbYL1ny05Pj00YWXgP8jOauNyKMYfT/VXrGUjBj9U5YKMNRfL0WG0vvLirQoaNRDOZEX2urgw1gdwCF3Y7nIBV1SZd/pJ1a3PgL/KwtY76b4SY6iz2sqH1IwlkVGAljNS9hWD6SjVpOvxbO04Cg/UZTbPiW7OMR2JnfD+C1/Es39D7VWxqREeznBa2FT6RLce7FmeOaRqYzkyKyVDWEKXJJ6ZpLvXO1UKThom8ppNccFKYQArvDqSBEru/yNMmeaIVaV5XjzUjwZc+BueXOLsJYHiS4SacnVqwrYb7AWHx35IDhoBcwH5+bm5ef4a8hKMSaiqa6O0J2o8LLHMXUvG3ri92+cAJG17ELzU2O+uuX10dZTCNMSkInmFefxb+R43cufm10AOrfaw2+9o2AAWhni9AAfkGmi3lpQL4gxrO4sSzwN9KvB7RHqPWE5/IS6uETmLVF9j3EoKL5B5/1gRJGxjGo6uBmbaCvnyX8BHBsJ07oHZoKp3P9I1m9WMQmQ5dvWe2H8l7KSj+YqYbvi7kL27kdQO8nAdvJ+NhiXhmY8SvNt0bh/MrVexa5q96RUixoQXfdtRt7fuxVj0sGXYEiFcNGwBH2vgZi3M+encQoALU2xK62q2feGnO8qwT2TATmz6iRDmDHXX2JVyhTLfhWBRa3fbPH+xC9GVhlPJfDkf8aaUHz8nQOhbxjbx5UQWEPYjjhayHITcapDCzllQVeEyjJXF9VXSRFXWgOrCEYkaKrb+Mwf23nF5VBC9UAM9Y6/5tMSOQQHehl879/TSmzZJSGo1mipiHsyL1QWvk1EeySG4cFkCUgV37iwJZh8J0CRnK7fvqm/T/pAarQmtz9HSEvH0/DLVP1QZ7UlskYWgs1VG4hWI3XdXbuzIqoGj577HnFTxElcaQrWbN/GYy0SMtRiWVlYCgYTSfY7GPO7abkrv8Jy1YMxqIikvU6rMrEvCoJTN7K1JTCU+Vfaw8JEVb/6fHP44kcJR2XMeOq3wypqjPiSRd3kg/gWSUT/Rt0+or/ObjsBpY2hd9uOaaphfzX8Kdxtac87y8tOLkEJj0NULXC/jCJgFLsmNZWp0ZlDMuSPZJyN4QUasNFBT4YZdicvq0GLmkkqqKjP+rz7hQDNxJHOsAmSweVyuHM3vgiYj657Mp34LcHq5vQoeNrHWjKJlGpKEFpbboNscc2VWqchGfwoRVHSk5EghX8kwFOJZcb4kXEnGDob+VPBsP4X9brAX3ymn40QJfoEmpQS2/7Nps6cWNYrBPJdosjQ31Ht41Aj43IKL3IqScquY/VMM3Uexk3OGas16Kq0x1dBfoWg2ePvIem/QiVtrn8KC+VEZMBufnQELhAuq315P81zYqjzvkw5LQmyKj7azhYBHEMsSG132hh02ugw5iC9dLo1N3T85h/ObMPspwwaE0lJz4rEugr6OtR2URMquR+saQWFXAw9J6iRG4o/8z85kmfqNppZVyz4sRBQHJgGxvgworkBuPt4nEmfPv3ijV3uNfUXxIvUxXBKvzbygYQcrNSxVb19CXghz1aPLJPb7H6M4f5Vt/cMgF0fjxmqYjdwjDnxBYRBRpSDTVFGuDL2BejZfgu0EiFP9r+ln5AMbnf4CoC8vmejo0W4TuTQwygphbHhxcnojcD/UbAsAlIvc4kggka8eDXdIqwQ9LFRrx/h9RsCvHcoQC2YFCW6cqcIG62FTmhn1FL6CK3MDNSiVXSgaagIhmjMwt+idl1FeFEN+sf2zoccA/La3sT9CGKPGbtIN3NAZ5s14uLcdfPPKz/eY2x/a7jZ3NWSW4zwYa9FTl/C3s+PvPefo63DJaFg4Yqg+yc7jIRMY26TZujKpGnoWr6BFZgawyY246qoGoOfhDVh6uYQgEsSjG6msU0Jqrt7zqiRP0HAQ9P7dx6C0GJLWgG8nPajWoPUFUlI5ml3/lTQHvdRxBH5tfIPTJFeY/NIaN0AtIf0EIJo+GtfBqRh/DS3gOhYJYtWgti/0JTvT9HOmkEgvrgtKYL6cHS/WJAqVqplRRM455OpMnw4Qr7YQUO37OnYgIAPVUz+R68u02svRAzL30oQHOzURa9NCuANUzKenjx7km070ubvX/cytoALyhqTWE6ydu/95mIFjfdCRMWVgZM0PXmgIfDQs8NpkK6robRrtzN0pL++yAFm1mtQbV+ZDqW9lC5F0OEl4C4eBiQ+B5ZFV0MEHyGu1fbRsKJqyo3YVKFcItpes+DfG/vAwu14V210S3uU4AwvKnm3I1lUNwftsn/id72jawsYhvFVV9D6Jx2WvKW6twIW05TCBiLxrdb9ui7QVs6gZiGPB+D6EgBW6cLu/TcEn9g6vTibPsrtQoeo0kQBFR521RFP31qpcP4AtTUninJJ00unUiwv67+W94w+XaQ10r5iwg5bpfpzK6f1eggH79jRNFQtU/JnBokD/9Cl9EeddrnhW9ocSxklAQyOn56xVV3HybqSI29Rxz49W7TawJVhb5ZZvd312FPP7V5aiujd1P+CYDFoJSSV+DvUYDwtXhhNnB+31JPhw6CaeRDDwXLNuy3iKhC8RmZ0FYDDVXwmE7CZGYqXhkBq5CIg2t9j7K0g1l/0XC7s2DMJmX7n/wicnCyISjCbeCw03okBObIinCA1oh+z9nwXXxHVupV4KHPwfIHBEmjt7/D26JpnJRCqWxJXsQXRGSrx+Cq139WDYX9OjaYlH4cvMMbrKi8OBYLhW38saDvoCZzrAkkI4KWjqLAHb+CUKHC+nMjkyMxg2MKHB+hbeT2cCyPim3/6nfBqm1cdfPG5LoyhAFWqIZSjvrmAlfGP4TVGthrLgNh0rG46a+wq9koxzuscFFHTCVraKlTBBJJ/pQaIoBY1P0re1qHo3XX4js3+jIf42cr8kaemhkxKhu5yH+MJD3lc99/+ktRgIeTSq6gy1ahI0ED6NS0AbekilvVa/fhXN0nlpG0fzNFXn7Nli8kS7W41XaD4+MYT9CwDVlZ3XzQlXkn0tKX6XHiscVSg8VwCIUQz/cpmW1WMXAu8Cz406GD9uQ3CoSv4qpS1tcovmfVOkqt7f42Nt1jF4otAyM3xtzZP+BHGPE4tXZNJya864C8GdASHF/wvpfLQvt6ybxWYwFyoFoorytniAvgo0gJWsaqTTkKkYTwjyqqBwpXasbnj4tZE1acT26iOGJH+tr0fuSWhaYbyg75jkLkz9tBGCYDmuWpNlYm88EzSvutTh9M23hRlUtDkHxxtfdunDKGMvvTw4rL7MYbuYLI+QDnB/+oDj+Fo43wRWvHfBDaU7/Xwuxg0E1MY15OtEnBH/t9LJdjtYuTYfYLQjcl7nP5eNQRdKZiy2GJdUViWl9U8Kl2iZGlAU1aldiyKMNUTZch/RPHk72A/ilYiU+/XxPK3LvLu3QHrahcUtGOyguZ9Dkm1RYqTCFQ3WcknHXa1Zvtt1aS95lySU9y4o8IV8yDcIjbOlbmFoh72zyn5qNgb2MBhac7bw3u45d95Te0fRHOsknO7XCF8I/osTSq0aPKzGr3ZmXhzT5N5eqskmkYcNp8j1HC8asKuhYYYRTDCdrUl4AeRPOJmYa/u9pQ17sGIL60auZWOoiIvJ/kF7veRj+C9QsohvNF40O8J5HoNlnV7QU0amcXu/ATMmju2WhiACfsWSHMzUHIrK9fIEisStqSnafmrTPQ/I1amPvte3GBkqOi3lAo1Grg38SHxREeNHiFOzxylR2Q1HtPhLrMVH5+sx1XBhfKojFNb6s+4LQiHlXd8l4jypiQsP5Kw3KCGs1QNKIOtIWyW0WyAp9893fq0h7BKIXD8hJrnoT27kufGj+zG1lCMfK0b2UgAmUPz/iIzk5aAHdnrRVB9c2Zs5Kq7BpKJ9id/Lqp1NNY8w5j6x2MORnbl0n4iPTlCVO2MbtWHOkFA4i35IvF2sYnx/cDaI9YxzRxLT/pthLbFdIpQ3/Nhsh4xlXCTpXdHKLLOUZrJIAjzaEy7LpQ911V4qntukndJG/0/n+XpUtBdQAaKvG8Yy0pA59RrqriZpDwL8GFAI4xjEgUMrlJh0kE2UMEQPE/qFISfhqjGGhQKg5oQ0/5xs5km/JQQXvz5G2m0qIxgcv209FExR+b/PMYrtYG5Lst3pnGPw2LIKbQYyoG26/vVshqgBuYncPAFUv2JBsGXrUF1sLjd05o79JS6xRKD3ZR2vYXATjjQPQwmSiLArthqnvWJkCoM/6VY7OYhoM3CsuWaKt9ACL/Zi0ecvVRg6WOLWG7itWsnyWc1SujMLdRaOJ8Koe5/G0ByVwLuRa3dgtNNhS0QfyXe6NfGxtFTEJsIQelwxG6Ac8KoO6pkr8EzwxWvnchG5QREx8NZaogFM0cV913lReSXXHq/V0EP2+cj0Vk5G8VizlbvQyC+iglGtBuMXs7yA8MbL5MDWRs8T87APXKHnbaq689bxpuqnjfwNJmDei5Iw4O/Ur/nWI1kns46e26QnyaEfKfvzumhuVmisLDy6qpomhSsGH6iW8/G6OC5TuOqzpg3tNNwSy9a1k83gpXW+soiOjzuKauOi/xRUioAj80gdIByXPU5iBcW/tKfokccGGc9mqaNOgYdVNLIVhCLlD6ZPNe8nqSLj8/7r/jugOMGcCBjB9G5r1qEf6qRi+fCZVRSY6YE4EWCcy37BobKhqqYlSo3kDXPexuaoLsN4W5tMWUm4CTrdecgezLG4PPobvjEiLV2UkDruBqfmFjsHj0Tjhjxv//ePjCytTfQRFCpAN126PRnIco215JJnLLSK5A2wm0CCob8WxgeOPwkb+0GlgEwg0e9cxLE9qJt3DO+yjUvu7c2drMFmWCIq9HsmoundIUjJVG3v5JTSzAduSbjSQi41ddzwpEvE4aYmF5Jx8swlzZEXtgxcHC1luBBWQk75pt/lp4tfUCi33IrCn09QURPGiCI5wTOB7wbFmDv/upYkXITqU1SyVzXfc8OUYxIgnJgd4YPpQyjO4smvnlc5DqlQcu3BgnupEbT1Cv8YeY1MlMd11ZPRlyNQFBJnD11WoBl6P9V02yztDc0VZmHNs/hGPnjT+/W0A0wyLEfqE6CsXnmeJoE4NQFR2FV1/uPc1j6WHwFHaZcLJ8CdFjMZ59kdcTiKZsGkzHh2xj0Tjt+KH1nFYrX/8Bk0C84Vz3phlzi0SUEu77x2FSHq9S+X6ZNZ+6ESubp6E8LNNhGZy8qXwCGLG2clRND7j9dlMoOGAR0/70M8NGCu6rvhEOgDTJk2wS/H6eZDW1csCa7Swl1qpD/THslDS7q3jlZfV41FJQ2Ax/y0Z8yWA8iCkXaF5DfnJ0O9J0UcnJA9d9COqq2S0W3Z3YQydDL8kCDO9W7/MZxCqJBG6VzJUyvrqO76AprO4z2DBzOvsesn718pi0bDfaKuQhedh9sXuAB9WVzT621/GISxImmMDzaP01i1+cXDQf7AelasBHLD4q2rndU1NekXtbOOkpAghN1MCkDUxJqOAsvgLZoYurnentncJTkJGFQkq80BrVQ4y31FLn/T/D3ImXZ+mB4S/3589zhpBBNWhimaJbGirPU7QSYxSzP1alxAHh2zW9sYm5O+YhOzSEN5F3N8HEV1XzjFUxpNWwzS/ZDFZwLR1syGcp4fuDIAtanxsihTRnJYZMJSnK2wGJzwaylwxHG+06cz+KJxcDVWXiAYWa1qvm1gndFgAXjtUaWqk2KfwXftVIQWHbAxbziOKrenzXvqt3toIPn91b99oG8HHYVjCqb41K1KZtPdV+hJ5HH79noVP9GtJTo3Wt2F5RzqpZdDO1UKmM8rWJXEv0sTYBbuiiMj5UKv7TjqmabtFIgeNA62DuVk5UXPo6v0TPI46IUkTVBZ56XOUe0XiJOQ7Gqry4l6xVQXmUtbDQD0YSKiFNa1KRqgfajK3O4VT/ke/e9Qff2Ul6PYqqcHsot1FwdQVD7W08DLj5D/Bc3ST9EtdY6UYvUBXqJqcVEy7/rSANmX75Vyr+2V6qZajiSMiN7a4qyIiDzf5FN9y1E0tULzjyuh6FQEgs+yylhJo3bw4HXVGSt8Pq9MLHYQ4z7wniwgr0BpVW6FhAM+ff41X9+O6JjJbC1UYllramPTGSskKlmKRL6Vfwie+0wtxfYqq4YxbiX87hnzZ886qaAsvkFZ+bPD6SIZbL55zdAbrTsZRGiREA+wwWA/XUzS20baEcuNVHNwWPeWlU9uvef5q0rSLGM8QDYhnaDJ9VKpGqJKun7TzfQtnUY5j6FSljqYOhq3abwk3Yraiohe6xvY8OgVFQa4LcQJFSz1jT8lCam99NLB1D0UTCS1A/WRL+mUOX+DOjO3B502/mFoJJ07UPWI2HMg7/mU9c62gu/ZnKRPkgv7ilkbxrmJECcXapdOtHQdDjb0ctkNf+o3znlSpCAKLmGvv5acfoUNpuDporLHdvTCVg0qnztusRpUOd+5w2y4LTvL+5zAfb0Ylc2JEL9KTtTVvz0G1c0djhhqBS2VsWT3QBD+uGGvc7dhf+L1N009/+g97zj/f+fhqmfY5j4nfVQ+KMaxZFdoyN3rFEzHHOvmxlaF+L0z66BdMLoiPp7XeJe9KCXc/bClTeeccG5Yh3rgfCfYRb03k+Ue8r4fBVq8woLxfKdS2NfHyjWg4tvV6Z06F7hI3HtR4jZCwdtp/WI2bf83mcjU2NSnGDXIBFLStaTF4NXqrnWCGpbjQ7FxU3l/NjIbM2Zx6qCe8PHeLn1XYyN9XvTAasJR5WmfP3lFFtHcYjdV/yqCYwKcX9K9OFC3zcNkD3qQY+HiXgdUzqClKlw2VYYyog1vZFX59QPQR9Vn8bQHQ88bgOfN5K5ecos61LG2V+BXRx0DgjNZdfR3ERnQMqejI6BSJv+2f50aGqj7TRo+GwoGRJwZzY2dNOhpCiG/UnSTse6Q5QQdvoH8HNf336ajk5RiqBs96RLMQg6m34wngWM67J/KXuHmeLmXGvZcqMcYQjDB5mhy0B7QpYJoQV3x5/XKqHKX0j3D/jnmCkDCbK5An7Ep2azzTNojJ3yiHmvJ624SjvjANK+VlHHnqVDVUwo0/R/zNlG8EHpgoxHGGtzis4XohgSc/CR6M919C2IEEKaPCva4sMRR/o9rkArFOE5vng/8HeL1HmDaPnuSwPUG4gQC6vcTaj0kee9QyXsVbjPZeZ/z6HDbQSnp1a8Dow9SHB5k0VEzfDkgY8LaCzzw2yGo8R81JlE20xByOe8YR+GDJQvdXMPGThzILf8i/8jUIJdUfyfeW8vKR1rrWdITMHH+Xwi+Xy9kvrKkc4p7DDGPSVF8714zivWzbLeb/H6XPCR57apnZWxPo7iVUlp/kQCF6thOJeKhrO53YST/107SDT+EBKVcX+LDYuV8iGDB1GeglvUg5eSICYfZsqPmDVJthbkHOKgQ3ZejkWUwLccexbYBBxHoKzJzXbZf7vsNg6MdK9UTiyuTLi56lpbBVsy16sC25fwx/9L6HW+IWhwYG2/aHHxnw9JQvp3tcuPPFhBubgAC0NNaB0cZw1jHvGNTgSxvZ7hB1w3f29m68X7bZlZG7pjwhtlDPWR0RTyiP7CmOZUGVv7f7JgdLcDyTjwPzoVfIwxRdvEd8GLBg/ROaB7QnYXcQrOP5rr3Sn3pnPER/5zuhc6SW9mWfppDTvb0xPB2YVoJDVmDF2MmHml0k570oyjWib/Y8erc0CcByUc3q13Vz4p3M5PeSQW4mK1HLysdhken9XcQFplsM6jkKYKfkESCduPr1awG+K14snTdapLx5ZrD6uoG3Kcz3FMH22GfJdaTnOAqbcvaJNkSo77y6UB2nEAWt1TvySpcyMv2kVtaoSgBTAM3TQt1vVoNsp7CIH2FhB7I6mAYFyarXx8iw05kyrsO5YzbaDUUdEw8J9V/yKIzj7eD5A9McEpYmg8Us7MgMkLqVejSZ+S+bfmebO1kGrN5CcD3YxGUSAJQX9GWn3o+ZD4ONRJxO8isF+0EVMcvTioBmFN1Y2kpqOqiKCmBAjcZXFYNHkjps+JdhkT/81sZzluoKiplszI3JpGMLr3w3bqq9oeA/oHl8EOy5YPENOmT65aPoAjb5e0TnY61KBbtNM4ltYwLUSWzT2c5HPz2LrB2ohJeJw1qxGTETNXMy5+uteb+YWP7JJxqAgNdg1mVBVpP55q7NI6QCAeyegPvrFHVYqTDCK1pVpX7Lmt1HMcBoI/mGrYG/5wAl2j7sM8ODLY8mA2ND9CNcHry3o/B0eE8F2jZN5jz3Rq7z0Qas2LZ3+7eHQYggjYhh8k2zsFE/v2Tt6eTr6twZd222sPAmPVwFi9z3xWz5e+2KVrO3o5/hWCSCGS6I6tpCNjYz6TPQLI6zoYthE0+cpyXEYMwQ39YWfRWQde2vjkavDArMSyMTUXOHOB/Tgg52MBFMKZsScV+Lk3lz9ixxUUm0TlEuitkWsIx99vqhKij5vDJLgA9R80n1CibPcOIG9Fzf0YgOA1oc8ZJ3lnCqWo3QpXCxv8nTT0VkTNR0GyyDhbUmK4B4ZLGBrJWbwgMcarEtiY9qdp+yiVw61I7pZ7WvyFI55vgjWyPcSwV8cGdqlw4S9ZHqgWHK/0gaR6MC2IA3Wnba9f8W2pPSXVSh7+0JAn8PGmqVxLtDqDEYBz14U76Yd9oAJnZ2z0UAIof/J6ycUg0TaRmoDyp8esrAOsM3RKnigJkGY30HKXFXVqHh4N2urAlxdvD0gL2wBCQysLw56dKGtZlKug3/laaApae7xizZVqJ9nXKhjpCapX9qGVt6D4OZd2ZXl+CUYY0UfA2KU5z8ZwvpgZaDPchb6fUW/04moTlQf2IzhaxB74szymeRCfqFr0MrsnYsaJEQkaRRGrsy41JaOHUdXm4ZPHtbQI9B8Or4Y6dozOahH2ZXrQaQjZl1z/BX+GhzU95ovMhpIDH7RJOwQlojLhtNI4RvjpMbpHA7B4U5OJ/HNubV6Mgtlvkv84e6SVspEIUqPzaqMOAv63hDpRVOrV8RhQqhcGdVwvU78Q7pm+uUqrUfUVH9iVt+Ia/ZwaMMGmN3W87eTCrnxsZRuT2PZw8sE/wQYW3qYuglCPPgnopXvGyUL9o4Z7eY1vfiuf2IVhLWCXYk6XqlX+UrCu8+2pEyT65hYMu3LAiCU5S0/7KBYomHzcn9ucyJ6QP2rigSP256SkgIAERcGsK0P/b/Vnkzu47eB8NA8sn8CrbsOFVK1bJcgBig7VJM9tkQmg2xD83MCWKsC/GnGGFIPLpeCUxZ5YhsvG2p2WMyasOiNxMXwFv4z6BOPL72SrxEZ5XAgVuqg/S7aiY5yo0y9T31kUbuQOc9K3c9Z6ZGBfYLDfaHasZIwq5rI482HPqqTJqhtX0k+pD1CE0dx1Rl8k3sdQ5eVQWa6MNDqVukY71H02GOAEUklpuz+uHhU2lLTQPNofM3vEp2PTmNjHChKD9qxnbKgOsPvidAX1L0NV5QCJQBk+UejrMTk9DvoT/C5RuRRnihPaSjMrCZBpOgwRZq3QGIXT3Uvorod5EVgA5Sl8gGb2NVJA3EvMRDUXAGjeXVz8GSupivyZVd+py+No29eInDbgDwRayLhBwmswShbdVT1x1HUx8wL7V4b9vwNMAXwRotSwNvDuhCtOCA6nKSqf2H9GbvnWer2JP9ql4eK69GbNaacFLJIWO1/syQG9L6VM6x8NBwego8anfeMx6CfVaU0StFPhUpNIuAqF07cVZjGH0jR/7mb+s6/u4g3nYxFBOV4y/d91fyyvrgRcR4GJ89kOmgdUSy6RS123RpA1k8EDV0E2Rpmm3MYO2jftlqCKT7GCwi2BNFOBZpIWqY94Fk4NHCHbra7QMmjbD/HNjPpnD0Rho1aambe5TRb4w8JDnoD8JED+M4vUFBz7J22ApHwKcTasb+nvPLAOdeQiqqozgoNq6X8j/50KL7Et3jlDccPb0JC9ulCmtnkIQLHjn9ixF4ZaWNPGycr996lFTMUlkCIsR8EY4SpQGaNuW0TprQMW4emu1QFQq5WXHexHdU6F7ntZGhPehM2K3CNr2FSQFwXAr1wB1t5d2qsLQyytfczINoG3mwaHgqzRv+gCqEgdbqVWLO3HDKcGVu3esLMIilGsuY4ixOZCGwgeLffI1DWguK0ED5V2Z8yg7/Plf4xmzB13HVzvuOW2lNZSLSnTDlQEH2/N1uijNSvS8ZHOjFOhHvk5EpN4073BalkOyqifBoechWa6uKryrvJLbb43msp4ctHZeGpePIqlrg67bz5XE+SNOhwA/EfUrBhgMSwOMOF/ll4BkWknriaVihaFzPxbmz3ukwXYc5PSivmOrr8dKpHVrHOHgrs8srM3sE/blofKdyoT4Dt6S/VKcsH1q95LTWnzvyPASOJAeX16lW9JXNcQ0FEJkHAlf+FC4vnRKDuMiyAIlzqdembprRbg5VP5U9Tf53bnOU31Bn8WlRdiJA2qgWu+8l2M2EivcYbGwFYJNdHxTRRJbsawtKrWiYE18jR0gU2wje7yNs3rpgfgLSwn06mmkzW7kVVQqQ5VDGE9W1b8jqqPn3KA5cQ+Pmy35dd1NgK1qtQOI7prElHE9ku+2lviOBHevpicxe4BLExRr07DXtCl5yUe5BK8rQ9RbOOhHP8kS7dEjSGwIWsf7OZj/V/k3uPTKtttS9aJYvLkjPfpB/vJaKsiVuhPbMkbuTDuQNvNxrzkNi0biKzeWObAnaZU7SPh7uIbvMds6BjPRUqcK3/e1ETIZVP9dYoBhvORHBy9DURtMVmKeZ418y/NRC/arWLXs5bBX1mmAqnYM2sZwxXrttfr7E+8a+uJ1YPMyNqVN+2otvU9y65cawTFjVh8FFb5QYBJrrwidine5mcteFMMyVfXNB9TaWJFx7vtWxKnvZTDf86y1dYNBZS220+VFEkUCz74IrQ8iNzAMsd3c76y1t1bR1fDZIej0KzVayqc6ik8MCY5MGebOgSrBTKk64okroWBT3YatsMsCnQZP2s+QbxCSsDugwxBrfdnR83h+6Jgg+c7o4HKPqzu9+J2niYanm4tvjf0UV/DDicnvM++g3YZRy+IkqNoXGsUyoqccv2d2kZuZYIcP6SUWSXHwkvOdQ/FUDQxyUv1BCwyhjynNKkIqQ8LU2xohlIaWoN1/Og6h+kxWzR/LLrMIOyu8/swxQj6IOVervpgkt6tYvKbW0SSkcprsYB09igtmaQ5lSO3txcuguNGT+9oTi3n9QpX2oFXc4L+TVrKbcj5B8d9vQAmODvUIusEoHlWkytyWUHiwJa7zCZYl6l8L5WDTxh0hfUGHa5qAmFDNcrpfFFgBb3NwKNdsFp6Mu4M/Z2+wnYFtNmwWcYsPRxPw+lhLzG/Pi6km+eKxyz8B0X62lZCFQbHg25lFjhNDMGWGABgAF3F91Odun05W9+tXKegMeiBwsMSwyvKqR1PYLH6UKwcAQkte9VlEOUAjlAl2KMM1CmsGb9RC4NpDLysPQanH6uZan/2+TYRmKc4uXVLOJ84EDuASfXKFMl5r9q198sw1dxR6KQ4o/iqw/RNEfUyqqusnoB61YMnh1uZjigNfGfwDaWuCL4ZMuLIdsxBJDIfkwU134khzZtzWxqtwDmcD/GEzZIad9gjD4mUgU8N86jkoZZHFRTDMDC6Ig+abcfaN8JhZ6R3R2l/AXKbMvZ3/a2OXfCM9lUMx2QHBcrxYOSUyZCN+bwMcZHYlk23RnvV8XbHakzhrWl83FTMZl6v6ufvNGY7P0J9ZmQeLGyLcb3kFpRNXv0VTusGqLIiap5CmHPZbd1j4AvKfMRgirGVQf9IVb798ruoDLgcyn2LsSqeH0OotjlpLKQxuBIwY27Ue/BSpkz/997eR+fJmqs47O+vHeQfoTWylyS4FAf9dPej5rykJ2mBoerC/F1zLakczA3lElXHG5T3KNlIAvELZ/kh5j6J5pTlPTE9r3xQhlFDWWdj1HkTQRnH60dZNsO1r71y8cRJ/kdgYwTTzA/y5E2SJdClmlzX6fj4MjAFXdYXZhsfaEFhmqbyxM92MAmv/6ioJWVV7Rrvrq/wZpTNK3tVfINj26vw1/8rGpnCBhYfi+UG7CheaCwDKDNXYMSZ6NN3iLtbmQLcCemZ2xnjeLOZSfESkvmF3r7qEUzH5gGGJ6/kssHkcB+bqFn1z3ZhxLhyuJtTunN0tIQozu+Ux5QwYrafCHuEULyYulM2hGD5mZWKqjy2g1L8uIys7/CWe6u1ql26Ulns5za+LZ1clQUoMaiRSQgJ7V4vzRPyq0AlVvmS+PTFbGUv40ZH9YKWE/DYaF/4r3PlbBAyPHXssehlOld8H09F9L73M4ve/BZCC2UW/vMLvppHIQw/VZAP5xFoTptQrNn/8LVzQsTGX9hR1l3bDglPnwqr8EQZIWbCLqWIjad5tsE7my5EcSNamQ3+InGA8PGdR4MiEI58Etcdrfzp6ovPB1jCXYY/BqjZm+OSa2k6OlwCC0XyasLh7GrOvw8Z86+a6NHlCaP1K6aVweJwmRz0Rcaswx/277Dflkipdc9ZVHZCNz1IIgjJZCKWQTgQpybp4s6AEGyk0hTlQts4BaBnCPPPva9QDIDPC9QC8WgX28T2Q5GOqjYX/BqlBpCxgzTN9Ak2hmTjkvi9Kx6KyXvIxHDnUx8ehJsS2kl4D78fKUuR69GS7kQaXe9IYg33aI3j6s51+T6EZI4G1xdD71nG2lRozI13v9WApAVo0/JH1cpgYr76azffMqZnjublqZUHUpwFPqWfhf9qt6KzCiX5kvEfPHiutnq75AgK1PmGnRPDa0xfEQZVNeF/mK0CR/qMX1NwpwzgyyH9KvDypQMTreDozSQw6WOmMlGKsRZ9ObZIdydURkW9e6WYvG8XO4BQK6aWMf/CNHtWjmdaM62gy5rm+2fLuvdJ4FgrWUX9jiDbfObt2/g8xzSR6Zg8Ku/XFUibNPeyp+LzysZ5ZbsDviM7MvZwHZPd5w3FpjaANcNBOLAUwqwHdQjiJ0Z5LI9svuwiHclWJfosjwEJMmHqTGk+ibOg6xTb5+CtfYmA/FavcQrksa6oK0jz5wzfAsHyyNePQXIpuCfXIp1Y8N6DAkzVpEvcXtyltdMjDAXRIZJ9AJewV43TFKoHjLC3U4uREJokpKiHa0VkrvIrtl7cyCwjzvT2j8VaOo1BCGG43y0mtHo4u8mWcpUKQXETVtRN3lJc8lZzMFovXZBOuEt0HQ5Q3IpfksEoUvKqTQSHcVayWztvYuVrseZP/5LtTrBLrdEA/VdH4dj8NGViY7xN9oKd9LW3Dcb064gJ21Jcj2p8nnyYlnFc5Q8WhcB45tvG4fNnug7Cvj6QOs5T3ZEUtDnX+9+6pooeXTPN+PAFOpFxIgZiKrUgNwliKW84DwMrBUjgz1YdHOfcEtubyV7X9oOD0wPxeCZ302ApniyMlg4FmcmcrQ/waaRVXsotzibnFso9A4nzBSonMZJQFIBTOYOoQQG3WG8zitR0EkI/K1jZwSyEA5ftygmVzoDR5U3Gq2CO3ADHmiov9hU+FtVAlPJoTCY6LmmJ0kqqEPykv47oBI31YkYiD+8bc7szIstznF8AYnpIy/KpSb5R4rfTTPxudsUb81U4VdnSzpOeBAKR2JHR1OQ4lxpYqhM1lcRwKmRzb2InDvfheCC7mtNYbhry2DQCnC2eW6Fa+gjASN1z9EQep2uZeSf9kQu07azSV1Hgij74Ns/D6W41/HIfeHOhldEE3nKBTGrR9ZSGpImhwZR9+By6saHMS7AKohm2nIpbwQ8+OFUsXJFnRg5Nf+OaVngsxZJNFOJCdQpni99lqEs4rwkhXq3m7ZyuU9A0mryQQ+vPfDgLJrFvv4bZxrylYV7QvOPx4wAWDRR6CGPWzP1SqRuL4f8bSdsQuxIh2vdxdfj9CNKFOF/1mDnFV0sV4n2xYTSfMiKJgOC18KxLG1rp+xG/pxmLjNBlUIebIjD+DUjLGfrY9f/V5X4t5tW3a6rlF51NaDwL0rnzz+kLmqL4l+DTi+JOliiZhTHpku8PVjMly6Nmgh3DRyVwkadLPVtiST3JKXRotLxQyA1ytndu1Lv6u1DwVgl5/tIb0IfAjGM8RYgtQnVFqB4GhjLBT1CtNUY1SrE9ts1P5K8vdxC+qym4nLttNIlX3coCksifE4jWWXBSgDLvUWYgj7s85LX82NOU9QQts2fJ/NIH5B1hczPiXZ6EtWNbshs6zUx2i9NZgM5tJhtzLknoAkGmDdVWlSbAE6/H/5Z4Rpm7fjxuUmpPs9yEuEGfP9T7fq2KAF/izYuS2jLVWxjxWIf7F1AEqrKtx/vD8IFrscOvfa/MM+Ih/20GWGZkM2mF7mBapR8ntHYHJXsnlX2yB3N5Y/q+9GVBv+aTYzhd8LbJFaaBLYuJWXxMfSa8V7edNbfcfTZJ6081vQW6YCudsKSbgvx408NOgndGVJDVChgp2OQnqe++tvI5rk2lh7cm4eOcR0ke0Xk+A5xjW7HPIG2WqEzVheAA2owLT3E6qfAsuY/3DtnMyph0+NN6Ve7wYh9ZJOWiUXAdEaeShTdxd4fapjfC60DZEv7OFCndtnuKg5bxbZYtwkKjamIlZQrSp+9G/3k7o52kfHd8k8o1ICFRBSL7hdhrt0K2YihxtGEB+lGT9PfrDK/ON/Kz9qi+M6j/xYU2DIJlFqyFvjUXEVsp22aqBnDBsuhjzHRPBsf6P8MZdX10zbADfGnf8zgEPQjjPFFmWurnWIMnL+cTBA1pSxl/V5dz9Ohtqx1CfmsTeHnuk6rvDz/pH9jT1ppEa27NYY4+gK2aj27m3gyg3gEJtxZXvxTEEDVOLfQb1kXjfm/wD/wnP0e9ww7zf4sJf54QbAq/18BKsE37E836PljD9IzULXblDD41pXCIVw4S2tQ47v0OkieeY7e7nVNTR1J++NQ75xoyg2uhD1dr15b8/D1vVC8dkfivE7QZ8f21TI8DN4OTDEndM4BB820bYfYIE2RsRoNSq7Glz3kFgFw3LmTdWrYj0LqSxQ+hRno24BIpcYdw6IzK0gYrOdFHfyWdh1+3+xj8WyLZG8SScnXoXPG+SvNIXO744Qb2xkXe+9+vvdOZmOlpmK9jDEtR4EpkiNYyjZEsHCCe3GzpGyHWSD+nwqjoN+xAx8lAR8KR+Q5n4cPcT+S40oswae6zzodXM61fLWTYXVXscU9afvQb4k+HCKg1a2dDEJKzh4fNfk0k+ax/7lUKa6ty0OsHGukGll4ygHswg2WsurulprxjoY6WdlUsGf6je/qtn3j641uPU5Xic3vv35Y9s4EGKEhojHEWTJ+QHGI643G9D2UGPJKa4NGNB0o+DGSlD9qYJBxJ+LY2FIyiAYAZQ1kBVHOwYzGwjf5KB/m05wCp2T+YXMlxtkfk7olSwUb2X3y+whGDMJWlSfyEOjT3A2q6DP0ZBcB+k84j/7Hyy3j2xZLHHSf+wqs2TAGeEFMO84ZbeBLz+/AW9QJBxr9QPQbaobahgvrc9tVvr/qADvtaHf7LDO9ElgfRPt44R9UxJhT+pksELXOp/B5IySa6GLgmm/lw9M78KD0qV+P4S3+m7Dfs5Mag8quxRgxidpAxou0amb4BrvwmEaEYUwRPw6jPIeo8QyWizFIVGYQWc11QxteZPKhyGTcLF3vpLqepQdyaM9xPmJz9d8v6gl+qMDh17aM4Oi+xNPZPUeenKcfXdikbmMq0KtT8ZTZQyzcc66Gyp6NxJW5+1r8CgpHcCz4io5m0SAJUydtIUEVOVdpLR/guBJ/U/5ctgCEzgJfREtsvNsvB/qVljg/KidMbdfWbX1PJTgDPqAN2rajNd9niMcx34HXzlq3WRYggmHiUViZtCHzp4Os9L/oHi/HzJJODN1THiTb+yqzW/bi1fhJlOpVSamgcYFKYAl499kKh+V6vNsiOfe4CLmsjqXmkEPU6GhM/giRU7oyXu+aRKOqd+EpTcKs/S/RpWBmwNdhWnw0noJUWGec6EAhd0hOycW34EKk/396rS/cNg8BvgrQJSLsFQjoQTkOSEwjIonOq/8MtOLDsU5wX6N8eB6InPrPmdHSb2Jilfo9Bt2z0x/xwMrT9aSKhDpTIxHOATId1r1OuXZ7ov6VJesEzROmNi95/NoljON623hUpXc3UhEWy0N+jNlijs5BBCaLJMe5uikvuA6EUFwwJuREfcr5+tuZlC2pb633opP3xEInWDl9tWF7M1oWvHbk+YlrC1C9MBOXVtpa0XzocMgD9/zsv3yMUjQ/bUDIqVZWefPRVwbIRq+NlNn3Im/f+H4N6LjPHXEwIOyucS8ez0pCbz+zDNGO0yQXBd9TrqMG3z+RLR9mqgR02+QsB104F8tuzPM+nJAMGnXGin5ERiA8txdd78vydBIX0zmqFNHmDu7nr0qSLYCjJjIb/a6uMziHNh3ZYj+ANRq23mmQTb18+NX8f0Ey6e9tkfuTaHnJGTNSZbtn146x9JXueXDVL0XWW0+ZygjIPxvaJkY0jr2A/RXXwe0XFUtBexgtpvLqG0U6+NM+a92JoUuZ6+9h6O4vDCw2NqlEwEvlpS1PITPGW0zY/keju1V/WK1T6TAG8BtsJmoPoIxBwxaLVpCQHFhyjBICO75KUtY3UjSKPUWd9tDvDgwmt8v/cRJSjL5mD2FicciKq3oIF+8TrGjtSTAGIOeYk5tHQ1g+GpqIe7JXWgqGz6gZ0IdoaGwgBgdcMOMzGliDE8oiOiu1VoO152Y7bymtgxzOV3ZM9EuyrfSx4HpmDD9PbNtsBlVFtJxqjZ7NkV5j8AfBWVa5LesVSKfLNVxmyZyL++JrEkXpLkAEUk1bOVWI6XTtwIsytJINw5GwGi2g0bib1/NwckaNAKbrKr9X42jV7CG7S6aQsjrRsTP4hTvE8UTtld43+MYh5lgt2P+xosOXXIb+2A/aM2pn6Wfwzw4ZK5L1aF55BMuTIxHrOZLmSnFQ1WBvjiL3VNejnxq78Zg3nqmsyR8llW+Y/qfGTswo4mXcolB/Zo+GvtE0EU7ktiGR7ExLsOBuOY5GyVWRqG7oa+eujXVGZgr0wHUzJvRZiD2WqKFVNfeCkUORI8nTxXp6Jf2An6YSuBkUpVb/QTX0yKtO0xHBzj2DC+/+Z/o3rtGAcTpsMpJ1HnC4WPrisAa/tngUcR+zM6dTM0qtXFq79T0+TdrIZooSymVl6Pu8Cm7hdR7VMEcXGLWowVbtoPVsY5balwJIfgxF2MJYnJj0M9CeqJoLp4VARsjGL5loexMM8H4xXz5S0J01giLNpkAltekL7I8OKbEnSPYt2eU8aKi2tKL4A28u0lMmAZhd1Eid8JUnTNsXHS23lQlzJatMxsRtnFOXI+qz0pARO+9Hv8p8UZDW5yAracBJzm4HVChf33Q9BBHq5sl6xNdniRUlC8o58DancKcQsOpNRVKxUFaqora0oaE7PoR5Fc6U+7t3fA84RBaq+svyeYJPQTo6kR2uZtb1v0P4r7NP39uwkRQu6lWemlRTa7/cFOegp8S3aqxMbr2PNHAr2W0HxlEhX4DrlsN2qo7A1XgNDuX6L+iB3YSO8V1V5ScX0ztBoYfbILuodd+kqU0GjeYSXTnO6JtzOjFglDWltrM6LZCQ37kumHQqH7tDTyrQp/+G4VSp74hchb96Vo18VtuwYqnTc8vuYxRrMtfWZfnIx36LZ03AfqYI/aKEIHoVIWnedscg7/ZGaD5vEqcmbqiqB59WJvIhyMMRrewMeHxkt3LuxQ+XVN5rOBTmnkGTgQQKLJIeY90WrAJ8XNu3FTWKGF/WbAZbywfvr3eZQs9BhSIGj9hUQ0tOJb8yCWnkGS6x2X2gJiAiSPu39Ik+WrGYVp8yhJTK4YC85E5h12XL9Dx62XSinL0MMby5vdIZHD5bnyE1CM0sHpuEsXdaQBh9xzfGTl7+LWZUkgc5fXYUh3aTixakMKYjvcir/sr608KBKnG3ifdfLU1wsMHiegi5JPizh9mBxZwB3Y3hzgKxFJWDKT5XovxUz49+ruqOre4d+TC1SHqoFsbmNKbXuUEQNuOY/HUxaMStwmQWTE8hwCxUXPIMCdRLuE0CzuybQr4WJiy9tzgDn/PQaqpMDBayu9S6vytWu7FVHT5WSvsyEDHwseA7/iF9knY8S54X+20Qmq+GEIENFZn9Tm0v1jOXVJ1HT/3rI0BLgeFgz31B7ClSN0vzpUylYAjU/XeqOUww48FqyD5eB3iOqgXDathBABAHFeZP7Hpp6N/ztRetaS+7xTEdq3yA5AoFe8MU8yhfchONX1IWQh/uSaOJQEWMMpnHzUH1F0oA0E9hc+gTGrONfbBl/NSCpM8EJzO2e/GHy+J2JrPfLLApUm6XCOqg8yseH2UBqyaXkqb56M96QiemO8JuZcOe7voU7XVK/Gdmmysr/pKrPEr/be2OW/XeD8hWhzMTR0qmOAE0OPwUknj9cFHMtrVNdPe1pUqv2O82I+XvZe4M0yVdyojlB8G0kytPNyrf9H89wgyLjcgSCtd6q4O0GO3i1QcM5LT1TZ9ZMzJ5sW7YV35RXqlLmI1QtQcu3/oBk4dOmj+AWYGgrADGcsRlZcUyScGuP+lail/Wn6g8WCXpBXMHJrX8b6AFBF5j3b6Pj0DNOuf3gucN7kDFLm7Ad7RKuii76aGNyJxjfUCwZS5PfZOMmuZjw9kKBplyH/PeBbxAFv7ODLc8m910nyOR57LcZMewcW5y6vHb5rU6BKHwAY4sw5FL7ulyxo1v4vSMk8Gy+8+AhCrf2uV62ZUr6xdGGAaazq8yMFLraVmLJ2CMNE7y7pFK5UNXwkxY/UtminYlmlXBJ9dbQgRi+3ctmVRlI0p3FaLWEcYlZBm7EjSCL+nufL5I3/ueMWvYAuRRtRniAL9gIFZmKEDWNtwfYLmrXNrBuAV5B1tCUyGEWxRygevOMmFWF1K7KG9BMNzFPwfK1z7J5MmhrDWqdeJSsDxlPgCQMwtWsFNQ51f0JUD+7oe8YBr31TaMcaunP+C/gTi8LG42QTAB+Or/FdVLnKv4TrMQUpUWZa/m6KsPAg/opiMw7RG9X/mVbe0d068T27KJp4+dSZpSfi8w1WDB9CCgXnSKxhNQygq0f/zjevN6t/rwQSXxBO+AcSSbnHquhmCOFUpz2YceTRYXMWaA8MxWfkK+kRpl/YwazdE+gA+BAKlYWmvWK8WU1a2sjrUXN9EbaHpml0lxaQdAh6WSe2f0zi7r4kwdfoyIapeWvH+CstnNhGQPBdJkN3BW6TsXAlchXXCVkJw07bQwyNcrtIImhSlIOG7H3oInvJzH6nBn6P10PAj7KKdkzNgKFsWTqsCSUtZI47w==" title="Mekko Graphics Chart">
            <a:extLst>
              <a:ext uri="{FF2B5EF4-FFF2-40B4-BE49-F238E27FC236}">
                <a16:creationId xmlns:a16="http://schemas.microsoft.com/office/drawing/2014/main" id="{14AB85DF-4D73-471F-930B-9B5F926F5BF0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228600" y="4189730"/>
            <a:ext cx="4373190" cy="2592070"/>
          </a:xfrm>
          <a:prstGeom prst="rect">
            <a:avLst/>
          </a:prstGeom>
          <a:blipFill>
            <a:blip r:embed="rId10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1h9D1Z5GDtPW+wuCTrU5cbsTyeRnoM7v2+KYfNB8pPDHY3/N/nQDLg73FVUjs5JX80ZEMdZ5aXYVE2SrM7ljDixtoKhF4R5tzsuuZUVsHAcuNRg/S6dWV3/DsdPNt0wsSzx5+btAwE1f6R6FQ/Jl2dB3wwdlgH4xZ9qIGhNmoO9NxvfQ0A++rrVltUHy5so8SRD+ORZkdpXSsmGGIG9OmShgqvoYjnbExqaQVBTuYYt/kn3nyJzDm/4DWRmF7l3GSelCoMWygFWAi02v8kYrK9cKXkvNX3//4nHhroDXL5UESKcn0BJGvsZggPvLGgg2HcM6X34dvzhgkxxXqNziLPE3/Fd6MxWYsLVYw/SJwbG/cgtR0djVNSq1WNsi3IGGgmy29d5R3f8G2FHPZPqhBrrfCcwWCTh61H53C/OS3s88wFCpTKxA1/jzFMt0iK0bDo4Dv0H4c+OSSXf9eaq9og6MyrxO7CsDvV7UCxvYsosZpqk30FyrRO0/1LHiS5l3Wzl61bSLoPVMk+vdMGEwxnNwtkNe85p195mD4E491AwcmdbM05moZYEVDoyp4lGYhBD7ZiRRusf3sZ0pjubf/DB9rAiy4bUb0A1Lyjd00Pk2TslSfw5TT/DVCXFVOwJwxL953eb01tzQhYPFh5CkpYaZgDWwY6gq6Ct1pX8VJb0HNqE0hsn3BtNlaq9sa3e7Lgd3vqvvlMdI3jG5SyHjWgQes9xbiHalmwNiO8+JSgs/impxL9ygSagx+8jp+q6lvF5rsN85q6stkvGDOAkH2dwqyFgNwGaaTU8azTRKVoLpoduIWWGNDpUUYQRPEBcz4mVVGnQ+y5s17JX2WvTne2a9WtP56zV/BVKqbkM5p8hXtj5zGu0kD1B60++2ivt9vPnWaj38f8PBCWaSzoVRAN5mTBTYxsxJPcui5wDm7PAcpHaagwm29KQO7JJC572U5udr6lIrd/XJ34m9UBSTeMR6SeVqA7vB8Wn4Ql1Drxwl7YnzW4jlN4tK8300dfprvG/one0y982anTP5Du5gCqqUItNV84vnpwP8rdJKReCpcod5qR/P/7QBWOu+4vuaNzW1k4wq952baWxlkHc395UZiqMm3w4RFZs74S8oehWflDbCpTpTbgV66Ptxwk2XhGeofH+zu/QoEqI8ftafbNU3182EMi0hzw6ccstrYS5u1HBGXYu+c2P8UDAw/u7afonh3tT5kV5PAYanSe/LFzUPRqFk38eu9P8d+3ox+dB4ORRHCOlW7B9mMV8908J0Oj9vX1CTYQ7FlUansWRfXp85SQmUayWjJxbfadFtk0af/S+X8u8rMMN4LX5mNSWUu74HbJKgaRI4aHDN5GQMMqE0ZrkwcDbPtTwt9EnSWV4QTcGSFD5GZw3jCZ/9PN5llmq32IAn8uMK4M27ipb6pD8vrRwYLTtr0dCebqdKjmOAVuTO+XYDWcDhUJFXWt7kyn07Y210XfWlVMP41lke7nMtOl1+qluTQwldqrY6ty9i+nzoVuW+GruK75LQJL2GVadGkHVvxixFkkRJ333eFdDvMt9LV5+y5NMwFDX9W3Q21paIBzRdpspLa35u/E7/ZQR/S6v+Ji1z1Uf3dJHUe+XheN6dOv06kGymC7jRoYqUKFfBH7qiSGaYJJz2KP4xYOqSZRSXjxrs31HYP2B8EB7008GSzesZn0qgFhnSyAT+f0W6KYaLeAdPV6tBvqEAwUOGd0oaj3sceRYjG6/oqw7up8LAs3evPafNtaUg3Ao67ZnLetj5ysetFTAUDqhgS+mJrnWXNiLZbgDZCWTQVm4n1bUDFzGOYnlpejjc7mGTmjGtRjdu5+m+NKFvyWMfdANuDyAkTiuFRxQOqLJGrIipvzmwwZKUPUdT8FiBsWGa+M9rQ59IXYWzQaELZcuR7WkIEFc6oAb3zKdY42cTeUwFG57cGSPzlJVjsfxIxsqxi4lguD7oDAk6bH2kefPiOjJGwVqez6fDR/QisjHBCPPMDzICHTJTGoHbtozlTHrWaFIa9Zsfzqlb1HtReumroJHOTZ3IfudGNsMHXuplilTFfEIuRsR+9GN3xfy8zh4hnyaaqY9Vwzs99q5YBJ4C9x66wQQg8bcz8YFyoBshHH06JxUuczgjgofHMzVRpJ+ytKuZ+0A6fbGgjIdsRxYGOEEenfRtST7pEFj7sOiot3Av4cm3m+cYCydv6sWQQVnsy/O2OoX9P+mXcXV7POZOcpUqkGnJ0AFkuhaoXIMAnJst2seNha3VSVrZvBfWyJcup+Q9bVfDEHQSMIY7dVuMwdUExVEOLVtt8AUyBXy93Wr8YGlVf2yd/AgvSNZQVgiP5QdHyD1n9FjrpeVBi3Iui3wg+vGt92mDdmmX7bTBviptuMIUqb+fYrAs5HkJTVpAd6ZfNMd/MFq7uD3rEPF71CM/DudYQG8lrxpNJkNrTQDUg7+pwY/wTcQaMx1GjBm+U7G7I9dwOZme9Q8yey/g1/NsjFm2orYUgCndN0TfO6ktO8iGldz7hzyewi69TATTBGJj7+sexzetc0rIgaKrWhk0J+iCsFIvpRiJDJVZ1PnSYYL4xmLg1mTJ+7cm4D1TMH/nhpB51EnJFRaU7O4YwlvpgwU3nAoavdxY0LZtQLRfOiHOgwXzJfDDW6k3jCrE8CWxIkanOJ/gh9D7qDb+3uqDuA1+MdeGc+r1hwEoTWMs41wgUsVfeyjRNIT4rC53RrxfW0qzR9ppBSa8y8mOcGNujacv2M2F63Zg0YgjM7hctKrjPFgOM/iqUthsBl67NjmCT882jyQMxATheZh/KAipavhyWs08bIdLZXWNXwarcuuJlxOPO6h5hWypZuRyF0JkwTP69INgEXiUnQdSPDOuRlltxNWelAxCLVxsMeVhP3GzXTSQ3q6Fd5cDMim/XUpyMF87/2ZMFqj3jFavNmgjIeDjKIp5rYsU5ueWh6jpMDTXL3jpl9CdC24RXVXW7D8hGLsOYkTq+F5J8zdPm9bIcutiLnAHP8Lka/yyTGZ0DZs14XmY0LX0fo+K07Ib7MPfx3lwcecZ/bbVVOUZgVwBtZWk5r5YrbuIq8PAtQPVabt5T8BKyGock1/E/IE6T4L3OBJbi23mlivk2NLlmOwuUfMzTu8i3tcNb62UL5mGTu9/PxH1LfxSEdlNplCayrIY0/3BME3tXL0ul475qty0Mnbj9RkV9QZPyFS7j/jbpbTMPmOGL96b8AtX1B0XoiLXOkqCX3wtE08kARobp2CBa8u1h8eWkxotmXLx2wpUo+Zm36PzT5wgXaFVYGt5RcXcJbwQZm+wS/JYvCdnBA7O4O8NCQfXKrGBi/5KBDNtw8AWZ9vT/+x9u6j4hwttxzLX8Yj5/FdWxf9M9pjg+gnMzG5u8UtMpkRDHglCO2vGhT9JGNE3GsjN+ZaBd6s7ZcoW3udfoyyoQNYvf3FTO8fY9AwxeckzjinfJrhurpOiU5Y5yMhduQMy5F0QdrK4fFG69eM0zmLdk3y9SxQ3uInXpIOdMNVOJZ71BRGmNxz64OV8nl3CSUUOuyYF2BQXmf5CalX7wjAQffIqnS3N5xfinfU+4/YOSZalFO7gDGEU4oLIJECVrqq/mvX69cMLPfwrrJdWnYM/TK/J2FDc332h6K76RjleTkRnn0NdO5kb3aCK/GO8Ds9gu5+109ix8dl96EsVtwoudbfk9L03DMUGjI7Z3Ny2qrsu0pYVslSrEzfkyDFaJTpvtL7ANuF0SUAvJGfLcbxwXD21osNFWA/mCTPPxPwJz7I2S2ddoN+Shm2nm61LeoQQ26oQpZRNtTdzn6DoO7Hn4VHQlJNn8RhjN8gfNVjrFh6PvaGns1giUlM4Y04cVyMWkv8YhnKqrYfD+FVnQSerLR89a04A6ByzJCR5cG1cMaTcgaXgetIVk1pTPvyeVxWRLxtMUDTerArvvHwnyhrr/hsWGcS+CV439gpithVOdpdp/CgcOWg+ELbDwNszdAUG92DNy04fQyEpkdJ9FbsjCkV+EABFoRhX7wXWz8a7b/d/jYYX0s2sT+MgYXIOzXuumaIlJEX7HDIxq4HO7bOHlyxxHWlewHkaJrpfeRMyNui7n2Emt70w7SwxbRfWmGksCRIR63McMpZK7WjysQ7DWDryKKHXbsaKDUOwkMXLhYm95wof91zfiCxHyRo9k5VguZmBso7mt1zXdeLktqMtIh1Gm5AhqgJVMnrbFQf8mpQEukdmKqNEfsyAhW7XqtG9axFueWavgpBEPUCsLWt9YtxPIV0lifrt4lUx2+KnzZrxox13Cdo5gmDO/jz0UyTnJI7yatFEDlLLzDkvPiC9FFaY10J4H2UvJ5uiX+We9vaO51D0/ZgiLjppZdav0AqsK3EuA6/RGCqqBdEWXpEe+SFmNFRrA3MzGHNbCO6zMC4fZJgiMEz+3mPq7cw0Bjqs+bhQWHI23aim94xS1msS+KYh8BxWHV7N2paATqKBL03Yi5VP/4SgbvVwabK9e2mdOn4iC1gVPSNWPmW077HpiJ2qEiDaWkgr1s6IIayUkskHV4O+n1w4fozVR2f3uYvYDITNto9VSZGYQBLh/WcMBQd/OOmjnDg+aHQDe9rwuRSt2YKhap/AYOF11O82wA1RBYRwXXxNK1f1aLs5O3gDJKcPQH35lgm5+3e1xTtEnrQ9L0qOmP99nime+MUP1OUxA4EJfiQYzcACjXDcmpv7MLG1T55DqjzbzXFS53BIZDbPZyq7jahQIbdCPq++PnYGUOrxeVz77ztP4JyqfAzS5TvWygq3UxBAWA6AP1dDMzMr4hQY1tb+WwbgwF5kLrO4c0hIOYbJ+ac27zd5DCyMTrrwaQhpmkYGDknxdEYKe0eMBmtwihi26p6gvplu1BGoa+yUF0dZRRbOzYDLF8BxZujsteX/O3iWQVi54Nnh+p6puSHHFGGcGZOrjCyP7F3rEbxjwCDfE8asJhzm1zDnAeCLTIRjFrvaEhgr/areVW3I97MLDmJteXCRR+9aRT0tGrbJBnU9NAkczLx2tieLmwwyPt8F5V72v9E7kZtLkH94nx6arrNvjIA8PDtvkr8CF6Sx8HUop5XCAZDm3G+pTEsdaTFXXOzcLwMjxwv0hRNrCWeeUmdWo4lNIzPgWFrj8Y1S5rMZGd1cnJNfOM2FW7BwD3OpDvpOIb3dNWtRa66z5aJZg+Mj1w8OS3U29zKJmERfk3/FuXFaafZpiqOguWPInUd9PlSMEBCY8r1Hx70yK4dpNJye5L/MoRh9kCKGKWVA93WFjdYAO1f1vL/2RRgyc36VG03slYSeaUrqfqlKB7vtQNr20Kx/s3wWUpB2WkgI4usdk4dcWTy3gHXUgSqZ70UV/WiZizB7rghQCOD0pTj6AYxAQPwV4O7FMViYntwZmwKbD0ZHWXK1ImfFalfCZ0lK/m5/ehnbU/ZpBdULdU20Xkl4TRMNgC15YClscGZ3Ge0v+NTQNXXxI65rdt0KTCThLXvXzrKQHoC0+raJFwtPkxIOPT7q+00psKllFXtOguGGG9JQ4Va8nWEvP/KONxqfzvPYpddMLHczXgv6Iv+j/37nYXhaQmpwGRVv9JHx1h8RBMTmi6oYq1AGQZZeqTBsWGD+FfXuyxIPvlLBpyl3RlxLvUh6gqVGEpALREUydF8FjHNV69/JdMo73AcmsSXRJ2JWXp7cPO/ZiWHDJGQ37S6BtEEOqgVxRN2KgzxeLWO9dxy0p553DDvL3vHuHlJgJmnuYmIqFVHSvFoRLfsU22FZOOPFGLHCbNqkaA2n3XQEMhstzIdxDniVOnTcez7sBrEzv4ZNCRx/oDpPtmwn19qS2ekihZ2LQ81o83LP7gdlWcF0CL2uvCU59Bv4p45SX93B+3MNUWYsXhcaYeZ9wVZDTSj7fF+zHPyZt6WVNkPTUQqt7DWomiSZlZxTDIu4wOvM0CprKYBGjfXYQskGALAToTB+P6pkS8sfqi1EC2GHKSA9Xh5wivfFaoSaDaj2BJRaniYQ2ZptC/XAoDxqgtttw0TbUSgHQBaPXbEpQxuDVHtNtQTzX031GEWrp0XTKluIzODZ8pdhV7Ih7w/wAzzAqOhsJQqt0W1Qoldny5athQQgKP3MCXqitnEFvCnsNz/7I1LB87+uorCuT/+RXbOpvNddinw40SK5dY2e1WyXoREb++HHmJwHZItmcwYvCLraRW6VzOBX/JH/IwVRSbIh7/wa7pAXW4brj95x5IGksx1NTkpVyOiS18jOePoHBnpIRM5hZK1MwfjQuba2DQa19T1KmdIAhr8coR4/DGqih708RXoZCZcpjiWLFEaoZ+LeqNwTctMK8cdvUT8/iVwYSkKWGQ+LppL9mqv9Tij5xsldoLCULfEczW8yKUCcdUtEOEPMxhWiEGPaaFtO6S5OeSmyN9RkV2j3+LBOD4dsQjw0TNrx+xmDj736aqb8sPoCq5NWltahXVVHqGwUHMwLVKLO3v6t3bAGjOFFgKQFEkLep5FKmjrIKIaNkBkbdFZ6HNLhMDMkOZYLiXu2qi5Mq7Ba8cCuI+F5+U3ZGFEs7C525KQ6ljwOG4tgoe3UsCXHTvAsUopON4er5ev0EC9sSjVnksYcf0HlxBfBTRhJhpLujEGB7jnetKTQYNSTC5Xcv6ekOUUd61/ms2relVgkvK1c4MFBGIpbOkjGTFNsPRMary3GYUep6ZllhUQMyHt6I6zcMNsKSYUCQfz9NFGzESq8iFI9ie9zH+ofVj2uiSZRpLkd5X8V5LpNJGUBWVEa+VWMgO/RX58fha23ETYLAwE/yJ6muapdqk8ao6sP1g5nWldmquz1/bvVoVlSEfPrgZotGw4iBxiVL655ZMskVtBfYlcmbtIEl5/vZtuQA+08WKhdkp9bDZAdLpMA8hb7BmE0z7HNhbKBnM+7PymrSLO8fW/OWGwfv8x5vA9Y96LBlZX1TlNYySee3uuLuAip2tV7Ro3V1NOy5YTG3UZkED9diOtRlgkUG1n/ZjEyG4iNjV/p22A4U/SmQH2ikfpp7L5KfSbErls7qSPxR+r7l7R1TYJrznJMoAAodeHighA9skLRPES5SYElJRxCMJlJfUdNw00rkkEXsJjj1C6aVfItQNCeExqs8/vwLP8ifCRHqiRKxsyvlmIwRSiv46Nx/lxF6/XmIkFILIFUXqGZvgaEWo4t8fUNqN2JbaX2xxR7Vun1CXE8fx96Wmf8ThZv0YF97dbWXF78liwIYBzEREbrTVsROy/0whwbBqYb/+Y7VGdNIdiISx6SmBCS8KkbiUIsMJsNrMa/1j6frjRNb/4X5TZosrxwgiA8CiUNBCHknduvzWbqBWUGNznGkT9bWJa4ToelTc73VNi1CfvtYDvW1cnfXBKjJEaARSrNuDF6+1q6TFlVKTipyrkMAdAIMrAEamVX6XXBwhCi2i6TIneS5I+iUMOiUpcTrmWufjFG/ZqVcGUAE9dBBjkeKOa3Jf7LfFMLdG+87g9odDmtx+hwX9WDYZ+YWK5lNsX+7m7Zm1xEyj/15Jgi8mcbDHw+g+qvuLFcGLu/xfQIP2CdL+qUuDAqA6nc5i5vxQ0a0uStVDhLDiQmm8vUAnW3Q+xP3pVHbqsWkNsR/GM6IaFZaak3OE3XSqvgxMyykR4z3jAWdjtrrUYMdLgkz/VmlJ2o/TRJggJaDv3iaxdcjw7F0EIxfTh2vTEAiv8DSX3/OvQ1NHbiAbZCkLaHXi2ESLU/9RkAd43kDhodJyZbZ8BM+Or+LIdf0LZOx/UxTOmvbBRiCDKIqgswymmuJwV59QDyCxTpIbFWXN5Evy8Y3s7hbq4tOXV0qJ5b2Vzc/BrswZclx7uVDt4zXpD1bCBtViCHjM8hLdyWu9pyONGpM+XLRGxCzuAd5ooxYEP2feC0rm9qnWm5XkTUVLeiX64KWGWahPqL1nDdHXe0Z/egitg8NxsPwv5rmFD9HwcWnkUyfcj0BLFkMfxE0tmIRZMWoq10NsQSHXhM+EkH3YwqNzA0qNlfSWVA8acGtey07CozU0fK8R2RYij5KXXr+OkDQ+2UdyYpF90JG66wFy67DAzhwGx01cZGGld3lSDSk9uAvtOxlnFxk1+KyPcCOlmDG4sFIQZ9QFPddHfnyJTBLdhu4Q8uGN8QM1jigJcWvJ3Yz+Nu/KRqwQu2+QK6o/J2ZRcndoTJC1GDoWVAnq1sR2xbHNil+iaOuWVd5XdjRue05KFs/MEvJLlnQsRh3X6gopPjh/mMd54oRM+qHjTKuUW5eZqL7zzJejqT/WRuFwqp1QPKQHY9U2j61bDGbV86lUMFWYDbICPzi2Z5EI1pkObharbYUqZ0mf+P11dcBSwQ76oYY+q3VJ3X+UyYoEcA7CQ9SXW9JGHsYroQKo5XBawvfKKi1V4WkYb1xXv+SJ9kpAHCDxabm8BsXhtCNTZ7L/7ufLhUD+SqeY9SPBeN8xHjmMo5je7GxDZD/EN8z9PR0y3XbBDDMiQaiIsm8fBbCEieeiBQUP+2dLrj51DMnAe2j4sr3nfSRbWmWgLRx7jokkEXjM6inRppcvLflHbGEQeY015vuJTkE6AogytEWu8Vn7/uzbI9Xg4EiLDa2mldXWlyvVaf2R0uPol6ggozwQCrVxsa4wEy0agqF2Lb5dmsSByaPRHewg9ZizHjb1yK0naxNApSOndDZa6W0IXlzqSci27NGn/gljEZVzf4iToJkz9xKoE+njJueArxHR53QKyw9sYWSvlSO4cnslodOvuox+o9Yk8OUyKdhIRTV97EJuhNA9jANAptM64T1GdZyyU/4g1BBTw7LT96pRLl61YJVbvYEdITypTlyTsgvQ1aqiPbE0h+BRWnLR1vNLUQoNQJYf7U/E1ddVtzch6aynj+aBV6ioGDKkRhUJgeND6G1MM70WB8yXJTtuH90Z6RRz9Ne/Zc0kWk0wdHweDIsujyTA2z+7ZJS8WXGONV3RvMQSunnQoTZnvZ1m/0PzVc02M8l3vYxdUgcObiyFcr4+BxWkpAoVOMuXeSUvXAr7ZwOtPcuPKd0QW+NPWEvo/HaAF98J3+012465Gug+1VZRoran15SLcITEwIvrQIaN+Bq5Ql+KETOPL9aLrFC/P6SeXXmXiexB03kr07YXNSFL8634c5wAXfydFc1txkqh1sJNVkEv+RrD9oTpZTJfHX1Wye2oV9I9G1EpgokfHSIz6h3z+QsdYDxEfTfGXsry5cPnG92DVYXpZozeKO80r98lt9bx+6DOLDd4jVMZ/JEkKPnH53DgMBXvS1jRV3FH0X5TRYFVFEUKGoYZ5nF/PkQdn4ng1ALHIBF3S/4RmL8AZl7Qe2ToXhWi+kWq7helqaS7/MY1oZurjKhz2hqY92UKpElbpxL8EKLU81/+lEdrEBZjK5Gw405l0FNQJOAXDrlAdk6uqCdGnhptLzNsSqNEmpNOK6YmGNpSM+z8VUKV32221oETKRgQyHhbs1DbJg+PY0SV7XphLzrKG83188uGYaouQ8YXkFv2UClsPHPzhV90VKMd/mIUU6rkzmfbaLYPpQm3sFNhXSGllK9cOe4QkBNrjM/QdvG/mSNneaS4fYi5vlQGsYRPIKycpRyivUE8AFh4zzaoTSQ2C+RkArXvu1ZVMDHPWHZzsmtttZvxOIuTUynvSGGUASrfDdoxmilFEY5NMB5eCJReAOhtd75ivLFXR4V+VG4qCzwThXDlf1Ilz5brk/HH2bydCKMQ31nLNeyScO0zEHjeQnOL9WzIbOF+QLYXe/krZRntH5S8SWD9NN+Gwo0KvDPBgLAdIvkovmXpvd8/4WLicDgHRzyBmWdGESD/r5UIf7S1mZjjPNOsVDLnJAhRW6r2uCb2sQ4NnHQBIwrjuT7jqp3sfnLD4pb2SFJ38Sb0DDxI7ZJNzYqYxc86qPwem3jl6KkJVh5KrHby5gMr7kK/OQqbpFnCmK3a4oHS90MHwL5uPFYAwT5FCiP2VpIq8j/Ra+rLcW2NdFfyX9e5aWPvquGvQL5pIjo9O4jQHeVJsGKAIvKlSohI+RRIK+maHSFFjN8eCqq0EECzUVHY8Ts0HVOEITz9Nz26VH0pBCTgQkKgShaoOb3osplc1PYd+hoyUr5QyVrN0SB0I6dY2My6IbtvG3kDnrTFNDmZ7CykOy3bJsa68thOjeEV9PxH+k4G/ulKE5lKlBn2vfA1tOjcMsTYkUwGhb7ZdBS/bf+iW7b9dF29Lv8rtWdmB45C1t0SLwRzvLuEli3kTxKmFS2BPh9NjpF06NweSDJpllrTNGax/MhEWMokSxgHPINj5Fab/00PfC7BbJkxkl2EGHIZtVLHhWooGy1t32WjR5FYLg/22h+cFNkVdHeWdkZ/moMNCRhHJ6rMEO5auzxwajBTkX8K3+D3fA9ju7BeIT1t5GpUEtVqpGyt6dy4/Hllec0fzNJZvKt4KqzSzQAuuRNJcj1+Eu6wqjQMfWAa1Vae4wsRj1lSacpgM2BPoiRddcHo6k8jjxYNyD2hKN39fIiL82+UAB9svRggzmyY1muMfPpcwa/O8xUxaUB44YcxO9SJDAgnY5qoun4StBw3UW7/V+erkHGDywEsKasj+njA3un/a+HvSN1hjWYIXedvLy79QsMxTl0klRZe6V42cG/9C+0+7b6cMfeTHCUT42mI7fhBgpw/vU7j6U128yKhrRXDXUpNmGG1vRDkHs4632mPoqaSo9np48KdYD5AjPxbrtWvO9Z34q7qQqpztn+kOMQBMRzdzFeFeWDhDVCgCMV03thtd4qmWoZRlizFNIEfKrR34yW9mQ1shf4p08jLW5ttZeGwz5a9Djmq5ba8tEVNHLqHbOfqcdbpZgu1VbG7SMlp7+rToVT2hnAEMjwUY1AFGXSg3HJWT7KSVjQUNNEG0UGItAXfL0NAvDimz4sWSxF8jCJfHruS6U0PoNtWL/Jr34AOHLl76eBDSodsEakFofMI3VEwsO07IMg09sC415D1QJReeFehJUB8R/2MB5wb86UoHhZoaVkf+9DMCtSCfygkqnj7tv06WjygdhHgWEAGGnnzDVRjTNV4txuALDGMyMm+LMAZj+p5jscXDd1zbM+HVBuAoYchbaJU07hjauJDmpH+JDH7t2DAmmqgs+oSD3ha9xi/q8zprIKJVV6JMShcoTXaMCLxJbk1o3DZkfYSN9v0mQd4cDkDuA9cp3awYpctpse6BsGKXkxSZPlJZUiD0iMY9RwB3GtujW/impjoMYFdVkt5A9xX9xKX2f+5fzk78csXhTsqdSxclodMjalEmgm/BeAS5wHrMuZaCj8/m+MfjHuxye1D7QhaHy4ykyK2cFgja/+WsWEEZ763ShNiPd5T2l9/4F3Hxs9RkPukklAntCcZWd+gzLPVdIhl+YFyOPaWA89uAhaUwxaIOsafk0VoOI8CHskNpoOahPXI3SR82M/olZyfJQ95PWecQbt/tFyMu/A5qJ3dhkBvDqjrcAblkdvosgV3mxiGqme64SO095FTAtiPz8YdcDm9LLbkQaxqGGC0Itq7rqF1WFQXvW1uRiPFW7VguqyIoG9AbTpDXhcU+VaNCRjwThQLJG1qoXTOTzX/RjnslWhRcS8FAucGUCQWoqHYuUzq89kGRwWjCcryoFqk97bG3o0IXjVi3Tux3HLgVcWbz70BrnQNN8NsQk3CwZNoeD7Dj+m5ysRRWvDa3/myYb/RKBWxjpuumjG1ydmANWqIwnf4QljYKP1+XpqNnhh/MFhetCWI4K6V8XrxOM2rN02BLOZ8xkOafM/Q9UNX79ztRgxjkb7F9B5tpoOCLjX6WeLq8m00GraR10m20/yGr9ixFU3ivJOOlxahRjJuRVyBZ0BFbq8oNXfrMWdH8/Ngw26WerEeJfWQ4/szGYoqEh3F7rUrtkhm2QJ1tWJtUXTtsJG7LTWI5+ibwWGqdqGv39WRPTe1cOYRLbEpYsdtohMhpJ9LyYUNQPqzmeFV3e0W/jH8+MBC63OJmgOVTbzvuJ5rl1oKgoaqhfij1iRFG35fh07OcpO+29Fb5ZRyb2ecUf7lR2yhvWqdfuSjod+Tb3LMdD6mBlaLYjAAXPub0xST3KZkB5D454o/FwIPDTbSz4veUrG2jSl2cmL89hq008hte6QlgUdKW5bGCQKw2D3BhCm5DkYcRQcInqoGBgixewqQCpHpRQhK47er61hiZve2Gdg9/R/ffDgidMWmAfxXalFdjgG0eXuzWFa2YdFNoXRRyXhamlvuRMF8rmsXnY5CFp/2pzEWIlEw4FJ0c5VOXj6UxKB0MNlji6xhIsn1tvlUeYs/B+nVNoQysxCdBN/MLY7FGEdKNWrmdWYQlyNQwJ5dCnO3hAiSdoOj+tSpC+pgddyUbSZ5dKQcOjmn5AWpk5cxVxgTb+SVdi5pKm6RnQ1OZVW3L8h3ccSgFSfg0YU8gQ9ro2tgpewY+m0+diEikaUgmeMu3pzAhody2lkKmdokCRwUPht0W/TTNhlg3WdMBZO/y1RywMs2+6dUxUg7xoRydHenfZadjd2/btoe3alubfDvS+Yl4Cii3zi2bSqPe8krvDiH+ZszikagT0IsLqovItWkGjH2X3zzRWbGhRazQN505CYUddJSOMSUTrLHg1IjgFlGdTr8ltbYivFGfihLXTHTcBVUi+YuO9+PGsP4TwrW8plGvv7yqQy+TJWl5Ev+kzxEDRJ8UcQLBWJ97ijOmUsit+HR9S++FsVR716keu/HINAm3pPMYcOfYHY0DCrYbcMuHGvx6B9AavVwob3mgkkP8FexzybB9Wf8xd9FzDWagOF9V0s6XKIGRzWSSOnT8YQiBW6cD8FREy+aDbnJyIKsZuIQOYzMln15RJmk76GIRBRaFG19+kbexVPT9diTF/UpHwoSpUf+XChLLQX3Nq/8fR/+jfAoZzvsRwDjmPkr8G44bEV6fWSPqLmMs2/u0d2yO95H/+21kJYOdcj4E9dRi3CAHK1xzslF0VpVMD+azl4YdmXZ7OJtFtnjeIkAGQkI2ocQ4TLM4XJq4wKNaRhgD3aNg9RjbmjAPH/X5ucQMbQaaXwUfvthG8LASbpl6xh8+JVhg/U6/1IjZ7g89evhWyEeMGMDF3xa/jWXGh/iVMMsITIAFybTIJnFrfzXKJisksDQ3NolNpNXbtlpqIXZXT+yraEsm/0YwgF4+JInp9DvqsOlB6n1GemByM9wio8plUWUew6dSy49MzjdhGzA1eZ+haGPAEkkLeP9ewQgbIe5Ta1XyJBuNaaTgyuPVtkjQ3jNcw0yLA+GjLht7F5SEXEpqJmabXuv8qrcMDwj5JlvwCsF14ZDUxZQKBMyh8HEk4rpPfX5Exh0zYuYVwqAwKv8GjOEiTD8Grh+pAn7tkYW15fHhSjjWyUH669lBUedA3jnhJmeTVV/TWWU0bA2f0OzWkg4S0k0/W9LcxBEXlxJSpbwwT0O0b0UpLvuqHDpsKmUzstsmRgVzopTyJpno365yxi2L/A9p73tS7iIzPC0NkAsDzcD/ZoLrMKu5Onhi9U5OLTj+06AFWW+IHkS2jAdkDysGWGKRBWFR0L0RLerkMzfGUqUsv/NqwrHMxh3Qy0Gs5T9UZ6fIv/XgqWBe7q4yqeDv4o8OpIMF29ZwtXKwMDhKDtMPuGNcvkINctg4tNXpyQQaups/X5POR4EX1oAedO0/hRATYzQh1UWXOdmbIwIfGlpcmgcFrRH8y1m0nzCX/uQHrvRpR8hNg5pECFGHaGUKnaIE+HONfU7VpjkfTvIJrq0Kk9GeBgX6uJy60pZ8vExfUVKUO9baw8zRkYt6zhV8RRwk5G0LFv5NNEPLHiGkvcb6s82LE0JM/Ae68HVLmR+0F59ebbq3S6CX4+Se6helOVwVTLq/6QwHF+UIMrNEzXX5cQSpK0qMNPTj/LffyilWQTASGPq8v5WyC+Oa5xNx50MQK3kmybet1JC1XzbrB7s+oqVXVLy5qvs0xJ3QqNm+zJXY6NUzEjGeCs8EPWCcIzcnIfbdHVDx0EaNf7Xwr8dDrkH0rKPfnwafTlZEJxATeUWFlRaJEjUgvMtriRa+kKUI060TnxmuoqBdim7eXKbHWwlWmQdWuvqZb0a1Ts5rMADKNkIt/3Fr2L2n5SzR1uk2fDykFXGP5gVBHnruwLUlyJjAnBAsx2lIZ+eFKzvA7C91LAbGcVedC2gm6aysXgzhCZU42ySZhHGcwRrTuw4vTlOW+V8cBA4yZqhhY9BTQSSR3mU+LHAFQwvGoWkjHy8VvoHkXPS7JgCuWXUWzy/0K3Vo3aEWdoCfArr3PYdCdGzgSR5rcaG2mfgcBh864SrxgPS7lqvqlJ8jtYuHSjlDLxESqvUjeuKDaVx3FOlQ/uGeh+mMhNQKkazgG38faQhPUj31ZtKRuAZPbsx5d33xdSmqJLgMCO8oyLbUWcsPoRtB2XiaKNTJgM//pt/0DeV2yLhwDctPsq7cO3XKJa5A/jqD+Br0m35/ciYRdJyH9F9dJQXpauozVz42ptPElAYPNaa3wP7ohMXcxlLHOno8gnIHPKFeZemocR8YWFioeD7Q+GQVUsTIvOD5wyVel1fE6y6ZXh3hpgdvKmZDksIriHn9fCf8HD4HnTFcj8ggTsrqRRiBsNdIZyvDveKuN7t51rrqg9qx/BlaX0uxZ9EQQb9LO5hwqmgD53K2upJiXnCGADfaxLfu76ZjNf1hAJqHY0kpquc7q/FDjljd4ZhZO5V4Ls0psAd+ZFugkPHnZlaq9zDvdv7n/Kr2JmmZBGIlU3duENcs34BuYTQqtpmeuiNvtrQbZU7/YDrZvqzS1I07Jd6mc8eGk65o+qesoY8RHwJYr5zxbmfUQtYHcZdsj6ueFEl1fnyiiX9HsZaSchT2/pM8OR+jIQt2grkguiwhnFEv9zmbwgkf44f+st+5eDCzFtJULUI+Uby+cnJvM9IZ7CpohlITL6yd6Ycx00IdpnjyeA0LF4EYAUuwF2akdrWJe4PrxvafzCVnBVTNAOWqKyKnvSi9L9UZp5TePoRUeVoMHVGHfKQwU4tXKkEHfmu9io/Y9Eph+wYYqShsCIGFsYgAFDQ4PnOp+uNIkEhJb4fKbTaes1tq49qcdbdt/0o/va8ajE7BcgGwouXPftn8kzkAzqA0i8z1jKLhVhMt0sBzfsDLym7Sf7OsEApknRa5qbL39tRWfLrikdw384DQ6n2cW0ChQ4tF2O53AjkSZrWGBW2jpxtDaKzpjEGJW9VhEY6LPZO5VgN3xb3G5qQEIM5zi0Rk7DU/xLszSOPobKU+25oHsnJhAfTqZMA1MDXw51/kKOzvbc+to81Yu06yA1nd0J00iM4x0MJkjJSq5rrd0yz7UaYSHObK/72tHmgFw3hpkd93l4Jes1/4gmZ6NjijcFjuukrh/QrkS87FmABDLnpQTUE0AKo2Z8Ip17odgQqotmvdI024kADyDN/QCtyHdeZ1Wyb+rJFcYMj5UQ24oAAQA5DK9tUOLyxC4Vm5+L2tBwop+Fa2gCSmeLFaH7kJLlsWHYEHTOQs7jDmAj5XVhZmCKtsGpHGwggYudRYkeqZ6DMODDrUV7N6HaXNSUvXcGv3hbM8Ibek3cCDmV8roncn+++lCCmpVqFdiKcIK+yoBM1BWS9yjmwvornHb5kkuKsozeD8Y9JjLGbFUkS2Vk6XiPH793brTNbVCPgpK0tp3ppchzLEx3r3/2yXJLp+qlTBZtWoc4nok7TSz9H1ExHvy2M0PEdo/rCrOV2kwo+RN0HvPEz6oxpknzYFbbFZw8SnapkZq9BkzHRzgOOdeDcKoAlyKl29XQGkQFaz8hhlGKsWFXwekhgLE0NGGQl1NGbrnreFniti0y+l4mojI4fOxa/BqnzeFpWk/Q+qfZK33E2Coorcig/DTdX0zVorgrH7VTqOqHisqOjr+aqlBMJAjnsWQZJod088zvazLZjoei2aWovEKweGMpfYrQh/+7eG4SQNtKbaKC2sp3GPMGXG6jvHAEUGLRELsOm4Rv0+CiTkoQV0d2CAPpn6krvto2YRE3tWP/Ufp8pKhrR+VJwAnQE3fF1HaK4JEo6fgVc2j0DrPvgGFjgMxFyg0Vew9h5/GDfVvb3qtPzQqDjBXkqBGbhCnAfCvhpnV5o28GviV1JsUqF9ovbOJx+yL5/O5c9HzuecOt2Bofy4XZm/G+AxAXQ7+1/F3CZJuB+clCVB1a3MZpNLxcSxBGQJzDV5SyzETBb2vOGzvM9sUL/iN9/kxu9O7jj2tUkT9hKF/RWU4986PIOLYStqgW5kwVef50NqaA9lWBf3EgeMhDXxkL5Yo8Rn+EiD0H1LfJGwW5gIQpdAPWUMaeKTjwVhhJ0ml3WpGSRlqmFba+H01H2HgcaMZg0pn76JFmbaGSpyTHWoSAQ7rBHqW4l4NadxpVkHE0/MfnGqbc7sSC+UjGfw9jGfYBIcdEBvBKuiZR1e0PHzhxUU0ndjcZv0jTh+woOh9PB1aUgiDDq016BoyWmt4HKk+pivqj9Gojlmyu5uychHtk5CYqefJsF/kRyhDwu3ZJ74lccYEy4k7AJHo+AfvU2AimVvBlVRXkPkX9LiLgvPEPFaFU+fuBh4URnaEwmna/uWJbGBNfWzQqKvFO1ZrAhSU+j9d9MROiYbzq2UDPKsSVxbVbacwZur26El/vr/W7fGWBl/LoeJzwDA7X+2QUO7EcptTvsVlwiALivcoxPfEEGeC8qq53J8ftEIg4BTq6qtuy6zpuc+9DF3LuoaEfbELbBfUKNWHRU6ISoNGn0xOl+9QdQNiHbWRl9q7izcaBxrHL/GrH3UAFggizpSJCHR5YHCYm6eEBiZHCoi5cbjCaJddzA/JRXMSJBufUG2Qf7QdVuyNHlKVdJ6zIsN7w+Reh6cqsKxZskUMgzztgyk5Ncg5uHIYxHRUXWMCpGy172BYaDTZg5gmpQTcyt4cbry252iaAGmhRWiPfBtaKFn0hnCA7vCcSzVZ64K3eJ6tyhG2Lc8VhP6PbNyMsG09vYd8CAmivQ6U1Iv5BsFYZKP15Y0AI8KQCbD64RBqJE15ohCsxZ7CKgs8LOHwxd3LcIDom4VtV51e0tdaYQBv/xwooVlaB+P7OgJyUqejSPFPOAYGQK2fRDqLbZdTJLBkGaUxNzMsuTupgkAGUNQlUay2UnACHzipOdf6mA7e2+ycjyNz4rM2BiOnZhT7ze2NoQikoh82nQdXL2i7Je3glv952Iv2Oiarh2Mhaf5HmTrhN/COcs23Jm9O41nNBowRqcKIk43clzArbMCDIUddjZkHA2DHGv+uKL+A97+5K+esltc2WEiewbFr5s6hfh2jPVztXOAiC1vdT2xe3upL0yhswgLS4EPxFK5iRZY0kHg0QBGqz2ui82QeaQ5OfACFM4GJWL9xYFlf00aqswkaRd51vYbbtcgxQuv8zz2oGsWfmlWEnLcBo/MbjaJdNmUVmjIRjE21FsLLPKwgWzG4lDhthzCcHCGcpoFwKECWZWqpBEAjNDlQzCiecWu59InVSc2joCbwQ/TB0pxm4YRFcr76+11cjeNs6o7vP3EivI3FdN7e9DNUUPvnEkaaQzT4RXE7pd2zA05+GxCUS2XzusF7pmnWiCgiEhz79sNDVZEZeILG7TcD7Dv98ccSw8xmUfZ/Dm4weIpn3ld6a8x4OO9fQIE8ZW031iUoDdkfB1rlFnc0zkSk+AfHm2PG7Erpx+dH3Fd8mT0GZ9NqVLM44gxMYWdIaPr2tkIHniJ1/tgFNum5H6fa33cemoSyL5HvVwN5QqM4YilDDYKjgrE/F2HsRDlwOlyvW+2xdDCHj0Ex/1iuY9NNK+kWhIY9ljvKN1XrQoNdMptnpWyv6Hbn5m2MDjc7VnMLfKYUXZEXq4FrjChY6vss9k71Tv0mDiowBxNNl0kOVOIBuQ3ytHdrB5AUlgFLGAJlwEdJA+qIEWzRV3ntPKj4KYTrgsukEIeYVpdQOzWlLbcJziBSshSHbVxQVxuoV08SQ1GJUjmKU7a+nAkg3fII5sgsKRK7vqD8+XMqrJDaAHhc0QpvVbdxxFHAcsXzQDd6kPSXW7W9KgOuCE9NLlUPdYLijDR9vW11XPZaM75wcCZb5ofDepxfAhPuMaxf82hQHm5Yw39aP5igSObYOzXwpsjfOHPyZFwRcLDfrlQRc9d0gBuHmelGiqJ3Ar52/umhmxYiC3WkNpche9m/l4DsHTbE3SwmXcDGawcGDnApLmjW+RDw4IoCjCgs68uhbg+ef12iOKiT2fMQKmaVe7YEvNQhM/0eWi8ccgv4TZB/H6IapTPCtK1IY2C0LFMDzH0MDAVgWMk8+U0v/7Vc/AFOXGpulCygzAtjfHWfd/I6m+OyGP9h2K0S+2xJkOwwaXMxyOKyXuq2EtGCZktapjctyItAd0Vvsmi1KxtNNslCNcq2gLRob2qxkCcs63prkcwsHWROLL4dexqAc8AqsusD8I6YR14/Zct4I4+jwNzNtURJI5QCj4kULdstTlAFo4B1/Y5abfHSBW6Za3Z7vO9t9j+Ljnnv4zPtnXQDVcnq71nGdq/haxusIWXbOx6Jyhk/HpAzyA3vzoniACa1LvWoTCol9vjs0C5SVy9wLdtrlOUfjiETPKmbpINOXwGOxI6jVznFUtRPETLeUWr7CsV2klCvdIumsNeir/+qIT+4hHocs2KdNlHkRyD2ZIWCejhbBU20Et/shtebSNeaIxUp/xqnGgb02seRCBzVnwz+usGxo3yyY40amV1GTJ8OSxJqJX4klr2zlkQQKyDSF0d/OiEmlfN2Et6d0nFVdIHmy7GgOeJeg52sa4pyfbqrKrPIFGWguR1uKuTT3v3stDEJxWnvkpjV/9/F/67yQvy66T87NXKt4mEA557SX51Ah+mdDN0gjZDAZFOBqXEMRI1pSLwtzrvWpoGt05tmZpoH758osxPKhdsNkDFntwkFRZM4zSXBJaZpmx/tFvX9xMbMEFHqbSFKHsMMfmNVHUv3zMq1UM5jkgfEUcSygMTCvrGFi2tIuUI4xWB11hASqjr12MTYA7qDN6l2JjNSh4TVP4ZPng/Lzo5lS7AeSr9A0vNz9ExouVtvIfZjBYo+2ylPt/g0/Zfq7EOsAEEFJdXjwqtzs6Llx8IAxprUk3zl074cz1m8wa+NoFu2Zmh5Vy03Sx+2/dVX+Oar4rSd7vKo6Qc9wNcIpDAlKbyEmRfJuLYJQ1vSVg0OmeA/LZCOoyP6pU+p7CoKvZI3ErCtXdunZPRVypvI7ip90yi19N7b4+A1NDByq+e1H00f1hkvM6P7PJEsp2wshiAA+mXygtessF5sLz4zTKc2R2DAqWUx/bn/ZDRMoYLTcYMlNuPf20KyAOpd8eAvOM58ZBOeHkm1sPWHCxAGCauMI6LwpJOuXmoYB9T0/26Kw83e0qXSFNlN2hjuuMvS3iX6I8xIRyzrlPSiQsRdw2Cny+m3MY3kh1Ljhp7HKK3V8DzLqb/PMubg9hi95X+HhXUXeZ4ZJdix1RgMzB4s6P1zpGNKYJRmKNJ7k2DxthWv5wy9lV7EkYpHXNb1H1uD817Db6fq1wLJE2VuSDk18fQWf9NWqDopS6jedSMZYyMLsn7uUhamZ+P6W1FqpyzOD5oxIrBuqviYUk/APHxJ4ZmrD7NouaMdOLGArFtlQPKeXJ7qBPDTgpx8dNVleI0iwBf8iAY7xI+5J+4PA0B0m0VRTEJQCJaWHJp41HsrW0PhK5XC0/cAUluJX4SYiqnFd6DOvLelmGN76qfvBzuQ027Fb2UiALRamvAzNJ45rw6icI99Pd9lylrLTP1TnL2PYW8Bz3s6rt87ui3gF5KeFzlkC9Jejy1Bq1Wvv9r3Q57Y8kbWObQjOjg9YiBcNHM98kNf6hLPG6riifty3mfH2jdLhOpNc88r8DrcHK5K1lR/zlXPEEdUXZ+xKvkrI5TVH/nzxxr8K+uApHuSS5egfNhQNKK5eFWKVc50QzpxTAEWFdvw985/UCCfkEy1Rq4wtNZy+Zkzu49k2aPTYRh1ea5U/eCUUUkIFYtYzdEj28eI9h80FtvsJwBOWv6bRdYB5jCEL8Ev9HOpG1W832v9ylVp6y4JGv4lWfCtqZcl4fpFM+ZzHaY/KDdOuxXnZcdV0j13xWIevbEcgZpsvDEf2wP1VS0BfiQtyoW6i1jrEGBLbKq/0f8QMuZu5TCkHhoY/YFYuRmj4Co6QrThBAfFtAYkUAjMCMYy+ZoBCTFY5xKIuYxp/kmXUM1uU+T0yPGFKQiL680bEil2ow2QduPCFWtPZFjRKWEpSBjTC8ZFc6m+tSamU8pTqKpyQWPP49G+u5UVlSbEnGZOyv0bJa8Nt8Zg36ezgQnABLNgDf2QLtSS6eN0iNyTpStTpRJp4VKdRMwmOn7Br+8oGxcCk27kwOks//BnVSx2GxxbomqrMlKakvyjKFs18vaJ+/q5nCUUmWQLsCUJvsR9Hrihu7pI8TdEa+3+xvY+B98oAaWDn4JZFPUpyzwnmYgQ9BK2vnpKd23KRobU4MrmYSW3XJTpnZiXZIgMoB/0wQuOzOHYmENZAZCyAlnYDAJ34UKvSGT/ishEjfLtRAF3ofgKoIs0lzdi9YOtAXywKFcSkBiG665JTrwF+gPVaxUXTMpbek0H/VZE+CgAz58D9B6tBq84+fUfHPG+9ym7GorEGBa/JMYHdsk5ttZo4baVoinjEqp8riIirYL65CyIludRqaFs9mWg23RPHDIuH8qjShdMf8QYRvpbWRN5IHRsiePFDulPCUqXoA7GvMLZQJithifbiiQSEge0Eiag7YrgFdjsEMPIfo6gRe2TfNUpbhgt7/w2hWssh0mN/8ATBlzoeTPR4KbY2RNLDKZRMrOpt93cZb/TEsxhwPzSpr41KAbiP0m0XFMvP0W0DQIv4rh4SD9GIAlGz/TDIKPKOIWuWrJqJo+gK2JayboQ9W8n9aj/hYBCvzqvx0XPvlELkCSlEErLVmRPQoSNYUJ8T0F4Qj2fUfMOTVmKla58/aRva54fq+EnQ0IJLZJohMTvoQLQJvmbDiWXJgJKIf8bFpyaWy/IHyZ+F7D62X5KCkXKpFJ9MZbhldfnWwwGb85gjtialJHn2RpQn6IVMDLZbulLScZ9zjLKAo7QNzUElenMaI6O25/Z+ShGN8J9gn/4hVCHz6TmWK1Bj0BjA3fvQS3GA5Aj9mMJolpkvSYxJBeWaBs2Qlcx6ZpNCsMq5nDpGhbCw7jFAokxTDckOS2DOI1mszESsGqAmglN+aYQxTumObKbfV7D6k83N4HJgsStsz9/Zyc2DfRpXd9M3HJD201ujyPPN44GjkZ4vKEVX8DHJthRHrKD+80tDE4qsY3hAaf6/Ehp+akpo7UolSoutOAj071LFKkxwjwsmEg2QHJZZ/4vIBvykMdjJ9icEp/a7EZjfrhj/9pwWLF13EUwBtPZUbgZAK4Eqvq2qtkimAesMGF+fjvGpqdIwAfrwOORJnVgMjKyGeE/64pkKunRz1UYjS9OEwxKmMKhDnyoYGxYSiE/ZGT+vEDCkBZ+rhps7w2rn7P+/igcdOo83jSEkgKexwz98hRoU5sXPB1C2VZSd08MmRapVn9F8CDNvSYruNEEPGnD6KpQ9BzWkAQCJQWNE7wdNe5gVVVoRgRKL3qdSmbBp5BHQzyaKQFj8IHAp9ifwFGufCYZesGC8I0eHxUbMTUua0git6PNT/L8528/DHX9fSucXFgX3MPgKNg7q1phWVqgF4SPVX7lFW0nBY9CAsSI6W0Moj4drTzaSmTnbVPqZ9T89z4Zkxt1q9W3q1PAOZiuG2ErZM2ieGi1DrKPgSOMBQUZdjf6M8tEuA0Ru10gGDxKdgPcQxk44BtI5d7O+Ru02MRPDIqLHKg0cbw5m/pmTTaKNZVAj9Seyllo6CHLdOwL/B3aX/vd4jc5V/q+p3SSk0+R6gjQPK2EWXNTpbqKFrghml32s0q+wFviEggqgtE81N70Pd9SYaQ4xJuhaAOFOa0FV6DKqw+YYyyhoDZSrTBtHzKrmGFuuGE3pxtm41zPjpeHpld/cmSiT40yHyHrcvKiJXVBT8/VsOeNFTlZv1VqTtK1TkHyX8iCYn6hhRddOEz29c/NPOyYeVeDz+ayyIYXaaK42iNgxeE6t7DCI+yvu4rMGGkvhI8C0PLMLAQwWqYCSq8kh62fryGwoCPTs/zbyKXAAfw4dwd2sUOSX/2EETJQZSCe3YOWC5lsra/0dVic0+p8Z3PUbXoi/cysfJq2TQ7fAnywcASv1t1h06JdelOSbRfByR/dyanFJUZl+kPckdsfVJ5OVHVWTfuL7fWem59+eEv1gyiruNg8kUnfs1QNDmbz9VO4RchWY/T4GxVnQWwFuRR6K+bfJc9YjRt0prtZm5ZQsEEkzGUCRcNZoQU60nFMaUH32EROx0gWDC/WEwEoi80qy/67KZMaOp+96cbo9seLBrtSFTDwHZgoK1GEeg7fkkN4Jg4HuDgmrgdeAwnTb0DhpBVuBoO8Iz0ZO48eU5bXpBc+Y+UaX1bVxrL/V+xCcHLOh8sSpYFF4aqrxwkFwEYG3Opt0LkAA6FM0dRkwa0efPcH3q3MVfAwjBwhs0G+xWfCsTjWuCEVrDTtWCPz1dRJ1LZva4wix19JwFrMO7WdfCzZDWa1cqPVG1sEjj88c9PjioowebuyJCzJ9N/SgXZK9EepkTp3pND/4mhLsBsvru4qNnYQXOzKQitE8ltNqxlk1IMKFI3LzutZMOyVNyqmdhZ9ei1OUuWvzMTeRQu543oGepvnGutmPaa91wzG/J5+Ij1eTu+K/Rj3oMMsFq2Twto66PDzSnOU1/Ag2L+K+hDSEDijc5B/mglQU4HXRY0n/N6FjwN9KEl/6dNSRU1t7cQ+Vmom5TPOh6zrMedE+bYWxmSevY0k1ZlixGDucf0w2XptDkTIFwg1PazuWqglfgzZYJLvuIa0TtNUjn5ltQQS8IxC1VRMX65GWI9o43Gcb5k0SglcNahj0V6rlGGStgN4SWhinsAn8i1FswtUMb9RTdOXaKcq3+2q9W/9C5L9YlP3usYeUHw6CsKhPyhEAcjCoC4WmKemoD9HjmV66MGu3kpNAzv7pMXOwgUqhBaZAHT73yeLigpOgzAH+jmR6LVs2wPd4KuPNcQYmzP7/K3hnxMzYR5b0TWMV8H3kApWr70dyqmeRBmI4texGXVAaS5zt0WD/xMEm+j3VAL/qgZhM6CKxO6M/8dHL/99rHZRG3orq67DLfeo9npE3WmwxomADNvqg0liuaMi2S9IPD12FpJo+fp+rxtqLtVlxRjnSDy19hwP8JgTMJQH7xAwUPqdr4wh2EuiHR9r7eZupluIWplhVU260nhe1zUZKqCuTTcGwywRncIWdl9FAvmFedwrqsIDewlTdWwLQCTLo0jvk+8pd/eOgaS8mS/gkXsFjcRN3/dRS+RSjD1IrLoLUp1F7qK4Vqg+0ikXD0UuNrDndscz2IvHHGqSMkhli6yoBLcTT1NE00ZMPww+CdgSDVTuxy3Wq9PlkTLitc9DBu9XwWBx4ny6g8hD7R9HAvhqObHj/ww82HI8pLN9f795FelA+hZAFrZK5Uo41jWnYHzEFp8fw4cAr0ZPyPbuHJcGUk+IR7DdFd2DKwCaap0IBi5TKqAv+k5i2EqKKNRTGjiAgLDph93Tx/Ciett4Corarci663/MOtLbS2lqQHJokIb2Jxf+ds38H6xaZllpy57ugJY9MJuA+/sbYxNPgtbizf0DmndCyRnbvk6WHUooOMMKyvhYv0GMlGUJQJMBcOLsP0/+his0K8nONpQvx+0KIq1/9NY6ZgVxLW+1BQB5kK+Z3yfN9UnZ012fYWVBjX5z4HwEXl6OVU1anNpVlDHoNnFRcjNdZQOHFJhZxLi0j79PE0Oe1MFzZc8EAizfBG6aHMAiDjDAVt5JBNyRqL3aCzIl0IdmBW4EkV6DfJMUam+dtmj8HBq5jjBXAdvSZshsRob4WSx64NjAr/9YOZPzJ9hRtnqshxKVtT6Bon6dc1OHyt4aI3SoSt7LrtpM+IcZXTrdoqWZW+KN2blZgKGZn8GyP4ADMdDDxUktQpitroiMhpzaIabHPD5HdZVBUqpKd6TVmgYOLhlb+BOj/PEXjemDO+h0qzFwCHjCN6x0uU1111n3eb7W4Ho5/4x3ytfA61cBCZgFQWWht/f8WmHRe1PN6xvSqZfJY2DhV1QS3txrOnZyOKsATILrm+BbTSXFuPOnOToA2TrWs66RX12fVHuXC47x8UPmL+c30TK+GR+xT1ETX2y+MiSq8jEu0bQorTtPq5thhvzZPJt7AZ9BnokYhEDGbaBGtBP+16xie0xne4uUTi7MPARfhGfh2mGNH7BZL3BQUesLVa2qWo5FUcGvW7d++mdc83MfznaDoPxKu+Rl+fHz0hJZciMQHxI6TNwq0u4aoF/7x0BZkh3AU3jY23G9rV3AjCd7YHS+BCGd8uCJgMopgYSHTEJA2C5pQWzViwt4BpcTZu1ECs3CCpGPVUTAdZ5yB3VV3loj6ftS2bCwxbrENNtD6QFu7q5UHi5EiSSIKUfgor5UjJsLdO9GXEFY+4iyzDtKnecgqtEl7Wqt4OUXbSZtL2S+MBB0nr6ETj6e+P4nFWVnPK0g9OLqYMNieWbPmS/oIXr++agXOJnIWU4SpfswRyra6rQrUBL+DCSNDgzUy7/vDI4dgyf2E1VTi/PwHKewn392fbs0Edqg9gvXgQ6EZ6AlwsALVSWOI5DQ3TUHKaeuGFRTSW+d/QwYS2i4nItIdc8cGwLPZuC6r+RprMh7o/DIM3AkKu7NMzR3LN7Rn80rJKfAEoj6U9Q++HztciugcjiLoG3E9E+686+5L739sDZ+oEuOC9SasMUB0lgPeP1yHQXAMMmkJz9ytwXFOen1IvV36h+4XuD3KuDWhFFssSluReiFeBJGOJe8DIzfzFdyr8dt2ejXjNIoD+xGMYybqkI5NmqW5MOGGYNreLE+VLIAjuDdOfmAaYOq9/L3dR1BbnxW2evMPvXB05FithA34Dw8Uc7A0rIdtqWc0vICtYBRDJOo+pb0KRA1324uRPFB9i+CY+HPQ0R5ZygNksZck61nY091Q+0r245qVj46lYEes/xDsldzwuvYJvmROEu++j9VFdiRASf6GE+dzPreDNhaoPsuor06JfmiQ81Aas5Rn1XbHaCaTLLkcisc6BBaUd9RW7z0LSgSMvSmWbs/iOzNZgKUjsp9F6lK7s0mNXM1pQqhRXHn0v9cKiAXgQNi5VUs0Bc0LgGA9Ue8eethyQmYFok/rALZGH4Ar+CkoM1ektD78Vll1ZPb9nSIUXEsFaFouBhak/MFg9QpWKPp3gAUSesD0+2RyRrPg3hXZjo4OQCkUwezrH+VezfKU7eRSw7Q7voTgULI/gd+Xvkhf7pN5Kr1mxZmwvodjYls4xUXSMgI2KWT2hDztrwHb4wZ0T94WfIH9q+GRDZg6/pKjMBp/FdGECkqHvZlSPERH44UYJE3p02y+Rx8+0t7iB0I9HhXWgyk3/5hLETWai6b813TMuFJD6xAOTW/FqjxefZExb1UzKKtR2NduQBYOZNcGA64PBn75oQ1AUBCXzDbTXxM27xPzaINj86ctFObnKEAbVgndMT7STbn8iYKyTg0v6xwb6mJbYRwWhlrKf8+UuE162D4AjFdiDTn0T3wFD8VUoNpgbkxPTnvFOoY94OUCF4NC9BdUJNYXX8JtUVzCh0RBMJiPYTppSP+4chF8j2GYetFRtKB3LMkn0iGEU9y0KwC7klubaaBhDAHV765giTmNBBXbei6sW0CdOHr9A1VmtZam++av9UPQ2NaDyjbJNzBnoJ7x7jwmLcPbtd2b65YcafhhmIqdpnZmhYMHJZCfz3be6olKEgl1HNKSRDvBR3dgfkwIw+DtHnpqWIkc5JttqTU7ymW8UVNC8dGccbqbO1cURN89gu5VrGKAvZd4/sbH+FHLXZh5/HwWVMg4goxzHEP6vo8uIBwlvqVbIw1mRxjqVyqN8FfKml3dG1aGYpq/IN8a0QoBWm7dt12GK2Zz+0XyTpSMFIZHLrYnKR+ChGtfKxH06Ov9AGLXQeQWgma7/nLak39Hl/5ykvd9J3KPNHVcGbGpZE+D2DE+QQ9azTt9dneAy8HG3TKQ/qO7Edu47jxDg6CGxPH2TplZauqUYuU9D5NWANyamcJbN0LXbZw7EWyVrPLsJ8xI9uI7j/OPg25aabrbiwZXrLTR/zL33KkInUb/3rds+0AKPCGgwCe4SVtu5rKiB8FNDpQ2Q6Q4iuMmuRdSECXsB/fzF9/1Gzk8ZdLJGY1hUrZ692xaPx3kqvhVhOzXJ9TbjYmPFta/y5wsiPoltLGRdTNgh/+jEYnyQuXi0jLHccB98/KIPkGe3em/6EMXqUj4lvNBSzK2MRAcBMEwLZspyW7vfSuZoh1BsIKU+M49+/0HvBjgol6lYJiYYNn/Ftu1PK2W/S2r7Z4jTO3KOsmhIsKbL4uUrGAIaGK4n5JdtM8v4pMKrar0F1iUAMjdIcnOjUvSq/+Tm+ZokCXC29msfAjE3mdyzjT1vbFrO0dQJejGcgby/24RrNZdfG+YDuKkeRX55gGTqyM+CzbCuwUKr2Gx+f3MJ0/YWn9P8H1psSkUvEJ5ANw6mlvmajuPvx6MLebYGu4oF5vTaYvgWNE+0ebY4MiIleV5WollQzWgTZYabPrHb23T2mgTXTFOogxU+q+lWxIQqUFpR7ZycFlKsbZ9BpCpzkK4Cf4amKGMZXENi9xWbZQgUbt84DTJuNkDSkGzo3FXVHyVmZ/1pI7a9drordQWFOX/CB3GWettsOXS4nMK1lmU6eU5j1ZDZ4DXTY33+uzH7l9j3xrFnQanIe24MazxX2QzIL/jzKbrBYOPihXjHOgKUKeNh2ZhWiNsyEtkcCoAl8MNW8M4q9385XdqqDRnqnOE6WpflqT3mynEgbS0xCh6yPZeDDyYHwfX38VE8nhuwbLV1OdO5NJs4K0ZqV8ZlSotEC/ZFP1E4QowapY8RmMars15wNsh5StBE3hYI+gZemFcMWaU8DvVQi+elNjh/YwNBSY4BA38ps334jVpz4uLBnZ/lrygD4DrM1oVXSut67n1dR8sQu5QZjEl/tEvuUhO8RkKAi4+Nlj5lDx79HA/UwkduNRMaoSGRgaClHfqv3IXG4Ws6EwgdY8vNZva3/ncTx4KtpcPxwjVrjSnA+weq8bcs3MgiRK0jF/MVqrWxEddy1QmlkNyF9Qb6MsV+YhidMkVU8BZ12eoxbukXEoYzjgJgPwhwj2p0r8TGrJgJ7Ztoj/tJ5K3vae+VXjuzOIfquNIyix5JOaDUdDpHdx39uRuFOZ9dMFK64hSgO7+MENwlu/xcDmQf3Dk+pJdI6tHX0d9jWkdoRb4w5F/Ws+VHXkH33iwOmUlykXH5avTHM3pEI+KI1HYYm2r1r57caFZ1wDEgpS4N3KAfbReZA8SJjaPW7gvex9U6wwO333Txvn2FNYQ7OAS1vPXivlo0ppzwxZ8nTD4c1FJYV+0GI/BtPp/HjWNlYROsZVr9wsnbUX73fibIQakx2MNqzgvcuJee/0i9dYCBrrUqKtC+soHKJud+MTdtzkTVUrizGB+vqyCUHi96jL3awc9q+u+q9XSqctnstkHaStYbfxo0RIBkFBODpZk2QIclJYB6c0gHqt0hWj0Zh/LlsBi5pFkTSSI2w6iI2Fp1jAWSQL1LOpi7xjKZNMzKTL1ZATsnyp2yLJeDg6RMAEhMFrAOISXrW+ZPup6tQadQ94WI95rCG43qFKQ8tFi6QkY8hB3rFZ3cqI+lIPjANSCysSDU5sRCKMKoqU9m25/vCtMIiH5yBbucohmDy8UPc414RjuicxIpXEJ43sNT06i0VSkj7wcQYQ1LTHHZWmKMC2Sa4unfBc9ozAd8jkSrknmR8qg3gvSrh1Yo/7TlnEGgFnz75mBPopZq2rDNtwmAVu0OcD61pLVTidjloZ8zqnOcmjp1ldIV3GKtSqZXFw861AKb8HAzQnShzmj6vKPKGVEtQcMQpsLq8BGHUtOt8q2NqPrkI6dsT81wIkXrpEYsWy8ifTCID3IBaYQgAtRNsedZtB2SZFY5qX8C2oz0CAzGVBV1Wg7bBVVAe0S1HwMivwSCqn4LJHWZITUZJpY7GUDnZ5v3i/6F+FPFx60zmk/9P+oaVQchw2r6jwmU5kUOSs06c/cqzQlfAHqW7VsyabQCQS8uFIK26ple61wYSqQ70ixwSzV2hUo8X3RuBkDnRxiMLCF/zAiL+GP2JLiNub24+UaBcLE+BKHaQJadlMhhgJSb2iEu+/qdrE4Y9emHQ14jnJB5SEZQW1aSTTdMNCiHg2NfRadktsvE3/+cVh5H1F6Byxn758CGLipkmvEOzl78t4uEmVgTPGxGm2Lr04n3ZkY4oq4XQYU/0Z+QHg5LeYE3hmIWCgjI/IAxQG8VRwuh9w/wA/r+e/CHAq+d4/+zpG3bBViN+MMfc1lC0UmClNsI4xQJpN8PajLsJ2JTxBKJ0ltugX/GC0/DhdeO+9WXgns43zbG8IqfMPq3OuyD0mXRY346kxhSUMj2RsSV0YpFd9toyFKjOX4GeTJO1QkSSgqnxtZCFtdXOm+jRteLrgwSqgltfQa2i6rd6cQ641badeZseQ/Azd1MhNSdjpqEtobmJzKqJq/7frArDmgGiTofgGM/QTzA3BTaq9KHMMcTrEbuNxWpxMJQErZbkNsqENoNC4d74fcNs6iwUqdYdpRGYo74zEoN9X5XNjsDou04bk2bKkHvOrhytSFJk4taDQVZfNf0sziIgQa1dyGbiYYcLTrDNuJcGTjv3PKPhR2N+lOyS6NfCy8C81rkKfL6wgvddOE8VC26V1pvURar+EYOqvDfbsPXMFT6ZrUapnGAA3UgOhB15EvusrlB7FroicFxY9rhunBLgy07tB+gls7e16v3T8GqlNqfIkDBMzlWYcBSeJYUepa1ATyDkZ7NPQWvK24q1UYO2DKO3JFGlPb6sKrRFOM6U0wO1LMHFw2iFUgHqRL1W2SAot7HRDVHmy0hDbZ9SPdWZtbYYZUxWqwSedf3+quBH1vsPLzOz5a+Yf7Kv5QOEVc2FJVSo68ID3M2Xsx/vjGEfwnZla2RVBhxg24mhGZCw5MCWIlAyKpTEGRmfx50s+q1fKxndNNQss9c5dkEhnw8KjLriGnytEwHviC+SCd8eZ+jD63bg+BuLvKU8cGjss/2ObKNGiuQ2anQEJGxCGtJH8SrpZCoYgnMoM6ZvJNRKJdoixGP/xF/O9J88ix+SQWQCndHKZL0ZpFRvfBzJTsLp9eqnj//4BKWZCMExcGgxF2DMCLBHQP/pY3dZRsENgwzjyCpaJenTC9iVTjYKcsREqUOrGwm5KQC+WTZqHK0EVIduK+2kAgx6bzpoJanlYqlyHiOn5KocEXYeNXRTjXR30Z65OQ6Qfb1m0kiPSg24XReabEnlTn5g1nKSe7MG76bdID2qbDwNDCmCjgd4ZTsYp45LPkbARHj0ZDXmnOj98pxoeAfPvHQ10HYFokUhum+slZgIundsbXgqPZkLs+ax+lelwf26tnrFirQwE90Iq8kTAw28UyLDPfEuQHko+nAk9XMjCbD6eTUrJvifH9FgHBQpagWtCbZoC1rYNo9qhBRYBtjJzoKrtH4QVUwCIzG6ozLA7zEg5Sa3GuHRN+PqwMYkeGy/iIr3oXzgZRHsER2DADfVmDtwXTQt+ZbhfSD7jJY+qxaRikE55Se2DWAIdpcyxYr2ePp9hX/RAOMY0dhVpvT3SxGkcdsVrGHmRw30LXlxvPpglv+lHM/RFWTb4bKuf0gAvqBmPXGYnibogVZWO7KpumNxktLb0WyZtFRXcmqxjGxI/qad2Q6SZym/bT1F+tV/cY1nZrOiL1QWDFxrLLHMf2mNyL0+PXZzrDRdgBD6cv20BbEE+YK5gG3gjmiwlBJK5idisoTOV4dTP7ax7OSTlGsLb7hWG2+sjdc7m8wtMioFeAWqgG5kR62sIDwvAp8G4nVsqBfc3wVWXs2mZ7KoLhX/jqhgdIRacL2vEOG1/yLzbFwwoxFuu7FRUXclUkB1xUEiB7cW5D4Z8VgeJ3u2wW+7LFy62Vsb/YzOpFX84S/pi/EqH/alMjBkBrjlUlDt+X/gMCXqOSRu3nS5F+32XAbFik3pbYdtkmKL0y3CqGXpx1BJRpkDhP1F08nFqyzi0livEJGBE1bDglOBUgjjaD/SXlnHD2YpxaFu1MXZ6EQbyZZNXr5UECV9EuF5lwxaFHJX6GHEw9ch0wLK0ROzA++qy5T2BDfgbgM2vihxDvIc6qJWvML5PjwhxDDB2xjSw7955EX3sMCdhk0nBw/vNmGERwvmwEGP/kLgcPwuof9dxaAhfG5erAJYyyMVo5+GicGav6G6b/Y4uOkApjqkgc6TZXpkQOq4CahWXuFthzMIThhFrDzsIBa8qzL6F8uunhGlW4dAIX5jonB2usoVT3BvFqgK0jOwaPqZuyyJXItKcfYn4SvsrnmX0bztFJIgSJJaLDtkP6rzwGhEi9Qnq8Fv8eBMm8acC00DWooT6UAhPq+SzSwTubZY87X9QF2qa5ESB06IoKXaAqlxDYtieszES8cqaLNI9CckQjvUwYbhxCS0eRUZNlOItVKPAuWzrKkBGp9/xIlKQTH9Gz6K54Y1KrjmdNY+2p04pzpu7t62mCQ+w2Ey/4o7wbjsKds+jHAAm7wngsD/iqjkAHowEW7wudzdcndZ3FESRAIXUqAnHfV415uIa56U/J90cI7fdUUbhNBsz3UlJp765u8yDp3LMs7tkySnD5MOdYtrSFyUH+wu6E8KJ7Sh/DBXp/Iqs+VWEshbCMxoPQkSPy9YaNYa+JW5FIEV1g2sqKqBOYeMmcE6pb2UQgkHw/QpguOFtrRQjtaWs4Wxh/psf6PCRY1qBLWdh11cMPQsNsqjrQcfs/aZc/NhcQys7UmyRRSL+IvnP19vaUXq06+2QYbwADGNyrAmpwLbVbhSdUx7TV/S7B01lEzMhs12+rZCtqY6hdOaLRjWGrDi8eRi8ftBxiKol1T7bJr3mEBmlQcwRSpfGVBu50YeHeniSpK478zZ3S5sxsDoxbfzSw/yMQPLDXz1S7Uobv6qQMNlg+pnGlFtWbrk0dJhiBZ9ti6MJV0PwsvIiJjMZQIRdWnOijnIhgknv4tBkUMpbZEPC531iG8sfnfNTRwvyQodRw72Rr4Ns8Ht1Z8FKKupj112OIk3ZT+IDjbSUImzcuUclyDqW7B578w5JOIqgoiWYFrdPARkb75SMottbN8CHxLuaNPvR7/sUOiNx/s022FoTkresnCkAbjg4UM/zozekti7PDq1ITVWQ8XoCVRW6SqbORcZouQDYqv5XSGlqMaIBUNOdtenX9/AO8wLb9cadTBiBbevd+Su9L7FHrJ50E2NvRjJ76jRFL7BbKvG3x6TSQTyRpkV3O31RuS9oXqAc0EKkckXJSb+6c/Nxf+qpXs0cX8k/s1f4ZEx56eGFfxri7AY7B0HMbe4jg1EFoMtvOglGdpTMz3H3xrs0YV8pX71iIbmpDIIGfpCtKdlPA+oS5xjkUN0YBA1woaa5rcvJoSJjFKFRXgRIPKh4/bgEriVSjeywfrwYUwMD0qUGdwuk5MbqmbzaAntirq18mRnZeLRWuSP2NV9BMrPYVApk80N3DNfmWcY07suXBPh/1MNRY2hBqAM6a5CUefMA4HZQfukgrCVDKncNenZfJaNwb+GnyDEXdCOTFt76RDvPyzDpEQF6WRh6OXY04XUu+iEM0NpPU4sT4Oe3N2PUbcekrHS8IvKZI+czpXYa9udgf6lx4nGbarwtGlQHoZw2n7/pozQyyIJcrV+jHWmCJOOMjhedk5HidmDgzeGgQiS8B1REJuWO8/YSjuUnXWHhyOlhKyJirIfo5yk2Y6BoXoRshIhPugdmJiOHjKszerR1goL6vwK0m7axiY4F/YbD/ksKt8I6lJkpT5twq9/uzYY0V2rZKblGJD+93ABtqZ88ByKvunxGz0mTG4EXBeGCk2rfatjS6J5xpHsIhMXjl1azSDP/JF7svEIbi2GNBVH7MA7ERfMGiXma2TXOTqZ2u+vsMKJ9Lz2dIh5gvmMBn50b80GaQFyNkXIBrABPUlAkRVoOHSrwvjj5iLO75gjQV3lRQX8PjgwrKPWKoQQUo0B15inTYv70dvc+3/1V2nzK7w10W7WxehUFrHBYAupdg8jWSmKiI+GC95IDldJRQOrJ30bby+heTrPVWqjYZClZt3x6NLS1MBthNjiL6yaO3LAnArAPm4+B8Lyg/aMBSBfh+/KQ87dRDTgXJMgu+hWMgxD6qCOmu2Hyq8YFHXZucIeCw9YS3uX0/71ANiZEQtTWxktFw3zQMcGiKe0mdnzH5j+E+mKwJ1pb4XdYwh2j74HCW7yhaRnYlwTRC6k9FKZ9t1fIgHL4/WsFmXXo3yXGhV2GgOJQHv5eRt3WsTpXb36tSOmffx+hZWykebeudDrOnMlMdvRYq7CJx0scPCvgT2AHG0/6oULxxeGpB+Byr6+ARdw9EwLsnCBna+qZ8a0VIoiNQn+ZUe5RQBLpCU2KuYjPKAUIVce7ygejFRv57tseTnTMWdi9GeZij55uoyHuwiRUEIbhAenW8NdFRtenQf0C6ZCV6vO+TJE33LOTfl9aduiEq5DxZfmHuGQ0Tcfzmh3znHRf90KqPSZ7kK1unxsEquj8cMkW0g1BowENT45cy6QjLAJBnLxxFHM/Rzks05ZztHtrgrxkWNS9p6uLgWP466yzD3EICmckx6Auo21xtiWcLYmQ+y+BObqlOI1feJESFK9KOWN4P3UpFwzxrBrNMdsWYw9xVP+K1+LkFT6tkPo6KLZ/8aUrsjKK3byWQM2gCsfJ+MUaapSIULX0H4/S7Uaf7+2401FYhHRSg3hA3tim554/ne04bPeX7do/wxPVxfl8yfULV7wvIB4fW9BAsRvKc3CdxD80pCTeS467P0XM5lwqQ3BoC17OiF7upACnxudDcSA8ZGlM+9lO19NzPOqmtjGnh6fNaOhx4xIqIy3I5vfXAsSnNig90kzmkrK8yfJ39KCsCx82HfwX9+2Xp7RzXpCZXMAQUGrQwhjJSXbyAJfYiGm0eeW42PriG8WSNn/2+P16qHPccHIk3ho3eQFX5Dh9/lsAzfC2G70m3IGEJRWIcrAv3bBUfKEmysCZlJbpP8cFE19DqkDGk9LHz5xPFu6dgnc6XBWVFdfHkIUN0XAVBaVx8T0hBeJJdbzOKlzrFbLlBPrXCxiKhPapynUMv0uCcYU2gKbsR25pU2ZUi80eopEzGpWVs3+S/tHjMo+DFzamC5BxIbbufrdXZw1qzuh/2/JZz+9pLaqimodScUNDdGjiOj2SlarRkVk8rcF9+KWL0myHNMKrD3gzCFAjpzxp5g329vyVz1JDsA0oAHx8KSboNIFx02JQUayh/W5a9lW1F40fulEh01Dfa757XRl11MmFH9sussBoceelmHI218z0pAP/y7kTCLevG66gLvLcCFJ6Xy2EIN2jVHq14dVp5AbyzXHLPp2N+CcSg2dWZk5+GyYArIOam/A5wXwyQlGA0ea2W6y6Fvh6MFi9LqaSDtnkN78iwcD4iMDFS9IrAM/AWceC6t1uGh8HDiehb5qYyAgvKthcbvjTvTbR3+B7YwGspkJet/RDy6uSNKGIL51IvkAWzeP6q+K8TxXPT/b7HnB3cZovrcABITEEuTg19CL1ZqqPwc/uzHGeCmSRYtTMpgoRasyCXvZg+dGGZH1KAG3nyphRGuyRN0NIBEk9crEBsh1MaNLl1NK5R+Gskul3j0IU+XU9N39zjNGUM+qsDOv96FvkWuqeH67LdnnAFhVmRXMeVqlFyRaZ/IT/wdRpxfpoboWlOFO/EbbKpcUiiRvkHH7lhMFgWmrL3qIVbib1G2//7F2i79rIvy1iAYoOy4UnKbZz7i75RwTmfG0yO4pqZmeydDldwzreRCq4456c1EaVwNfGAWze2l4+EKT6QbQ4IRVjgxmYvXVcEx0Uuz6cSKiAmKCSlRXJ99GSs/9sh5zbacLNkYZvpForqQFBpf2EcVZjKCeVKVJkTts8qoDmty9ebRYZ2fDnngV6R4wrAA3qaUaCwMPMV6rL2Nb1IYP1XgJ24qJS29aiz1QosIqxKPr1599ZJYaZCnnt4+W/hKiASdGwx1NLwxAPInq/rcpF30uaoVVDX+8pmstas8aQjLIKqB+ir7KeTeupx1HhcXpbzg0LaarMhgTG1XdOcID426Cz70G7o43jRAbNDBc7GMLDvTyM2W+CXLCtytJz/ao6Izh6otHjO6FQkAWhKvIV1gSLaqQyPCGpPi8N0QCNlmgviQ1cVvreEGUjdGNNTOR/0NKqdt4UuOog3NRcfk1v5F0vNTZNQbG8sWLHdbOiXuoPe8ib1jYvvdMz/GKiSWWakruEI/TI1Gt1ycdhcjxl6QCmN1BHmc+lae/Q54eK84a5dJMGd0JC+mfWpNaxCVcEokuGT/NzANRJxG+5fttfps3CForu9cGUgpn9o+Wt+OmhKDRWsuPJWL5BFyeRFOGN4bLBTQ3cEXXaIylHRBMJYkcHTe+3wnjZh+3OTVW5YcPtG7qHf2/Fmbu8Bwxn0ZrpQ3JwOYpMc3NUg1crseTCni+N/pf4CBG9saQnrkf8jEigbVnRJrvaDsm/pC7NVm2rldumWsavJ/ulEOwHMFrZtKZp8Gu3oKcIcHYWTjZEcdWDmJ28Ip1ntRQZSCqsazhBTYSO5zSGVDROQG9+YvImItCGrXmpqYRbVvy4HxpqA6SOsrVnyharEypXjL2EjR8RaxBmGIjqeagaX7nNKH3OArk35ed3HfBjniIPmtKhzsUHzV2V29oz6SGCX2hLMyTx4PI/0ufE2F0Tkke5vUFRa7Bk5YZ+KEuDbSirJh1n6+XfEX88qkeiV3TEtwrq3Zd/qxIkxcEo8LS1D2Nyil9o8okAJYmDs8XOun9km0gfq3oII5/+kaNJAMI4se4oCbpqAFZCl2JhXdwt5ZuBp/Ik0RZT+spfgcdQO7k47vUJLpLtF9Mk9Bs9fKZXKgkdsIaH+3ajQU6XLKajBCgI/UGTSjQWlPiaYtvJ0FMWwHxl4IkjMWTX6w0wGQz+u0bJfGeIY8/xhKDJxMdeUcbqnmlXzAQxbRaswEReoTSyHeyzD5FHQWNUX49oehLmu0+EiiJ+37SEbjlsYfk055Rm7rVyZjYNE7LGzwcui5IyktsdXUZZs4XwbMfh/LUR0Yqq7pQqDo9y60rlnqPq281FRQXnmei0NYB4y25RY7gY1msylQNEy5F9r6GiA2xSTyZlF+v5if65dzVQKcYmElsBYF0+EQV2G6jaleNUD/52aeoeUdAq3N+0sH9F9yKAetiMYykhvC8PygqSikw0OeJmufPco4LlhqNNVzR4eYVCr+0wxz43LFPzzrHxkmVg+Zm68FTOMTIs7FAzwkT90XK7lMf1WWBGzva/V2Rg0jJ6d1oBorylZ/ae9RqVHXzgq0cO2731nU8gDyEp7yPL5mrk8tMN14YiLMduOrCE4C97OlfT21hgUXaT+s/3RuZE/6G7s5Ag6P3y4JmjNNArh0sU4y0mtTlUqv3KxaM4L0IUEntCZZS7tk5HQ9r3/69tqw0DYg2lw8wRe7NsMeZ/moav0PydG7VqgRvBMMQDO/c9TLaIW3U0gVcZfRKmf3xTBJGE3ocetMjqK0k0K5xVkkVkzGs6fdToqkp8QSemKM3Q3HyBAdfsg+3luIcVpNamyOfQQlz6lKgG/bYUTsySy6Ehv3J32xvwOJubUgp4zDcIXYM07S0cpmlD+oXfIFZQvjBvwiJRBiraI7Bueenie85NWj1PnKbf6kVPAiHYO73nZns/Ar9KwfiJds7jyGlxO6fTILGXVvuMIp+kaYUlEg4s/rp+tav8nRyh2fDE53F//rzErQBvwxDk5AuuBbY+8V8XLy2xOCY4qEkzymUk4UOdkYoj6yujoaKGk7wsXd37c2dNSU8EHGkQY7qPE1gcEDeuwPISHj5vLZMXLL3krHvS1PytFayDvAFp/1opn2GPXBqiedt0qUKvJ6WvM+ogisPoMh0R7iyU8LYDwDt8GsnhwnR0MjkNVfCgepCFgKBBZRG15WGp80xLg96vK67Ctd68gTgg38L7olVRXvP8G6YuhqXnaVvC1Fi9kw4Y1Hmn0KDu9i8CyWSmjAqoohuROQSPWVJoGiWaR8Oh17kISdHx3GCVwqDfEZqZqQtCklGAq0rLaZgtdiOmALwzrxhvtYv/tCQXmlHQdYyxq0K/PzaqmBx1kpvA25om9h+D5sSruiwtlJCIilAzHKPbMEk7ekArrJe5/KVDqPbc3u1YWnC6XqCuWQnLIN3lVxignylynPvKpsRtj9kbfj3chvUuJFAVyJAxDSXIyABE5ydVwRoxLPo0Al+6K+A3Nijeh7MQ9+1/x7jfl5ldxTODNSs6qF3qYziHra03vobwGMyoKeT1a8UtVq+RASjTjrF2aIqkDwefnmiADpOk+YviAduXI/ps+iDM/NeknawlC6091m/u67uqvNlSw4H2+VRfXrTqzrDWGhMSfwpz2/Bzt2bMaAb9c27LSn0XTHH09kFwtqF9l6rwTUeEnyeVigqFM4U/cydu2s5DwdcuRx++X+qyJHtCgxuBMdwQ+bC4FO+973te/mGxLkG6+xfZwu2W2gZafUIJQW7tEkBhAf8jwJXKR/0bM5nsbJxBFqWCuZeUydZvw9iRi/QKpncOPZ9V1Fn873ca0FCKxyi+o4PnW8hYhGSs3ruh8tKZYYOzY1tEfxyE4dPdzM+G1VbhBAZb5/n017KnH6W+v/+7qFKmgwlv7Dv2XEqxIKdz4rgknvh8UoYf7jnHbJET7O5acZ7rd37LzlrqDd2/m9KkdE0RY29nNhbi+fXdxQfWKrpZupOOC+y26juJbVmJP5aqBYi/PrjVYaQNliv5xTsOCv4bXo5yCSTR75YzeZySxkidUhe504gicq07yGuxiwfq4QVi76ib23SHJ1oSPjhfsrzdxZwz+9n5fzO4aSBrilIDsX3EYwx4Yy8M5tgJLrlJPsiVRRlDpVBTyRNiC+3zGBErECxyHIgCYZAIK3f8v1yxG7154tIZqn/URyh5vMyGAaZyus0LM0zvENCIBEyEqdFq6AyXYmlu/TMMSJOCaGENhwTbBA9wuFms5fMgeq2YL48E33vRq1js+2fjoZPi0GJZQ28zRXhZmFHccVVnsfFl5fdaNGpYbAAQDAC6gnXgjN1kxtpGEyB8vp3IzAf3SXxW5nyr6t746/gnT/keQrc7tUkTf4g/nPImpl/t0Wcxbc/MXlvpmj6+qJdgEoKuC9Ine5ZksGYg9fcViKx3enYsHepmF/DSrDw9Bqkf4O8sGdRlm7fcy7pFoKoYDCsBJIHcMKUeYwLAnxD4ySgzO9Nec9fzjujm5N9kgB00H60dIVYQB6f/np55cVk18bObpw5YY+eGg0ITb3B4bOyZ2kFz3DZewLoflk8nMn8ro6i6wNxh0ajb2vRRemQnUWp/jRcK+RMoPo36iIa7k9IUNw7VnS6bq1JCfWFygicJGqLLhctixqAJ2bJpeoLOtnrtZ4FToS77FeXMIwl47yJKczdn6Q8BWVS4B53BjxwzDP5/AfS40poZ91Cgfv2hpI06c60TXI/recaQ/EElDfKSRNBWpcE2JJ1wPzqA9CYe2QMU/It9mPCtgaJqkI81/tyhh5Xq56I7+RWCB1yfS/ojXfXhIpnwt398Vg0IH/CZ0WPoq7BAodmpajlHMTcBQPNLY5ArbfqxXEanav23rxUjd4YQJuQjgrfRRexkfnxKLSb+gpBfKkIXmz7dKtdWWgm1vczmzRyJYC+ZLkGpWick5EnsZKerpD8gPrGMhhqxwx4YttwkK7EZuhHW/BAEV3CaXgVrFasA9VTMeg9Gih2yKLeZQL+ajXCpyLCNCzrPnSLtrs1wPS2NrRHc2/0GQK5G/Fps97gGgMVbQTh+cST01cE8gFTfIEg2jmXgWjjL3uQsT9YQl5w9pxyofESp+PW5xOFSfeXhbs9/tF/1k1I/dYgVasIz3RF2mKBuZPQGW31DXULleez9bxu5DTii+CRCIXZO5cVqmS6qsURw3BHxUhaMZ11hycUqOm9cXa9Ip31Tnh1nEykU7s0fvFjGtS9ybdkqts8m+awBcfE+B7YKst15KPpC/4mXBaE0BcaKiBuCxUPUSOBqGGXn7J27xmaFsUCPfmfXgOu+q0Me50r3DO72fx02Y5isQGDXwlfW1msV5DDeoL5x/5ptxQsGVQWmpochM6C6L4Gt9ORQ3gzyII9FvThhFrVHR19OZXf29s933NZ1Xx9liBZ+1wVqLI8LasOMeZmCCOX4UL1ConYmz3dxmRP8AhKcv3lnAAmhigXjMM4i4Q972xLLVeaqyfoZ7lQmHDofmFb5RTcwWb0BlD0g58TppkXn1geCJCMzDduV9psYX+rMQiOrHdZCW7rayvCKBuAtVabyfNxBBz5oAgHtWXlwQNHiQJhGV9/Avuft4SYyDzSPn4TjnmDHofGZfHgFruQ86zOvvF8MEYCWRwbeIn/ua43m9PmUpSLnACxeuTfnxC2qTr7RD7a4ZAhhQI/Ssmh5jqDN2c8OExcs1PojeGypWA1sLck7Ag8hOCJwmmFczIiJ8RZ9L1yXMuvzyGg5NQT5K7KTEjdJjYOmpu12cA9xgcqG3ByRoPdT0YZH3u7PrYoXHjy1bMrJccrwa1/Be2TwKr5TrABP94YLSy2SdRCBaYtbXnsER6Hz86WLYV3xAX91df2idpVnMHVc0sHcTKv9VQkQXHjoc0KUXTjOdtHlPxRuiIu/DCbP/6md/wCxuE2AW2tS1sI6x2pEMdGnyr70a4/tFLWeOZ5IHT1iAdpMPuL4qIEIdjB5+bGl8KNMT4wPcfv9UxfHKQ6GWNkZ66t/XLcYUfP7ijQuJqDu0u7it2L7iK2RdmM+kaqkVSiDc7PUVAE5o5fOlHuTD1Dc5f6d2v/ieARJD0IqgCYmFsQ69W8QvPLawl12YAXqzYtnmDxdR0kJnjcoxUaZieosOYAs/r/KT0t13qa0Ar0oIJCa63NrEqIqhgFhNpDgmnSy/A4/U8bGuPN7SlnXHuYPEGYEGb8DCRMu3ogv+dXh5DBWcTbJ7a9vb+B+Pqlwba/F9PRswX6sw67+9PqCDR4XJTm4dNW/fwDg+ZBu8fM2WLDY8LSGPzJCw2utl6okHYu0V5QD96RP9o4gJsNUIaia0YiLy3jGI0FnVKahxnyMU5XMnEbru1F+eyUzamtom1gj3iZyzyhFS7Xug4IMWG2BFTJq2MpCPiQlPmziqo2VaQjtqE8vOUj2ZcFUVUpow0nkSLbQCT41Ti1TqisfpCNcn22p9wtnNDrWsdC+B90mU6J/XGQYKQUDyUT16+7mOvT9VSkxhZRBoV6AnB5D2qU6SUIpK6UA/WFNbz3mnJ2NCrdy8+Oof5mcXeVyLMV8CKhaXTpe+imREBEUWyQSRIGXtAjWLfnRiaJnqEblcUBbDpd6aQHbl/YaXlPOE4/Vvr33WSvm/A9WKRmbnhL9t8td85wdvLY4dTqfW0HArcISgyA1oZNXNMTYa3+7LuuFAbnr7LNcB3IHSwupJqFC+iBS/Yc3QxR+btc/44kLAIfUyFO6v4JxIRa3EyxqUqKGi06tm/dxjmph0EA6FSA2bebhwA1ZsBU+t/V3jUxmP9iWL5H5KOrsbI09R/Z2/hjums+vTLMCwcGZ3/jN0IvpmqJFeXv75ZF12kIJ8z+XSHzdmpH3FomZ2/laJieF1mSVYlowENP6/byQ3FF48DidZ/01tuvT+yXqdAl2FvtZCKKljF8xqLVankcASCetwXe8ey+122qfG1SSPdvlr4qnXtxS3Zeqm8cJvwzE1yFYAGQj8WWwh/NWFeENCBsDRbl4INQEwAGq/uvAqUaX2bi6VRygA35srGD4KMw26q1cUJUnkBKxio1b1VlcDty2JORo/DqF6FgzpBOYRjDLOylaJsuK/gD1eGtnkUFmAXLeL2jMO4R4n/VEK6/CNu1aF08pwXSx3IeS1HceFlzHYuM6RSiQcmy3IOFboW7XG1yCV4Qh3qI8IOiF0EPclrR41gEIK5gWqqZezaBj7YClTApJrETr1/JOwuhkA/qlcdiwkWkLr6HFNMT5z8PrpZQqSJc2s3qwdjMXjo0GkOXWkmlRZ7YP5gwt8fHQsExOFxUsLoJGA7M53immO6G9rAcZTyn3mMAbnM21QyCKoKwYcLrybj47X4d7JOC2S+YgisCRh6urvBs5jxrmYs65Tc24APwILoMK1yuAAHNrDGj8iclXcvmBj+3ZswUge1hQ31j25iqMYdzYS3Tl5CRcSJtmWo8MSFcrfvDAvofqrUaVI0yy06qrk99hEJ11TIJSLdUO8HBaW+fDaln3GjuxkTIraCwvOEbWe/97OnUq8SWxVxHwlp8L58gvozCHHuir8ha9sp4kGQMxLU+3o+hRnlkmLLRvtBZMz8UPFxNdsfdQrMtw/PFja8ZfRRXOIxJRpc7aqhTDFmcX71KAIh3onCYpryecw/wKrOSsxgY4zxPeXEnyD0yy9RIjpdssaZlRTlXXhDS0c1sODnX8djX0LjJ357ok32PegCwbCQSSZ4yK08Vu0vr9edMuvzCmgEgreTllHlNy9j3d509kf18HwEgYdSMz9dSgJgseR5HnBwnKjnZQeTZWrlCSrsExd3oba3jqR2a5+KxY3GZuUJQsjaG7kKOX+rKdJ9EziTIfPU+cU4ENnfL63k2SfA5ORxX9GpMBv5pHT+J3CGR8mNcrAuKTXNDW2fmaCuTaTIRLN3eWZcjf6yHWxjMpHMz407AnE5M4yRP74PIjwTcRXwzzndboSAJ6JzFJ+JEqBUcEpPlQJjxPwWLm3r2vXdAO+alXzZ/TkkM8=" title="Mekko Graphics Chart">
            <a:extLst>
              <a:ext uri="{FF2B5EF4-FFF2-40B4-BE49-F238E27FC236}">
                <a16:creationId xmlns:a16="http://schemas.microsoft.com/office/drawing/2014/main" id="{6D9D2FA8-9372-4F3F-AB6D-3DB9353898E5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4382125" y="4189730"/>
            <a:ext cx="4373190" cy="2592070"/>
          </a:xfrm>
          <a:prstGeom prst="rect">
            <a:avLst/>
          </a:prstGeom>
          <a:blipFill>
            <a:blip r:embed="rId11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1939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MekkoFormats&gt;&lt;NumberFormat DecimalSeparator=&quot;.&quot; ThousandSeparator=&quot;,&quot; NegativeNumberFormat=&quot;1&quot; /&gt;&lt;Font&gt;&lt;Output_Font_Name Default=&quot;Verdana&quot; UsePPTTheme=&quot;True&quot; /&gt;&lt;/Font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1h9D1Z5GDtPW+wuCTrU5cbsTyeRnoM7v2+KYfNB8pPDHY3/N/nQDLg73FVUjs5JX80ZEMdZ5aXYVE2SrM7ljDixtoKhF4R5tzsuuZUVsHARnaVu/qi1ogBDYdGq36gZm6iNPXUIRO5KdpUxkCiH0WtjIQIX4+JjCJ5MO3SV8TFAC/aDVU7LytCG0DmXLzsg9bYcuVhkBhUMHW7CyHQnfvKORAfCqaRNCcsnBWKW72HRiaTJIpO7NQKVnPgRF1ILfZOgAKfYhur2JQZ2w8KWD/ixtP9QZtGhepy1owkuxClxENXRcYn25bI3cYmC0NdkmemU/BMAV79wYqOUkQfGN1y1Eg464IkXejOA9nv5QhfoTlDhXVnFuwBm+Xfj2n9n6I12QsVSqVAjDX51lIRduS4zJ0AnoK6be/vH/cbgC12NT1/H24dNzxV2sI/dy9QC5cFOTJknKE0wKb7NX124ymU9TtV0Ok0+4wpkJVqE97FndSa08XrhRY12RhelDyackPMAmyqLITcum6RWKlLUjQ4eJM+3+pZXsP+dII8I/f9EJzhSMpnmB72dKkus0vTD06Xp0oc6okllb4ONYFVebKHOwjFI+gn0wJgkWgEeBU/WY5OAXMdofVOOlC3phV8CmLvoSwJBY8VSguASztkCm/ZaZNGQzvh3tXG2oAX23gzAsy7TVHPzpDb7te2fBfvFcti3UHsH+lWP/mkydEEbBVsHOONQvZHLDg040BJrWwPWA/I3o76qRHTsBELu0iclJTNE1wkkfklTsS5/p7OGRpfe63chzI2meBsyhdyXa6qt1jwy5CFhWxcZ/WNM+x07dBbQgtegFyyhFhOjqktfAlvsnKM/0xyq5HAcWp0pexJ9/NJEsL2LVdsfWlmLqY22pfQxVsWeoA1u2vSpZW365+f53987rsDmUtx9QT5APaaFQwMuf3Zg0cBe0gQEtk4/Cmno27gdRuz58rAVNlq7EqnjViWvtzNssT4drooWYoSVe9n7V47vn6zoUxV4YF6Gc4qyr23bIz5GjIERNhumsvDTufBYWFsXHU4ZbC9gG112trmUOo8uuVye70aZc9dI/Jxuc5MzAKBZS5PO9K2Ehwx91Ao/p7ivl/umWpNfLLTPnbq8cemJBWOYDGuTZOHO37VZLs0D+dCGPaDN2rpSOuVkUZ6BEHXqPKOQVkm9WnohgOR4xE8JYtje4A2/OvyCVndW1KNGo1g2UtAHo67reXwuTti8DiZr3GvJIlWfq7cSruJjabLlZejrcxVICIhFhdgvObRkOYR+i0beVZireAehvcZKZN5U4/3wViELMdNZQiADG4Uq8hI+VG1MSrsJpFtJse8RWlfPssCEo2LwD0EN8/c+cZUi4oLBTKh0rTcZgmCptFJBMB4QUaw9lusnDkKl+ibZz4mt1Hgea07pV0TNlq7HOeXqsiVWGSnYQ1dUj2+twkEe5W4Cm/FTvzCdCnom8BIpjrRLjs/rXPpeEu33Er7sc2VKLQvM0VpuyUprfy9PVaptUug91vVxhS/8gLyCtO/9rgsf5rJRBZbJiQNvuuIPjjW6Qg4iyml+j3dBEdhgmZQwEIFdagt00cQ82eCbF0PIZ9Bgzw7jWfAdGpE5OUDqbZBLkkl8kzSIPqG0l7V3omVUlGY05MCHyPlFmNX3JivAxwL/fc5fpoWEC3iwPn/ftG9DHU/l4LYP75QZUKeiz9pR5LgR1mOI3iWRcRJ/YN7HppZ7qBsEEiJMSwElpEuouRZvOUDgDnCKKDweT4dn37sa+QRMtfP9WhiSRpxYx4fLcvvpL6PZns+5lnCtfTvmA3jxvDkt8ktcG5bnHBSDGL103p03/fZuv0pXDQQb/KBwYBqqsj+KkD3pSJn5DAqxkoXHN7ioatjwXk+31hnQNyjFOSwGpxWmU2E/lBwdIVyAwMM0dYb/aWTUHU511YxhZoQAG7GpeLAm1GplqCzi4gUmtJCHwaPaFSdxJQ3JR7JjRMp5D4LKfupniIhpfPIR1KQ/J86ufMl8/yPx3DVU5I53QfE3u/f52nxE92uDiNTNj4YalbgV4ZJXVR2PpcC4/oGlPLOeXo+2UEAZUQIgw82JLQyELwac5LGoJQXik9uIazHxrh/9RBxAuCLqkD+hKJeGI494GeXYrm9HRALNlJ6fXexT+U5iGtTC6AVVCfegk8iLQPSfFXSBCLGRQaXR4cbLRkDQdwyW2lfFjKQmmp6k38w9tD024TmcESpJIqVAn9jThwCtQwtV+ARIHIiGzMh5zVcEmXF+B9s94Z+6OyikcbYjv22phy2fqUegM0ml8jcUKdPuCnJMfKiyOLLPx/ahfLSc9zl2mXaVvrEFscfD717cRaf9xuMFCdMDt2AsanVJZt7rCGrgSyEjx4enMQtl/ADeQHLAwMZhUjmtcNIQ9oJksO020Gm/AJafPUIrEHVHEPKmat9N7JJmHMRhgFD290+SKHjyqR9QWdueXEw03NGYxDU4SOJxfmh7AVn078QHKra+YHNCpIjQ2N+Vc6z9UxV2IrwyelczwTLRSbEbJBIP8bm49R7/3Rx+F5aFSF6xD56KLntJNAu2urmyXjYNpLyjn58SFS1i06gF5mp/fAEaQxAV/bufk5cfJX/fJJABtanon1zqEgTBef6QnqfezD3wURePGFmes7MmiKJgdVfghYj8zNiuLj1brrSoSytH/qnLn9o3xU0u0UbjzKTGZPl6tO9toHulO2IQIFJN+BlcIwpLhSP/cQwnSO3UbMpzY15xcn33/AxF3TcSv7RS0EkO0E0aOpz43URm1AVkuhdGtBKC/0+cxikbS6L2OqtizZGvEkoI6TKJOUyG1wnRQptSxgEUw42BLeStOTFjgTpgeoYPh7MA2byA+TxMrfi3BSYtuMKF6wrUxOkRzt2Ah9OCXVR1OSq2AZEtq/MFYyg+EiJIaYCNK1V4PPmR3mevQsGx4YCG/3Im6VATwm2PJs4+BIenhCrb4JaDp0ds6Dwz9WuUwbwpD1GWh1pUQ61ew2aLHermCeMFLWtooRO9WE/E3CtgyEZTLBlwkRhhnpTQMPlOtS55mZS4icifF5yil6CWSuknZAjMgHInrODkJ6mX3TIPR/oSpVSkFoReHQg22Fw97Y2PfrHaH1I1TcuN7Bh6eI4datnIERhSd+uMynMDPF7nP04y8gQ8t7Q2cSc9WH1ClXexuaqQJtdcoqhw1h53oZFGIM4b5aqYT0nhwsZSRHmgsXBUMF8WUFC85t5mVEX2gSfeOweijma30sMHTNHaG2gOdG4CFMocrvl6ZU2jvRshfqLxbkgxdEn7xO7OLfpvMnblVN9VyPmFH9ODG7qr6bEVGO4tCsg1gkf9FSo5UilZZEQK76IZq0T/jL78px231NtNTSpEpOatvpRmJ7hR1BSLX0pP14aKYj89HB8BUyFZedSy3BL5iI+qccG+W9Srh7zSsl1lKYq+9jJwA0du9dE8rwZkgQRphL5Da0csN0YRmOWZEKmNbcnS0t9COheWaH/q44O3f5sdjKS//xv0ppanjqdH8wZcLt1YguMuGkg+jd/2XLUVkvduaiMHD5kONS6n7FvwLyTWHhuEvS1EFJgwDxFxxH0s9TGcmhPKoWV/a4SJaszsiQw6H7xYhvHmOH/8j2g7uRUWMi7Kw0BpACSvO9Z34w9z27giZ3A+zST6nRJUjwtX0sPIAdRVMKnsw0/QPCJKglL8cyCRdaYcB/L9i9NgMlPHseNbW58TVAUSLfI8+ED2g/2GsNKpWBOP2oZlT+jmXPNLb3nJS2WXToUO1mkgZ2STcwEQjZ0eoMnoY0nxtWV8tinGXv6vGY6MDBRA0B0HJePVuVCjfRIM2p/LNrfUar/1wFKXBVHjaJ/0+6OIlrNKvyX6CLd/HNou/NUoexrC3MeU5RGassrTpJh4rqrt8+GA81XnPNWca+DjYdznEVHDHWGTsQk39UP2hiXfJo7znrTMyrrpmY1rSHLnzJBxQ7X/1wsLQFH2Ou8Nr3B7MXfasNF/4goA0/PJj4kCe09HFugc8PC6id2MIhrI64CrigEvGZ52UWDIarIMU4D54rpJ3+M8a2kGaRNuMSQkUDBwG/yRhyTgtAxQ+EdZhjdu0ZDuEQK7SJ0mEdwi4RRJPbcs/jd6mcN96idCv2bgQpXZFegSx7X1+VvntR1vvTOtXnm2inFe+8cCdW+Kceo8OZx27b+x7JlzQ7IJbN8/1YYEu2wIGDT496kECv4qh6/zabI6tFelPrev2qbnkOoiFJ+Ik/vWfvc3n5aCfBgK1kjE3+GFMuwnXHHxKv5H3HWYl03g1HLyC2tvM4PRj6I3vvAdDfKzLR+SbxzxX9GcZIfbzec2+Acbos/eqb4UnO27v4S6b9LxH+9soNqxFNkVVRDTv3P9DAt9lgq9IXFrfNZO2ji/xwzq5sFBXh4rNuxBpeiMiCRPg1lWkYX35kLdgg5AMQAL1J07r7e+aTRlezhy/tCTL9kWQuIi9L7/Vzay59QoYXj03tkXKr0IOUhPlbaH+6gRl0MJi6oPr3alHA2lSupVwJnYFG2lHQ3eSWS0HAOeCjI4PRK1PdWXE8qfnLXEEx6Z0euAUJUydUynu1NRQgJ+hcGoFMii0WrjIh12uGxKqlEyjJECbSDwZ1Gse0Ggrm4U+SP/vaBLN1HOCtKLo+IKLojyzzwTTDk6Dn8y7SIluv3vf9lDxGIV8+duUir2wgIInfyNr0is+KkD7w2vB+bs9ViwPci8b/fSb966/hXMkXo/IiQvhCfKuIvrDMnYwBfxcDN2HTrPLBIqfbbMIFzaSd7jI8eWU+pDlw/Db5Fy6aOjqzPxfrr44UsGxx3WAvJ6+HezkqEtjJl06EQ/xz/XcHoWLDzSWEugU2ah2lSP7vTTiryBnN8vJm2MPHLhVfud7ZflAXt3DUVhUhFKx+bI7Uhch4OglY87OTgjkJCgnZMSA9DeMjCxvjd0NoUw9FGSCTyvXV2jj1NZ08YCBk3765ePhCv4+6D/eFrfnCGW4cOINF32BNchg2BLpfVPb1J44DK85oZ1wGaA9HBKJCsAPjq1tsjXmC/qFE4mMFHUgMMIq8YDWcb8hQU/3k1m2TV3s7Y8ApYlSTUXyodMlo78G3j1lclQUHxF17sBku8Qf3l3T8qQMXNbg17lKYMeaBZlvZD7D228FxmH/Tfm7mDyLSTZVhmDn1+gujenrFhgQtIxTBI51L+IXwJYJlJIpDNDACQ05TuyN9pK+M84c1wEvcRUJ+gu6DRQbFT5mRpPvEm47KBB4aykytrNE4bkpHEz+BBtthOd2sd7ALJcHiSNwAdPJs08IjBCJltqddp1s5Xr9ZiZFaJX3oyaSLdeMmxtivTe5K61eY70QS6VO4xncmL7lGRqk/eFm+GmViNSWQzJWfV3smh7ONbCpbJGs6KYlVe9XFbCfJ4SajAxcF4wNDU8IOPgD1YweAUAJLdfhQAUifZInWcpSlP8sQQXwYNonN/bDfzShDr/wSkOOh2WTRgI253vAj2n6duKNObBeWAJktzqABL2FOeYlvJigdNJiKDZynkGqxAjoSYvQurgKUNNgo/ptp9C6cxRmY3bD09cpvKr0TqpORD+NhMqApP00xeUVrbs2hR0GoeQsS3/Y40+7Br62+QraXVK4aA0NAeNWXVHCjewddR4o0/gsgC4orUEvDIECGbu0q8RtIHUX0Kgs87NU+f/2jwFdv5p3KOadTM9hx/i4kKVYu3D8WQ9MNERay5REemw4XJhSkbUokhYCl9VyBey5jMipSKOMPLRzsEqx/S//IiFA+/CAhG5zMIHCBDYik/+4rRfBwc2oZ1AuB1gEt0xJ2DphyGSTpbOxpgaM9eq6dSJFliWl4nC+D8usy2oP0Gk0V/oerzaAnuP+keuBhKKBGphXht6V4ZEhxug5wVA3QXBhlJC7pEB/1/PnMZVKBjwA6k79l2/mSZaspTOquOg+m/I1E83TpKzf1jLTvO/ao0RX3QdXEkEnw/ubdX94DiJZPakBabTKhfYn84bYNrnpDce+xks5ETC1VcF4gdPhgrzukLspXrDXhWjM8jLy8uIa4AeSWlMxxRIN942AIzyXUOx5Vdtr8LoeX+cp2uy0zSYDPZlt4ZrlY5601KucF1Cn7uFsOdv2ml1NsxrmolYsO6qMLon4fasudAjKbucJeZvY3Sa/S0Ohk2R5VlxjssVhnFUTHi69EorWw3/VH5tH/45fz/npkzC833TwCGE8eKm0k43Rp1f8hH2b8aSWlUxg1WA104+qZNYRCThEPATavxko4SHlxo3Ry8AbsqdLRoSgxRo4m2oCODRRDAa6VwuMzIKCMV1a3KKyH2t68DyFC1TaWKq/uCx+hShrtfnZV5LWqFmI0ySEmmdOzVpsyu1DUYLTAU49Ci2DYzxejAIGULIH1bGw5DLUysdRaOZIAdMSCgqNoqEKDiCwW0qLfgvxxfr9fnWFMJ1PnkKRqHDw4cNy58TOOnunCIVwmKruPOnPqtmXHDXDzGKnB65wC1CmFruCYljjI4Cte00zeyS2zKCX+ByFcWTBS0BsniFF/uosix8TR4FCjMy727mO7QhSE8i2tQMaXdsk7p0XuN1Od6dmrNsDbPnAv0yMr5PKV+NMWBT9NxVXNqw4/ZwgYWG15TqWjkaYgL57ILJCwoyzqeKiK3u7XtBIXCSjXaRmI37AtKiWqzZnEoUsrN7M51INtPqKNezaWKGBqAljGaIPMadiYXZS8f7LltZm3ffSliKHOXL08BY8Zg7Ra5+8bTsfFjcqA8z7UcHYnsjaSO0snkqsHBBePOYTdUDfyZhR3rrIVPN+eBIb/sw1/0CfAgqDeWurPFI2zwYnPr2CQU1PqrJq/xU1hM1mVqTjBVOtd/+y2u4WUQtt3HIqmoXVplH87UpNEgSG5kSHvIlwCCpfYQGJEneVaDaRePMIYLxvVbr0KIBWlAuSlrPQ18pOnXKrojANy7lYoyeiNSokBgBGmOS4d3BMjPNlzM6xvxy2CTB+8uuY4lcU5P1zFCRf2mDLfhUqy/2SfyexU9Q3OdG+JCTwMsggUXeaOPMzAxbRFS3HAAx1bJfhpzNMiwcJFBuPtJQwdNJRDVOPDJxa2TynqWkc21gv1TCp4RT+8GPu65Nm2aGJUDt8bpWvmSHWNlKa3Oz8N/tDlXUzbXxIUwj7L8+7Y5mOsR46KkOgV0Q8dq5PAGhsXfHDNfzwoDPO8AyWP/tgfGe/yoYm9w9wBJay/HimacY8KjiOY2TX5GybUjusPG/+NtjvgrgqZZJ7Adg/7KsFrYRcDKJf9Rw+xnyUMT7YTEZLJPPBxULjTzZUhjho7kFZoJADTCeXLfh6RCxDvRnhpXAeXb4q95xfmSexZPTpjqcXAc2qy4T40ysh3hjjTdiFwSsBgRjGgMAExHQB6pu00A/JGV/1ktrBEtO2uNyb0Cpeonfh1XgRkHoG0oNd0Chf0by7+jfLY1+F/eJ/c3qirzRcf0mhGn23C9/uAn5mYKtd1O1sFE56Emni5t+8xfwpH/Yp4qjyDUBKajw1u0Rt5Ix1BWxpv9rHXwnFvY/lnlU0xuViO0GLB75xy5J/s0BaaukWkYIen9OJp4YW3aOMd0P+zRe7neuKpbBxchbNLrGtGTLyEnoPAcuEqoOVJmqo9uC5opVriXOnQLreqwrRCAA4+8Uy7fHaqdMaMhAstOafVN/ZVwCwLzhyI1JdvSqk1gPohfwA8meccqT3xG8Ze4LQs23vxwtwvn9c5y7kBBJ57sZ625yCHtImijJu2zDVzcrYhoG84YEhOi9rFEa3YP9fIpKEh03Mk70dtL8phd2IjEfny6qfukivrvLNczVQDGx52haJ9wlSuxP+GftPY6CWNnqIHK5KXrfLCU2b/Z8a8cEnAKEhXob2JhnNy1GhgcoDNf9CkCAKej907fiq4f32AhpAJkqSI0+ZJXlKlNXD9tIQw8JaNGQyPRoJd4GeCLzK9ZKE+0s+uDe93td43yqYFUBuwj76aH5TwmuTCsDkwozuTiPNMX/bR0YNhsxJkBxkgAQPZ+xQNQUd6ODgBhu7tan3HvK8lTCrwJIhjc5KIf0jdm3/3FxkF9w8MlTR14YwwfC1tbVbuw0PJPEM2zwr0KZ2iW0jn6GIxuIC7VCL5Zz05SkcA8lYDKxatVPx3BBxkvbezc54aFCq+wfWwhpxmbJXG3a1ZGylF9XbGVAtpbwUFjTNqKC8zpnA/Q/dJBUbrarwtGeOww8BW5mLdmlXds2mQaPoqMrTOiAV+1ujNKrImBnOiviyuJhHrZkrEhE6aYJRddfwIj4yf7caFeXAjp6NSjrFEJCdUF4TAjW0BbtL7+eom2sQmbLvyJi0CepQpot270ieosK+ejFV1ImDoWRd2dYvMJ/+8pKRue//4yTOrKwSGW2RHTXYFpaPBzCHfrxE/E+1MWIU04hK7E09c8aKNXcZmtDvDVA+Kk45l1lbaX+nqSvJDyD6qpTs/x8BR3E4HmSZfxotikURYmzj0rHj1q9H6NMUePfhSncohYUr4ZkSON4D0N2LSET+8WPUNlHOLuy4pAZpYyn+LWOi4lu82bW2BcLebHNSOfpqT71cDn7/IMhAs/x71Kt3bMwTIo1QMM1aWwNoCcLPrX9/YuEVXUMS4LBMDPm0QCIMysUx0vjTIgpmRFcJZv1BeT1QYhg/MyPbsYT9vayW94PzWExPor/vKeVooOjc59O5VEeXuSMcNODak93nwAIuKrmMn4NN6FQKdjQ74Mq04QXuxatJc3eEP+xFg3R0VyTtbB//JstYQjr+uNKphbI90TXb+NEEfCBGOTmi6o5Jl3AL9RZChKko6u47lUYTBolghIIWuDVWgTWe4pZe3BiOcFoZzsyF0P6qa6y95MdzyRDRxTXmVdRWKTtcoqxly2SliTGz8kWAEqg9r6MHLNST0Fp3l3kGFJBSTfZ49977HWBdRbCEOxPFgu86Mp00cHlKmEhprLg2JMLkIYa0z/PA8P1kPKzDNhDCEPWOm+ZKL1ubOdJ2f5VTV4MYLVjXWqYzdTZBOZlpXlMEERPTHHoDZMWoQE1JSOvYP8TwiI53fvcWHol6Zk6zFDjhswFHMkkhaqCLCaYEKamIRbxai7hIB4h+rxHCgto66P+En8sPuZQ0zF8s4x7p8i7RFrxQGozzoSxtwQn5u26jqC4aYvTQrlkAwo12ghrXb+kGr02Lh+WFOM90+MBYZEbf/mxvVL38A9X2vBBWFMXGNvG00lC36wzRGejN1uRZcujTyCayMBf1p/0I0/zm7G8M78mjN/XQbuJOJcAM310XQ7R1LHmfqvj68trBs/HvBPhFOIDmSYbZeRPf9DLusFi/+ZyecfTj1isQAOSOVl+Ne4alOS4EqU9E8HYCzd39Npt7vSj6XGABlSQUbke2j6EB4IYVNvs7l/dXxxkTQaF89qALTQ4fMt4NO8yR42SqJSmgIu9b/+Ht5pztzdsQSVj6phs//sKbcfw3ZsfZZyrgtKhyaTRzuxAPXd9PaJmDtCgmu7iXvlm6yBXlNRBbwNtTU7vL7WCkftB4GljUtxVX6qo07mjK/uVRe9zFiNjlc9Ihept3/7ihuZbt98sZFaZOltUfxY74QD9syb27etoK32Z6uIP+OfjQn/ezECGjNAlyKgzJpXzRrspWuEBq35c4frTyUVCw4jLrPvFfxkRJYuaU7dxzaj3QVzIjF3TRtrq6mLB4XJwF5Mfq8PIWaa1qFZWm4pdvmleNYDBBs1XeXSFwPz2JHED1y6O90hiQ0auA3+kZFgDSpatm2PePLtB6wtpjQSIILB7Vbk+tpxrq0LwyxGXlT9KgpIW9jR7IzQ66paFOB0oEIQwIJRj+K2vx/Rf35o2WPcGiP+zV5Vvr+lAxzkcMZYIr0lV7rSzAEfnWd2wos5CUP25NCOYnsz170qLjK8bflCoGWtWBZIo9oa/15dE58kXEoyWnloULkYkc6wbWQdWWYWxUfXAuUKlaV7DQWK/CIATGfwElwwsBnvjdzXosGu4NPXBc2qDkH6eyi2Wev0w0DpBm5UrAcoNMoxGvdExaC8Izl3FWknVosJ72jI0zwn1PYuH/shrMnFtPLgDlgCmaRYQdANlljNZnV9qubd5fTxPaOW0mAWkITWM69nrDlDZIiEKiAF7+TVDv0CdT+Frdtv6reyW8n5GWlxDn6krsJ1GbzSx+hO2L+NnFOdSvkbkekkxZTYH++A12OTGRctUnR2Jis6Cm3sB9jAf8JUhrpc0P5QzuLJPiq8E4QRL0IDNO5aAa3MsDQkVHdBeDRunUS84inpwQfXzXW5Vg+VbxW6DKSLTePn+rIL8O/HmK3sJZBrcQxZp+ruVxKlhLm+7t095uQ3wRI7iBnHuEKnxObLILEJppGD2J5qV1DgzFRoEPJ3fJbNZJmJ7HX8vRiZJw2UxHQk3XVKQGrNoxr0RyNEmfULJb3ZD/RLHFYEWdxYwT3UCYymnd5vtdTEy7Zb+yxQbV4SOLXttHUIbkhQiBkiDErX0iqcjVrMqKyH9JjI72zbA/pVtiznGnmq0+tnhBQAWvlTEp7eGIr6ETvctMI3S/PQ+Mhs/TZ1oTmRpDHS88iYy3LsHbOXd22+Pe1f8J2o42/qKvamHO3h8CQfl5/SoxqXhJ731ZiNIW/JJtjztw8YIfWVQcmBULSjOOWNeljH+5TfIT4W03av8UQWcnsDJIV5ryurJi/QgWnrb+ESTBnz/I6PCgq/WAh3LmeJMVf2C2aJEsZ6HS32Wya6clc66HDUh18dNdjt5qhBurfD7kk0a0ak3U9VbMy1LA3nfbx6xKqMlGNxt+L0J7IbWydfOCTUeQnQ0mZ/NOFlq9JWV/OpeU7UgA2pSTfJ92BzIJG9z8rdkV6aQEezCU+TeaZDlDfiGyffYLJXtL2U3Jxwxq7Yqbkc/0ydM6bCo3NXioi91FgjN4wozePJkZcxkOzuwB8ByUhb2tLdmxCIEI+ie4VJ5tEEajRe9b3sxyIngijcA7gsseC3VA+izd+mSsNgMlSdZxwpFy6PEQ0oGMZM39TQYOAaklNcWdi1aLyCNclRk8kHdAKUTrZMgSrydFu8dNOkSZ6Isg7SKWCa7uGg4vbPXYqzxRIW0tf5f+4cGc9L7etxw5IHrdpATGsVQL8qAYest2WdGEfYrL/bvsFYCHt3sPjavQNDbtZ0IlLF3yPYhjNzYlljHjPqQThHoCB3GWMK8c4q0G73Pix+ouLQhZk9iTO953jsVIbjG1/zPT637U44QcUOZX8d4NGB0XVISJeqVQ972W8gGEJS5gjGzrX5+5Ig8AO+rw3tzDdWZy4jGTozl1CRWB0DK46AV7fRQbFJJdJE0cT0p0YoeOqsVhorPRPqfreMXQvyXKhEMNU8I0UfZKAboW9qE8Fl2Yb2gTVl6IacL8JI0Yw4g0D3K563JUe4HK/hyLSrjOr67duNxk2BNYs/p+4RyHYv2CTQ9LfgWF6VaevOfRs3nWmjhKkcgZpv2Kxu+ioggd4tODh+q+AzZKjbIGzixTZPKGVvDHo5wwyZnx3gn4F3jL3ZvEieRfSUvyCUxVTJcOFrzdvyCTGnPTeGjfryu9UqUoFYFeN8tDgzexAAXN/BjHMm/sR5dQYGUgkodSgX/C+ojgCSs8sZ76YhMcywXhmlAmX7SPtAX+8q/i5Sooia8tlD9u82dP6ppP4AqzubtTrdW0fq315cKHqbsBTvoHNDV9xXMmSqO2Nl5gw+buhZD2GkFEysdGtU78JxLQJWeJfdQ3NbbiNTNWdV8BMwJVHr/+P2zlnNhYRtjy1xSJXJiWaP0bKMgTUXG3BNSCLdO6a5kM6lI6W9QU2UQlQyGEGkf5ggn9yGwNrdrQhUkYYC0rPS1mXP0RuqX09vNS4K1/cWFIivqgKRf8IQiTnvPNq+0AGcixTi+gKpTk2vafZvbugYZTT/ogQQQzNfeiaFMWGVgZbDluMaR5rQmlJvMcPOaBDojyr0/bOZCaeUZg3yoPRXRHooQw7E+XXIYRz6roYsGQRTLPK3rdYXkSMbvbd847ioELbWPz8j4da70aeP6Do1n+rDo7s/+cAS9BydoXOn/YjfTELzjZhFdOg9sYKk/ITb+t7eyxgLAWPaaltnKcCGcuJZdg5Wm9BSgCZ4Nz8QmSXtkR44lCK39BSzzdvEcaPq5RhmwpPDAf4I4VpsuxomI+Z4RJ9VFSQg3Cj7PcCWIHGnKoBGqRpLW0zQKOi+Ww06yPg7ysUmnHehkz1rUqVyIzu6mOV1NTljtiPj9Js2YEQn08IX6+Jlbz/M0J8LQK9Xl0e5joJ/SPPKw98kScDYMt6pkybOKYDq88frkCEJxU7X/rb63WscXtCpaxW1ewwA9EiYscgggstI2iYMpAGSEq19fAHoobiBdiUYuftYozWPBxTEjRm7AA2KJKQZlIiS9Wlh7v8ffTp+S9/3PrlW7EM+Rb88jZo7dCIhpn6ColIqfNmUOTCxAgkW+DLZs5bZYTrHpEEJvNuU57+/0queSueaysad73I9LSn4Fz3fbSYCMenoVT0IYhVVKkrrpG97IFyRIIjVHgXzCrmMzyV+y8y5CSrVvLlsbvVfwo8ClUvgYN/r3D4SLsYAt4u7HEKN/F9qyL3mvqw3/5GB/GZ5UxIbyw/9BiINQD0BAWXpCpj1oGF7C3KoaM2TZEJA1jzysCyIDL4JLzIRkECqY640Y0MhSox9wHFHlASgSLIb3xLMZ78ej2+mHL4v38GHMT8/GaY9VF7dAU/sa75L862PBKfM9uDmo2Zkclt42TKq9Fl0m0/AGTZoZM8xBpmsqFQfB7XMc21i1VYMtNQlqFYcc2P9VSkjkDZOx0/dae9u//cnV850wgBs9TKzBLtFGboHxjD7j6qd77KOLsZ/qj2hcJo7lcJW7pm/X0N4KOMCtAUwQk2muS+0ZpYV5VIj2N2lATPyNrF+l4K1btjLKVtGqiHuuV0uIzpr0zXh1xJtwFbyuPG7ENBwq4pmIW/9KcBlWIJTupZpD8ifsy985PMFJMcJXu6uj8C2N9ZW41aqlEzqhWN/5A4NUnXptbC5JEaNPyS0uG9h0D6LiWF7ClPSxIPxxJzYKcAbXUt5KAflQ4eQNv48f2PFs9ftcIjRGzQI8qMrmO75FO+Ai85kXrjVyTP2lM/icH5WpYfzU/bIRU5TgBXuoSb6LBi41LuzMGlaEec+Bp5EXpR30RZfdAZENGzWbFO3x+hdqhNnIGRf+pub0+ACz4TEIK3G32ISHFn2E7/0bHmzO7+xjLrQu5bddbc4l08Bo98U/qmBuZSKl5cq9FUawin6jlOw9QTQ6ubviHrCCGfhDOWlrHUjOfV3oXuft5O3cOQWmUFp4LMZGSw7PKnZ68YO44Mfo18f1CbnenB1FzQCicm20CdNCbZ6ykoiiBMg5wyn8Atu1oVoV4jJ7Cd7b7MFT0szWbE7XqUUCiTNzCRz8yYv55jY99Hg5WqNQY2ziQhBS9s7lioerl69VoM1D3TtzQo4/lKmEalp+7WqDXOvKp2Ki5+2BX1CZQ8l4DU+6jARHFBtcYJvd2aiwsYeXTVd7YttbrwT53EsE+Z5SJCZA31CbXVcW+s7eeZU8CB7xeE2U6yQkY73gdGZbhnC/ilXz6K5u3+3/X2qirli0jktLbpDnn0ZswBZ3CmUA+XOSsScEjRhX0FU8f0CAKS8cNzs3xJy2s2awk9O/ROEKysD19D6r1QAp4PX1JhkM9JQtcvkAdygOiHAmW077QzSTxifLg1LIXwJDchJhihZYcX2miUc8GtTyO5akw+M0BuEjn8kG+7BrPn/RqYBca+gtzqKDz48otsV7QaWduoSuRu/gYWfWTvbA4znNeTq8BZBf/veZ8ZbRYPMhIz01Vj3ReoHJ2TZ7SXNbHzBdN9moPAEAgno+jBk0sJ9reTfHklMkhJ+7oKpl+OJlbeCfxaqve2ImFAcw/X/X5178Qh/6BSg8ouJdc2l4+k4pq3jk62xvHugxM8C4vi5ZNrHqz7cHVqXl6fuJgeS6Y8YhVb9dFdC8vM7dCTMB1LUkZhXnkDzrWS1QTUxJPfOMA4Bgqj3RH55Hl0eAez+F1crfJLyyeByKvJluBO0XvivbTpUEg/Z10dkw+68guc1umC3u5LCRLzAloRfEaJdmGlx8uJiAW2M/O6Msw8IBsHfNIU33XpxnJVj11ksIIPw1QhaeLNfJCq6g/0fTCR8c6tK1CUAF1ugsOxitnGPLaLxClyhYHpmKcsdyvyccVBN3wLJCEvwFs5Cnbf5lLKbqis+N87ZkzXamGzccIVGNyFBy4Q0l1LFBWlNzlNS++YZnkMvpzZRCoxFS5c+u4MEL7AbA95s6kfMO/rWS8HnWK9THtgZdwDg8L5IPlW/7yyET7p7QCaIBWhxMQIaGkyEkju0Tpogy7Gk7GO9FWzUTwKXc4ElDKhzZRU7AsoTWNyFohUoyuISiOtguuKFtpB+jsirDEQZBeFNAY+13k5zmBDkFpyPxumPBk4KxnUi5kXqALDgcQQFVsfCaXGpW/m9EaSEOvs5eybU3RkqXzuIbYhOyPJAckolxI+rY1zoYte1S2lxwfUu0GuNZMkgyK+Z8dr8TXAvx3nUxt4OeMykW3Ihhp8ehgAan2l8qQYCU5xoQlnbA/lzhVTpPO908PM3f381zjoz/uxyez3kTAVLuDNOVuXXLckro4BgyfDLkbZIpti3PUrtpuaTWduvkled3SPYxng5tC8KjtSrzxAmk8OnzozobOa+4KqgW0OKSdt5Ir59tL3tyRJFYT1kd1MmLgrvvnRr3XTlj8OhlPv3BTC3By4+4pmJxAi01CEHiUUD6uUH13LOyWSw+5Z7uWSYaNtvSKO9ftTe9PH0ULtwk9WyxuCqUWYV2oR3HNyk9rhLZhVm4laXzROFUvWmDkAW6/d7doqr9qJkwI687RSjh/4y0/CXzGwmiKWq0Vje0hqZLB460yK4B5Gp1B926K3hLnhHQovnuNaumgwvf6PugvVKkjUXvHf3jUk7jxWF7ksUtCxC4x5ugTOLRM3x0ONukypzn1eCf47qNucJvE7iejrQ3tHdZMlp3P/mRLSoUnVc6a1EX/ivpN85w/TFfI6RNCqpg145Hdf+xH9W9idNCj257bERuCFV90yxxy5mMydq3hIovePpxfUhsYOMOlAq1rwPvhRQ4UWXMNcRUCymg5RNNHK8Sl040kmiAMMF+iCj0RARaIAXl9AxI+8uUObTq/zM8NTeAtTskOXOvSvkeBP/KHxF+SMRSwHcA4XEiUPOiJt6mVWaaxzt4mHBsvKRY7fWneXJsBLiviqiCTPD9WC5S3YAWMtYiQU7AClzeUSwag8pTNZzP9HFDjFvM53IUcXSjHLkb6L4keqy29Z+gxmnGvczK8YsSZpP52LTtSbSwkEea/gf98yXJYWy18BXx+SsAQW7q6FDsyATETZZgkR3ZJSl1RzM8zrh3Aw1qaBmvJ82ERvr9t47HnHfXefttnP9Spf8jm0JZP7ibPF88UKwT2u42zE1aqhlqMXIjJmhptKhkj/UBuUKhL70EXi1qQiuY+GeiMJXKk4bwSS9c+Wtg0iIsIzhXJq1euIj4dkZHBf7e80hPaVGK7aycmn1s5cQ39V16VIzwdTxCQFm5Esg66nXsfUekuFTcvOIeUTx3qP1iy66lifcX/W0CB+UZYrP1yT2j0YOihM9qMYuvtvoc4x2hDVWkZHgssMOJZJ/JIkz0q1GC4SpM22DwWk0hJogbCbsxBmjVla8USm8RSEPN37bKDyc2Jd76zpNQ6BRMz56xscPjQVroJWRjWc9NXJxyCqwN+5XqPzGNYxgmim9na7bTtsphCafirfDgaSoNe1xWLql4E3tSNHgcQVveOjJsJspUEJJaZM1LYEIeT18UR3xZo6fe6tMZUJyA68RxAOHrU2xvd4qDAC7y5PqQXHlP0D+z6xS/9Vq9GcSrrzoxqPB8Uf60vzoZ1wYeCUwsJltAWu7V3JT9aN6zqpsSp+yumbKqVG7guxEyhortw+8ejgBYU6c5drR9sqVSPwtBpvyDuoaa80QZZjfIFQFtwJAIoLS3Y4enlpQq3rJmFbt3ahqjXZMy3KinhM8/HCN6vH63VVKwaFNlVsJ1D/zQMdC7aamUXduD+apn2Kppf4GZiN3oM3jw43RHsXMyH4QJddSIKYMzZ52/FapQ/5okl1lQMGlUARpMeFXHVxtHjceuSqSMWvkhGbaYVS3RTxIoLnRdyLxwXcbVJZZcuc1NIZQuy5wiHd/648WRkRUn+j+sjtgWix4ElzJaT67TG59O254VBqDMel7oEKXtzMPos1f9WMqSjhEH7CCWQ3lVm1xU6XpNO8BYO53RCXwF0D7dX7K7fZ83H0LM1PxwhVOwSVkE1QFTRe7s3R0CgkjJL8NGpXrKIYF1cNTier5oIGAs7QVk4wX89TOGX6jsOg0xTlPmEq3ObDvVrDW+aQFxaYA7pOYSMbmI3OpS6/Jl8OgyYvoA4AvD1Aw/YK/Jx0Z0+Vmz8D/aQyCNMefrrQOI917FW+7jqMujeP0zjhKsADzbLFWkWC2Kmhhk6dhyvT3cfUkIEIplnLSlBFoRDpenvOxdFrJv0TwNwhbNm47o1gHhyfeatm8QcxFsWKKkXum8rrEjVuqMTxlZupGFtFOwqDiN+e7RvIBAqnLk+coS+Xef8nTkDGeZYdmo/Mm+/UNhPNuLc/4wnDT1QBbtz15jIO6Z7JQCp4z7XQhc6pE8gzBN231P5T6/CWNFT4ZjmhRAQAeLZYBH5r5trNHXgKkGCUVDxhYcPWHc0GB3OzG5HWl2pVuqdUrci+2lJZvUGhv2wrBzVHfI5/oGPnESL2Xg+6680eUjYYP3yJAmbWXVRi5mJZlTfCyzN6uOawYOx/wPscx2lmgl6REKzHOSqQ6Uh8g7WFbEpDbXwemL6TF1stuQtsnxNUzlzrnphZkjPKhBVCKHJomK9I2k1lxJHkPFWrk1HH8OjwZ+0r//lmZ8n8GxNswnNeEuBVL0rcWeNEhft7iE2NJtpU05BjFIlfFIvYlIM95oAP60mYt3HR//jq1zIvlpjeune+/8+3vBVv6I7Vu81Cuyn+swxeNhJmUfSNo91w4S079qcQJSXAa231Ygk1H4hIEZnFPe+075pUh8BXgh/eCM6Rb7IpJqYwCrhHpLM4r6RWRF23jidrfGjN6pK51FI/0yDivnz4bBQOg/4fDvKcckGgQbbtqkux0djO1bfmlzB0W2MAAd6n1CSNqmWkMWfcVmG9ZYtR+PRe15lkUZ8aeNHy7MZrlt03meOWopn1OkrwygO1tbkY/JP6hhG1FCcFUdr2dvqtYEa7O/7bqlgY37lzRMV+KvcK7vVpuwMffJ9xXUndf+x0jtYq/uRQ7cqDyGbNvqwSE41j2NseBbRYySEY2DfCmbwLGS7lpCRJTjGyoKWQwxLjUvLFkQmexYDm+6KYHY3YholE23lNP1MzcESpYMyVx6B9t5GaXh48DH9bm8xJK6IaipmFcqrVkwUfK+ryRPP+KpTdknbJ2SM99gYlees4+t/4mpZqcDNtU/USF9BEqovXafBlDZ2dKKcOiX8+HAUsARFSKch6CG1iHca01+cPFoPmvtFdvL4G3PQwBvFp0gjH6za9MLvx8+ka+l780NiIl9b5+9uEelnEeWm/MEb0um+1B4k3vvXrIlzDEcdkIOTfrwGvFEYjwP7mXHpUeR4bQJjNi1tRf2OjW84zH3+gyt7gY1Q8kh5oOWhFQ4rlZor/yTtx0uyrL8pz6aX4Lu6gZN7c4L37xePGl/Z6DANMhRoEU8W8yEaYMsE9uypfwBqG/0ev2ddCDUDS3Uke169DkwntpSRpWCZCbC3oaAJ0wrggJCylDU8ZKzzvEgz+pcn2XQ5CE78avmsEaV+zudpRAc5+i0+wKAKdpUcHBWWtlPnyH28gN1lIOFe6H/e+GpSP+ZV8JhEfd1Ay8MBxUIOgBhoGDxncrflDqw68aZCSL7sbUsrGRyOroGgFqNdOqSpnCoUntxC41hTrctDhEHtRsOYFWfHxc4o+aDKaiBL834jn+W+Y0I1GfaNCCoF5oIYVfyGtxcG5LwR47LhtLkVwPDXHna+FWgRC0SBlfVXsueBi7b7ZQDYL6bTl7cHPICwkNEZFh13YlQvuMfslsmRAnCJoCaVB2VDSAeNWDOrPjr/tlprzg3Rz2tgtGNU0RXrV4ydGQPIPGjfaIP2YCXy4a/tA/lsoztlhC6VXWDQva9TNp6a1C0JSRaOJtKvGV4mQAlI7LBorIcJqvjJTBsviywU1Lj+N2EgZqi2CJvRUKFnS0oqT+MklG5LjZK5e5DW0AfW67QWaJrasCzQTifK/5Y7p+WIhiSrpCMeV7NzOzLzuAXDPnf/akcey4srpUVt1kf9Ls/TGG6W7LHFeXnu0cbml68Ww31wh0ybZzf6QPCSBY6GczsvdU6ACWWmpM96NEuIU3tj1a++jNcdPecMw9s8bUyrhfh0guAmD+btRWptW7wlLJuOuGu0c0NPYutlnzVyN0IE5uQh+y/0pnAZ/EU9dqKNZZzH37+0Vdwj1wJ0BpL90fBG+KvRq1XOxeVLnjaGpO1lltOXyqPtYjTx2o7IHQX33sR484WwkFFxTzIcbfNYr3cBwC80hOiCvospavPNTG/JJ8IS+WgjO9ptLgr14ReaHxXXT5OVb8O55B9h+w16dWTs2X4e40XOcZIjTjCSHH/d32woYOOH8hxwm5pHYMX5tKjRku8z3pVWcqmwKQSeRXj+n44EbJfm4yiWdwvmw+lPOGQeZt3S75MWvBMVVYMPbY3+zFG5QrAfzvgHYZ4P+fYw+ay/c7EZtg4K6XqQzUjMIZw9Qh9hM6kB8E4kTT8Oc16ILFysGMooWXUDfCm1nDjJFcKAktZ+KZzRwgQKSgTGiy4o5jK9P0KRRg2D3wEc7PCnAa7Ay5warRY/hE44zxzmfhG6Yq2zi0cYRz8ekMeDPqPfeASWJTF757oZPGL5160fuplERMl/L/XYbaD9iaz3H3izLRvPmGZxWp1AZ1IxF2TGxA9rmoBS/x/7eeyg+7hEAuInzLvKnwbF/HKT/jrijB656shtGYADkvNkZfYIkLnLZAy8G8j6f8+6gWSGwn7Ym3UDcOVmRhBVpn9HclQrj8FomnRpxLSGpr0j4Y7NN+WRKiBzmO9pGnnea2/wqWgVWNbfAxKgclQC5NV0l0PqXqhijL3GK+VSGcEO1wJrmLrApjDDymDQNBShTtCErdabuWkCVJeeFqqBQX5ESDXCHj49KWKK9Ky94tJdULJfUf+Mp/d2XM2CerpaVQW0uxEQHTrxFnzC+7ZDtQ70+E7dFlZcYFoyYYNb7Q+/FXBEPF0MzuRf30QafV4q3jPWXFOQW8JMdP4PxiFxbygZxuGNLBFMEri2HVyAMWO/xK6G4J//OCSkScmecbjDL7hpc4m//63W6drfzjKCrtrbQkJdCWOX9CrWJHFTydFv0WL2heQoZWT9Jmmx7VKZap29W+Vo+l1jSrfNPUmjnp+U6QYVlTKoF7tT09AEsUilFVS7J5u0Dg5VdJp+pofbOvXeT1mSlN6dMCt3Rv+BovALW5O5J4vMc6rAEtFLU4KCsdJpKD98QZb5b7+ntqfNsH5kSqYjcrmv5jJ/l03sAnC+4WrkaPJE7BSWM1sL/67Zk94OwH/nktP8GuP4rgQoYTHRNBB10Xa01hIkC1KAJ8rn5NTyntN+xIWCzl2+LUeALLQSRQMv1dMol1KAhOmZaepclEA9F0BiYRWoh04ayVAlARd+wlz+8Gf8OK3/AHD469FUzFKBlgNj9dx2XaMVpzICauGtg6Q44f5jKWOjGIRo6Pt48apXJ9mva9SCHp8ra7fcO+8R0NFVYBC90rO3yvTdrcx3RVBCzXS7yCBcNxso63ly1NBRcWvSVqjldbBbwUpHIEYed9H6Q5Om4Agt7KtF29Vm9FeLpOSQ9fYmk4REJY+/2ocXe+5W4mB4fMG2ysYg6cl51TnnYg8H8FCYYdgUJaP6KVkLawJx8bBvn25tA5K22I40Tv984p+aclSjWEQWRAzoKZKimRN8Qp7xrks8f7h2hX9Ai6JwQ7OIIBDNBdjmXc/yK5LLztAJEOWA8V8gDKOobSIDptv6oPOhffQvpWoAjdipLEmhWBkneSheq7Bn4zXWBR1X1V39rAwBEy0fZJ8HNHXODaKqZavzw0HPJwpfJO8W17AnvBxBQxOZunN53Q4Hedwh3ug5sbn9vd6HFW8PARSqdpxGHankj6RnekoF9NJBSGvZF68cAO5+Uh3XFeGEdQeuOctS1chvMZa5yKbQL2UdY+gD+KpuBIKNluUm9LUIxsQLiRGSqqbxCxbshsyn14vOowl4Y6/uAnx8VvoZ++l+9C3fh65nwHX0XEBJv29hhut+TQOplsG57E+I3nR9uA+1iYo2h/YeuFg9PBwHEq05Kc16r3uSiOGJkcfn9Go3caHmE7Nimu81JEU0iMahHRUHbE6z/tvyX4b6JWuVbn5GkcxgeCFdkDawseh/Rbg6CJLCbaoKCWq0q058QYq4ZjcwPxVxiqqC+tfb+OmOspEyZ8fs50c2AFlaznvadRx+KdeO9o8UuPaRDbIj86H0f05+T74BHL8prPHkiiJfy3/SRxIqxrUvEb4mWa1FW089XsllGxX2FwCSJ2GewZZ1gP+FvBAjLu5KWDTVTdmAXHbSnWKqVy3xhuwm1W460RTVEnpswEFlaQr/Fg47uSH7oZTLB1ovUdpGQVEZpLAC2kBNl5n5nTkAfoSUUTudJBNPvAbvL2qY6yx0X+wbaG3DxVAQvp6loATyDODTCwXudG6N7u94o2JnX0F7h5D24sWQ5ZgNbYR59+vXCw7G9vBfeA/sha5taRByNJklu8+OiR/79VfDCl47i6cjnlg0Kzoxd6XdByvKl1Cq5s07wr+ZxnJgHJTOWyeZAPlJ1pnTVBJcNVLoMTnj2MLx73VPwpslQfXioOzVjeHj6giEAFVhp7Gidb2aVdiYSlvrtgcV4DUYOeXkvLmwL955DenSXoIA4gsWMFyWLjLROVN36QtaFNbbc8VeCb4yFplC0mwEYwOxlwkcTrvbQxZydeqjoVUwjWzwAbs8+h/zgZjq8tCyTcSV3yGaSriZ58Ot3JMpG0n9ZS+HastCh+/GGf7JWCrAGmffW1YFH2UcO64rda60b4RV51qyQx9HYIdlA+RRKNPFRoYfpzBs/zDlNMt587Nqr+UQUMJJSxCAHVh7Uvy9CvjQiJwrZjVoyqcwmZrKwARspBoxgaKm0rNKOliqAt8u5IFHOmHyfIgnOia3QCm+Q33i8yrgcr7XxnMNyakzBm1aPkEXvnGVHpBM8IOHIwPYArZJ6IVB3SNUOsr6l7Q9qtZMN0isusJAoJS7LWVK0U8KKZBe/ncTT/vUxNP/5X9kqWdLk+g5gL3/2suC6jK+p7oW6dGIM4UXfdb37mi56ARBnfj52WE+p3dP513GPUVCvmO94QLlw8nBs2hevbJOwGmg5wiM44BdoZkuoD5h4DPZSil6+KlpioZdFGS3w4nUIM5xpwZsPKMzJCr/vxg4RHza+znUJLilG3d4+nn5toCDxJ/Ypv+4l/FMeGovLSWgp5iieISX9mRNP932P09SMcdTPS5lGy8nrFvr9WrqX9xKQKALcBiAs5wSmHt0dqnGm2LdnJ/3RTlucXj0NDVWwoVetNMDseeYIIli3lYQookLf3DkEyLQ2UpnRsHLPj6A0dZj1E3/Ipx53GJBpQ4qCaScz//mhVro7MxDO5EvpigW9Q52YiDyCVCcxPad+Cwy5CIdWKhuByvu0qnJKjHH+VaX3uFCYFfHcb8XqgafTXVrGEcuxZOjeTCwe0N7I1tQMWpLhPkuzFnpwOmkgb4H7SEKELMvfQirIDPrIVY6GGgpozntKSgmhKHHd2gCl2rRN/ywrfnJQ56hP8t+poF90HT7FrYCCe5LEKbEUE16irMBTnUlf+7sWyGNPbo44NqOkFiuAqOKr1LgIiitGvJt85zzeT4NTA6nMOLqm1JKrOc+v3wP8mhP4KO7poYwNxDR4xjiyQ9ygAZRM4qrAy9XdeezTJUrq3ze4yqjX3RMaWP626JRA89sERNyA7/+dhOcq5/wFE+dMQMjLdjCS1/KXG+oNMQDIX5obnWnmaNPqLHt0cUHI1DYgdHKfB9T3R1gMUpLll2xFS5o9QND3fL9NrCzQWcwukM2m/G9/I6TiyFYay/OfieloRNK6DXPy8HjSmEIjQB509pAjYu56IgCo3wwIcMlF5xmacJjL5in8YbwrcNlW+SAwc7qFYLBR2IAqG/pSQdVAvnl6x8AN6nKbT2a2eelQDqHn2yLCW+wAfEnwTPmSg167WVvhksBILwBOlMNB7wt+p0MfetYk1soCU5XcXyow/uAv4cZV6aoWgeZX9kqPzM09t4qXBU9pymuKkn6ry+5ICYa0z8Bojccj4/8jDLTpnIqHUTNw74T+KwjScy4U+hB3DMCglXqPbgRTMoGH2QCuYJUPl5ZEl1Vg3c4mK8D1xHTPG3smwUB53hYXNyWf4t3bGEQoqL5Y5mDvdli58FzkO0Aw48EoKTvW+AjIIQXqOInXyoEBR3zEqTRH2tR1FXZBPgi+Roupt8h9BmmLDsC/I3ECHAfYDr/LNyL6mCcYWpRV3IaHGxZXIG1V/ISD/pOsgH8Coz7mx1dBtWkc70toMqvz6rxWKV/WVs0WCHvzCo5JmTAd+A/JMbrYV6tlFiGr+xdDjcVWnYVkBub6IUXdxRwy0b8BbaHrk2N3YTpnN5KkkzBeyTTFQ7WH4nqm0yH/ElwMDkjuxXjndf/uXFx1pIsXzo8eBD4p1cbarFUYK9CVc34z9xiaxLUQxnvTag1y5L8kSVb4MM5MoyqKmYh7LVWcRkKIcVOaRXIcxzOj5Lrp0h5i5FAT6xgQrR5dWK7y/2wMvzQowkcQ817blPOliOF5O0uN54j2aTUFgY8vLLCa0xSfMsA0P63pD6g+ubx8g5kccDXIlYWfuYIguBuc+O5klQNr6vlMf+IX1Hm0gIsJxo5kLNIGLda01u4XY2TJQ0zSkiM/FKx6RWyIpJf5HRnDR0uckgu04WmFb0YDqb51+OiHPpxNioA5r3CuTiUJ4OhJHL4y9LKrRsFDhQ8mKYwleZn7bWOPnGLXh0lyLQidbcj3hhLAIM+X/m4fK0t7DsJ1Bk/AkOLRlrvLybGB+oAJUHcQxEWD49Raf01ggJElI1ERK/7dgAvTnIWHLKN86OdobiGsJZczPfcgmU60HDZBieKPJcUME+RUpag2kDdOq/exqKzhRHfEp7vD439WfcQrUXP9zHI6GvGOsENwm0+KjbgnScNeEmZSJPsgGSMgr28Mh8NWyfMwnS5I7nGAL+lAo58Tf3G/C9jWqDhhj1gvj3bhz/qsiexH/W7heL7a6OVueFa+IZH8ZXEwOXnRpLF7OHvEnhguLHQbanFCDIRukdTdpWdE23m5u1P3514Uy240muTRqoFMq+27VitYLIoN334wDNZS1N7VidFOLtXDkxx47tYj0VgqwqD+DcLnOArJ9U/XWA2VjQoOiuSqFDv8Ls4Q+0J5r/xOkkFi8pnl9faNH+dilr2XJ8sWJ5Ik/9ESzxn1xI/+GPWgdwA+mOxu01PJ3GI90LED1v/ZNzQoKTUHPsjt+tY0KI+Q3bC7oMuqFRbMJG85K7IHISvzF0rnK5XhRhZCfXrV8SOrrPnyElLdV9F4su1iG9Py6si8eVGGTPQTB6QNnOuCu+e1+nao7TbgLqA6OR6zxPvEjUnd81yxw7FkIAhE7Iajw+0cRw2MA/zbj559ZB2SBEfcY/+fwBJ7ITvSSLKywbUwsaMmjAZpQ5zmiySuwRTzeXphOwYWZpw3RrMEax9AXSMBAm06GVBkxHKUx3wozj+qe6xu79jtme9e7ChfV0fbyzoQ3VzzoyUTv+tTC6TOhHS2CRcdkNsw/T7sSI0T139iST9cqugO7knKSqYEtP17WHy8zw/mNM9DaFGopg+QoKfN4sS7Zb/YuRlr53Ry+P9gvil23F0i7zzMg3CrZY3MI4cC6clynJiCZdqgr+L1BcRsCrfqpJ41k22qCkyihkn4MR4hgwy5U8DlEia2xSc4PDp8AiuxLvrsnsh+6IuWJBbA/n/XIqRmEy+0arxMLq5FxBivMMlaG0TnVlWnNb0B1u6w9ZWdprTVfzhS+MUKCipgKnA4Qlg3HO5AEG8/UAaHWla39ZQXdtbFFBtBEFIqTbjrptxJnYJRff7iX6M3GuiF/mznZdZFY9vAjAmAekUABsoZEEtqQVEHjzc6lqzQwiq11HVfwdxWhs8YW+YTlupoIpBFM1tkUYDqUIeFF5eFgIIqqDTxFCly/4Wu8lTKqzUrLF1D2MmGXMmQ9lSI6Hn3uk5WmgNvriizWQySb9+jfke4Jx+0vXEfgBmq4Qgzbw7OkOID/fyU/ryv2hvp/4A/tDpJIDvTXTIsos2RQM8FigenLlHF3hN9g1Wckf/MHelH/CeUx0xmr+GPFIFTPhK5nVEAOrJzrJ/TUIqc9XHT55R4K0v3BRaZxT50XttI7ryBFDPhO4A9r48MQhVG14J5gicF9G20JbngHAJBX8W7CWxWx2PkdlGwfMckgZktAO+ZHH+gWFTFn+mTfWzyRonvIdU4dFLVMCgl16jqscqQHYzzn5kljwnJpoFejHCUYXu/waI+//CwCawSW+/U23LBPc5lC/iYR4Uour/7xpMXgg0tlIOlYuir8sJsBaOcBCyctDxzDGo2sf7UnljYfU87eau6WvGzmwdaaTnTCh0MNWH89u1xYA0L7iOG2lFLWWO9D6RJHxfDJfgk0Oz8dc6pzkowttI918lGeaOhLDNC+N9O+//JBQBsKGkFkLWloyu845vuiSvj7SMxWu7tdx9VJj4NA0VwMgGgA3v8jnv6Q3aMtYeDvTub5Zskgs6vsQZazWW6kGBswuMI8nL3vsOH6z5uKUwfK/eUG9W0PbdUot5WcTvJ0/DeEgdE9KP/vzG5bg5vhjqftF4cPdZNk9Y3bFGkFMwFn9WjJ9kxQPGuS/JXMz4a6MdjBFJyzLL7+tKVnARKsettG2BEMCKej8mCzkHrLJ7hErilZdDM0SYHR2L8MUolecECSd9ZZBZvqQjc6L9L0pMTPgv83dKCZThNRLVT8txuOnYfBTdxeG3amGyR2h59aabsBZ4PRXaBNwUFf35Fa8ukGftNVitm9ojTkDkTwpw7PKuYXlGEl/0AL4SjF+/WHsyR5EdV6NIuWzRTGTgDHRipQ8gP3OG2OpdkQOPOf0l2VP2Sbvs9cFwe6KO1RJn3jesHD8UfKnRER6mYgmQKtgXoMngVSVIhN6tMg9tFXF76XLu+7NfSyDEUVjX+YnTplvAQMDmxg0rClBEVLbSpCmeqhO2E5DzdKQ9Mmjt5Vq/QOtDAB8bG7Bkk/VNCK0Qm4atBswHnxLxhCilgLpEfAJxOmS2YyIS8wG5lBQO094I54fXm5GrDEL3MIuEgh4nsZqNgAzE+SwVqczT/EoHA+/2k3+so1RpRSAfmlGurWqWsjZ82qJCbN8cdKdweIZK/hwaF6Xin+OhiMESkRHRG7xYlbF/734J5VxcLwI7bCOOCr53ZdDV8pbyguHw9N/GvnpVtoqaFZpdDwrCLGXjA9158R1TctBa43aqEFOeOxiRXPpG24NNl8524PaTLYRDXfnFvn7CrInVd5Hn9BXtPRCv4ibozNS+umXJC4dfrxL0Vu5H4nfg/g6ugo4UGsU0auwH63T0OMQGc7ibfw86ZoUQXbOBUjMV/kZdchOywjYjf/W7yMAzQtZzad+/wF6AYssNjon5VLX0ZSqFqPRauXiWSlyIEx5kaaZGDH0HdZjhpcGI8ZFe+Q/nQGHjyAPjfV0RkAl+3oMEOQs2aYeMgMGeq9vEqgOiS8IN4GvhrPnyDC4p2mQWzl49jVCnZHWmwy4Rd2n420q3oPViSkLCrQx7eAQHJvl0y/w3gJqSkOYFRBS7LHRNsekkBoDhRhr5HNVV0jRuDfIq9gF6lx4tMrQ+uxjAxyeJG8cbxb1D1gyT3Phojf7pUbGfugBmORAoiz5wrYDNOl105LgZfYL0TUIMBxEcUXDUFKsrVeemEHBngwgNtpVkQLiq3VP6sHjiDHLA2LReZWBr77hvwcpVlC05yEZEvcCIgzaZqAAY1IDAR3xIJH8/arLOSoS82tRh3P3xrAVo0/iEDukwfCWO9o4xca/SGxVNjo8J8X4rd3JR60Cg3B/EQN4anGGEjonhnbUHInXQsxtTcDICf+SpYg5hNaSX6UZXG5tq9vpK8bC4IRCDwdgPdBd5HEuf8absoC6hGWwJEcZc/BFZ+BTO1VOCBOgi7ks04isFvpU6wB8rLszUz2ECo51mcLwjDxvXp2SyRZJjS3KpMSh5OFhThTCrb/ncENusnOUR8SGseHjKxYKsw/UDN6qJJt2EYVqlO6XCpT8qf/pmNVU2ElND+VqtRHfZmdcWW+X65NLgVhL+fQmrFqi6QNY1Cvgp1dDIuTrdwgvRNPagNvbDpq89Q6RJ6U6JD9K3o0NQ/CbmAqUGWMYA7dsli1C4lRmmvtvUbGOxBL3u35I7T+M4mnpAarA63tF9tcgF5mmhlyl+r+t3pz7C5UTBJixmvZ9RIPUfOeaDwIfMlDlyFuMfEkq414MhtC6sPAlGMIn/TMx/QHRDJ+v89CfVGElYFNWt3qm8d0wpxWbiXlZlJ0rpmMbD2dlwWtke2lBmIRNEWgemYAIAzOEeKkFDxIVD3c3BZB2W/Ua9VGDo86PQU8899w6sSWTkoqx9AM4f+QbT1jqjlWfHqtYwLemILRhs6vIZcD0nxUT0JwT/7xeBvxPDhz9l23nttGeUBPBk0QQInQsLl4vndtnCDF65AcbLViPpzZu4Scg7C7MfunZ2m1kojpvOoh570C4n/qmjBXaHQbGGxCNtp+ACQ0u5EX0gdS2ReM8y1GuXwE6gQFC8Uc+kUrYKR//QLmI+2Lojo/w9TYmMgrO2aBViFLzWngV0vO9Khg9quJS13K4fx14Rc3akgfJMJ/mJSU/17NZU3npnAOOnu6lUR8UQUZSndwoIAXmj+aH1/DmcdRh1Ipmu1XD+Kpc32p57Bx/sJPK6iH8dpJhwuTzrmthuhtSMpokU8f9Ckg2KNfkeV2j9erMX4X9TQlPCNDZRxmq14n1+U7AqUQmpn0yS9DSCnnbQAo6AuBRx6WnA1nyTbSFYnIBOem5WeyZ827lpTohRan1MsQf7qW2uo/iiqepaTEy0SyuVVVegfEvFh0yGSSEiIYU5bcp42vEk3OCy7taSh+juKfC1xaQ8HcR6fRJrYsdmfQifjOiXa9i6KR+pyJjYtRcvL4vt2pU/WNRzq2w4fNongfRGUTSpseLr9W82LaWPKYDW/M97uoHXwlmFeWPIQOXqVuc6M60nzyG6CqN84zERBgqK5HxYkGq0M/97hLnuDI8hvWVPfZgnMt6OUwJHWveHnrXtBuloNRGe4B2HQZWfFeBIr0Y/N4BcN4AQTl14Ohg1iVFV9oTJIvfVm2GCO20NIrQvaAOMtzuqLkucCtcGWKGq6LzAdvkzanzSvSfGaNP//5uonxZvz/iObjDELqS1O9mJgB8P+bfXnP6J8+mvZjLDCKDWronJj4+8oP7jSzkETWnABF9sIsYTL3SSS9khP5B+URDKUot6zBZVcxS8kOpxnjPI+j0Kf0J+QohIN0fmSlfjYOvG/Auyhx6KVfSCZaVMHrrfM0vLOfCzgwzSRcd/rCOPzLTVKE2c9YscbBK/YNLOU5AbcdlKAZWfOLjWPg+VlTlNZNZElAwty/OqQ7P8xavij3BHzDAnm8suAqt6rWlokQy1jEQPvz1ry86iWBnPOwnsI0Z9W0NNXMXVgPC4U2ys0aW4dL+F0ctliGaTEGC4/HQx4E/kCkw1/d3oJwdMfTdiTbSJ2/6RcBAY1r2BHCdhRxfMDk3YAUFtLTGmmiwiUNOkkjnrAlMhZj0Fu2HBOWpEvc9NCOq0zFp/8yEPL61yC/YTXs+SLb1aQx9HNDyOFuo605dsDQ5LgfkowqXFukODELszmpOiJSen5CUTFRzJMRg9VjjxW7/5C0FoYATxIGqu9TWFgrszxTKx8oYFk3fJdrFddN2O1V6RtgOxcT6p+N2Kxnx83x4UGY7k1jsay7o/825UsoSa1wJOa4qQDxWr54VrZMO5UxkttUqRZqHqzxu6Zewhb1W50ohzfcjp8f4Px/AReBKyHGKUiwTnBMsp2KUgk/sJhhujaJ1tTbPOYdJy6iUfKfMYskjNAnRotUFuTtbJ9tUCJQAL2HrYn7F+nn33BH7xO/KfiCOdd43m8asJm4TX+sjEcahXV3RcDPwo4VX6ianKskdXKWOFHLoQSUPFrafx6FGgSUhatQpDZdWMJgkIVGEDhFdvgS0+KiyFkT9X/A3ywuR8fClvWTUmxTkIyCKlOEk7LUdHIJWY0BUaTO3NNkxwKGvRFbFt38O933KTrBA+CyOag2gOc5IXwbFTT02FXsfuC/l6VCqsoTwRRDeZ1GEjhmKIPXtTwU8lgEdw4EdRH44Y7V2IBcJ0Mn59DE8W4ImcQfQhVlWUNU/qR9i6yzMEpuz/laZBnh/BlROMv7CwJ4rTBHaTJ1AD2Xk/MskZLOJ0JmneOayB+T9uYonEPyAlncXINA+dOfyLAHzx1X7ppOrbqUwK4ktgziZm7N1OuAXpeRDvfBHzGamZDebK6avpvmP69CKet/Zs9aVGQ6JTbWmof78R5GTkjzBWphZCqkY4+fFz3mmPSyF8Gaj2kdoPhXUPuW8MpQzg5gaaOAQwTf8T9nwomPzdQYLb3hDgM11tyLnk2VB2RmKRB1NkcjsTK9NsixZqPbrEAziLDQbgg+2ydxtPQFt51dwRKJ7pJQ9xE/5bOsMufrFE9Tc0ToUYO+8VrydMQXods3CTKhQWj5nGv5R+joRozUQHISNfH5HBYuMM3jhhre84KHGijKz1X63rqr2EcR/R3CTMt5F8bz4hgH0ucJCGR6HfG0ieC+8FhnJiel788Q/YkyTIhgJNRmVncBwI1Iup66C62q8CXDIyujm8X4Lb1101QBRFHII7N6UFhl44Ah02vF0fT+j+DKNEtZfXp7uuiywvPQCoO0cFIzGTtgG/tE4g1FrU7YZa82hkLruFIeVthbYdr1DzvzcwYj2eqV99Qy6C+MI8TVQ5oQkNm22UpK5eQJActR7nnCP9FsGFTiVas1QHXGTMRv5zCPrL4VUvEajOtUwgjAG0CadGpW67PyB9fjLI+4olnEUu7KRMbiG5hLpaBcC8dqxz4chyP0H4eiR+xh6sxR8nUBHT6JgiVvcAgr8ZfaD3k2sMQaWFa45qMq3C5XRMP1ElhkDJEEH+9qD5HHepCSRv4BrQ5uRBe/WyT/yiOn+nqZSpWMc8ERREzSI0kTXBt8wdLrvLJC/Bd1V+Grp9Zh4UbpwXd7xPD1eEIeDqRnjMYaKr/ReSc/g9I/C4QbG/Y85PrtOWXnryzOByMF0bpPlQ3nZZTz9wkqfNHksiKWalfXflp+/lPQb20jh2hgP1n747VMMLaLtiHD0QoR81VCHSfk8Mdg7gyplQg2wUeXr9ucsSX7GWMZiubG7qeHig6HuiGOHqQeiXdf+x/Xslyr/7RdnxEyHLJaZle6YD9b2Lm/vEgOLrE+OUh26uVcoDhO/3C1bk2WFjGYIWKHVqSAxOxlP1Szq3Q4GOfPp0smvfmnWXTmsG9TvpmXGCOlQ4xgcMgV1/fH99qw2a4aMnJk2tO2k6DOTKPnfmCq9nw1/zBLRjuLKwHZOQuH7nVbYsZ2LtbUlx4ceW8vrx/6iX2p4q3egEpCvYLcMDyCo2WSN3ArLn+8v+mnl1DYhuBpy/EiIqs48XA6g6mqbYexsTyRiPoGrRR6L++w9Ep5SjMJMMB4viE7iw0RshmT3QKCGFZdRA9PBCnLmyjd7CvqihEwX3r0S+B7Dwq7UI4YHDAyxLLR3b9vo3SbJz6SnNh3rhrDHf9IYUT+D/Skd6WNhAHuhu5xE5c8bevRqCxNs0Jn5937djPAudd2xVsSg/1e/3p9NW13bbcbVtpnIb2YSyunLLJ6UPV4AbG1q2EkHdp8rpfvWwAGnLMknVMM6tjrrIATG1tb6bOnLGVenqzWFuokDOU8YUhudhvcYvwTK4TKBbn7TlbzuPbhD+UUOcIhL/99kJsBhqJiI/f0B/30IoAM15TDNNCpxenIBTKWAcwBkHkFSkgtePppybFVo/X4Dm1QoMIQH+4A3k4avTSUvrKpLBEobY6Yqz7uz9Rg/PbjtCOi6FZH83FOu7UM642LTkjFPMAarmWNuqbguxYeVr07ERdlEu16DQHu2h/9GjgAqWOxEleQ1JfpvMzXoNr9kpLW7ShAF2GNus/TaTwr0bC1qsfmuFukxhTGeu2o4B4MVDS9OHYcvLSMmle/pSzygxAZDwIcIJW2BHJuR51I3NUWZYKp1r+pxFRYm+SLu3UnQ+IX2Uerx6q/Bew4L+iM9H8cRPLGCC6v0Or+G+S5+pbm1NApuAzmR/LH72DFB7jgrFknX3BiP3EE67VngKAwCIN86pFFJAZ7/MkCDE5s08amjFq6FqUoDB46sAwopJW6jsQfkvvZ6xKuCOd+jzTmG3MJqllf2Ne375CipXt1Z30V03ZDV8VGzv6j+4r6t0FGpoXIS6+3/obkSzw78UfzB8zvWer9B5ZE2Zpg0FrdrkgGu3XDSBYnaxdokTVl8E4/uc465N3CiUew8ySXsztREvDdM5O3TrLqbgpgqrSho0v5kGwsACfF0IC2SXdiF26G2DBCz4EyzJ/33PLT8BEGFhrqvhgtzlDqqh+Y16c90S9GmHtbCx1J8Wp7+KgzRG1gk6FzFydZSMQBt2BOZDqqMXMFiN3krUQXKSbUYM6Qs62xnG+wMNQAeS8lzsw5pDQy29ldIzuy8YznKnavubIDFsaripceJZuDWomFmixxLXopouu+Kck9vbrDvVqH+uHVm2ieKl/gkVtYZJ8nvLwNFx8coWa5AhKmI0A1NnjYlm7B13WATakgg1/m/E6FIq+9S5O7NJzWoZMIkrZCdYdqPIGEV7GslrfzASUMiojNyOXj0yiOewFViOPZbYXtxGV/1I+Jr+ri5+ymAmJH5cyEtBb2MJdsEm2uHFA9MFazwrbyMb1zGX/d4OsoO6xdSU/JDDM/8JROXkl0XL536CJrzFwdb9xgf1IIwjyZb8rqHHSZ9/3lJwAmy1eu66D8xHN/c2boj+ARMxQn1dXCZx/UpFIzlrsia3WNT6oaVgWOv+5be3yTzHC0ss8WrBxZN3XlYY6NklvVV9DCKoNEo2J1WsYphdwjxKc3mBXmt3+Ubshd6pbeBd/M88LEM0QKbcN0zuOyTPo0Vg6Ph3ApQiMTnDEc07Y3l+9fN/3NvF/m4pk7ZyCOo/vvFBplyBugZqvzwqvdl/a1CCJCnWDmxtVxdGfBS8fOObtEC9URXrCJdN5h2JfQZt9mkZEvYeEJ+rVB7wWPr5e10xbOW1SzssuanBSB2m4gV1/tVvXnhYMO1eFtuif7p6a0cMs0KGr+nrljvhKpRRxIDE985JpIPgJiiOpblX9nc9ma15BysGmZA6tGX4A+x+B7Djakm7qwKEt2ZLRaIwg8WjOKlB44lZ3Ld9w4AUCNL/AHfHNFxApfEghsyK6RT6PCrHGfFFf7sN4yoTV30x5u5l/O9zyVmVyhbi8HWddwumMCPYA6ba5EArA+O0vDwpVuOmGEk60ASZjYdHm9LBg7h9AUgua10kMJUGQgpQeg8NmMlZorFu8pSY407lWjj0P/qa2yEJHn0PJJIqwP1v/w/R1wdm2NwVt71+qWBeZW4bf1l88UfnjS/NH4TeOLZn8WsaEhj3ocsgf7s6k6vof3uFNV+sJEQPzJIcB2p/OLzhJ/7e+pZocDneEZGezR/cqXox0O6ySmuFDrh4eQg72vja/roFpvYzNSz8fWvy1hsJHywCSaWonUc9tAXeQgrgSM0u+kJztXK4nfOXMIZ9t4wT7530VVocSmlFi7cnaiuWRn7gVzbpSbdhDqRIkFKJd0aLzGJN4jr2EvKonStKDDzAi+TCHW8qcO2Ts38QOL2Y2wMUD703GFnZmJKMCEVfVG5u3jki1YC5D5DywWQwenYYHSh65ZWiyyhV/Hu9kPk4S+0RCB3Sgtg1LZKzdFSP1BHm89r4YYqp0mEhQYqIfCiX4UaTuoyMDcQ1L1LZVLX3uypMwtWk+acFeBZ+nD3g/DKexU+3T7KHDP/cxV2PpPtQTma+MflC1CT+3YxgtDpJyRl2HbFUyUDw7TkwzIynjG2D5KzR2Rywghzn96IQSGqGDp3QTfqCl7TaEWOrFRlHVYtyrmXeeiFd9P8ZRvpRBbHyTuI9wLVCH0CFO3SyHk6xOmJNUfDzH99CYIP32MFiNMKtwTpU83KWFnRPL4HeoGyfRoJ3NB9j/wsZB2R7JP9uX6NVCGYF15avxInDJB4qVtC4WjQcNlii/7N+zYWOuWE/UY1e3ZFvFqc5yhpaMuNcKtvmE/v6CWvcerCBrpsJXh+5+wTj2cyMgFbiSW440s7pFpTF+oi8GAGDbDwX7jq9skh0kqM2CiaD/whU/GAHsLTdfj0gEn10NEF/1FnOJ20S1UBR4qEt512Jotq16BNrkThMRK+9pwWhcntQccRhvVWN0i3soS8Y9AX4gIRx8hgKKXGMzFVKdp1SiH7Znd2eLfHfdgwyITBUo9rfSSARorT9nHepaQSeS41d5FwJrHnI55OUkQqYFZnr3SrYO6SxKOD3j2Ir/Bsl/WNmwFu+H79g2xeYhpI/lOr1TCwha0xSI3KdfrLY9tjNB9OX2JHk/K+M+1QAXGL3QBQ74E2QRb0xF2tXssBgS81ci7pLZbi92ib9mAJFkdEpWDfR2/FvyZf52G+Y1N4opiOV4nY/l5dseeFCopwF79f4/FTFahPzVkBBF5C1Nx/6foCfLeHVW6b9Xgi89cvKelxpMu+sqzXL0TauwvrExzMKR/ByJpinB3h2FnomqjerUewv8DgPL5gH8pYP8I9n5r12aN2n07KFwjXLEM8oAA5AdIMsovbw8aRxXodD20ENMSPip8ZOx1AxY8C09J/GTXHahe9zMwRpvwpk6qLrY+F/iE3UEKM2f4/2CS5goH6t5katrFVyLISTtWjYsGbHikALJP8TK6jrvaKyEuXrOKLpEQnyWPlsL41LuaZX4s0A2rq2GfWiHK3M/vPrhWvr+l5VrPwX153U7rCbx2Z86ZJV2Cd59ECfXdo0qkB0fV4cK97eoKCn4dOsMCHAgC/VgagNbWpvB7JlxptjoMCOnNRSAYyP55raUrUWR5bF4ZCqwodZklVCDf5G7h0MbwRZTzLcBsjejet/ZV+MfQFWU9Gw8c6botZOkYK+ye0SEFxcyc+CcFbi7itG5PClOaMij26TCXgD+6g7b2xVxB1R6VZC+KUmiqNJdJpDSx6Sqfhg9K+k/a575R2ny8JLvxRQ8m4ZCnmHgSb8TzQc5uStt2BuifQX2SLI3YIAcgZRUvY3vUO9UAztaRgPLuAsA+JkIHyryw4QA582RjhnDRGBzuXEvtImpCxlauA7ZYtl+MCkLr0qdhGSJyV1c8wl1izctFMERFBcu7ZYCOGzoYseW+iUsJjK4saTo0Ivd3LDGTVBy7aYimCCZtB3j7FwiYnL6/u2SteEA+Rf8Atrcu9Kaq+CLs3U32d62xonQFE+1SwyOifiFKkFWkH6+O++6rVNpFkHgUaV9mBpBKB9tPn/i/UgLlYL74LIecxhU6EgLHfW1Spga1o13SFyZxLC111VsDY4goKzy9ZtOBggu6cWDo6cgd+2+Jq2Cd81eOoiFqhceo8MeBb302bTytgPQR1d7R/qhKJoSABmwl1tbQEX89J9MOFDALxpung4SMaSAWnblCz4PpQzf+8/u7h37GBioRuMlRHPjrHKlaxwEWGYo/f9/96dxUl+8TttmytwffKnCRJOyecA0Tn5YKNAdrIO0TFSJ4rwQKRLq9Pyk5ftT2er9U+WPEu4P2zwFngZm/n5VK6t08Iz3NYp9gd2E1jVNzVqa2mSiJinvd/nGAur7rYZVEli1mBpPwJQpRPQchTHMopfX+QXIDBnc0bk1liXSiGrcq7u4+1xQX0ZrGb2HeCmZP4ivPYCNCcdda11ZxvrLPDyoqIe1f4JqDGNn16YqDSmqzcAFtwWNzgQDvrtuQEIeE2G4STjMaGx0lxL2N6qMSdnR8+4mn5Ke/cVBule3TujzPHuvThfcqukPct2YXiAV2TVxF5oryyzAbOlk/G/A5qXhBLaO6F9scUFa/sJvoIbYxih2O59kZ24/5kpGNYTsAuxg927aaSKv8lVFHEgVIj5TgEwvhrgM1vbqmbe8NVTGL7PRVaZex/7wINZG5xya8tyeJGwuNnFjG4QiytEtkMmyEhs2WW7tvwQhkzrjUpXK0SkrVdIJyaawU/ra99ZqYfKfVxmU4vF4c/ixcO1nDQdox1WBOz0cHX5Qyu/oOph/3wf2WH1MA3Us02fwT6UXa/Hxs4fSCLrXOe9KSpESkC3lI21xiZ/NOP463gvPi2OF9e8+Yi/SWmW7MVNjdFJ7SCp+rsHvjGlYrgAZip3GfjaOgRhDmfLQl+BebuLms0w6uRnMp5akqkP+dyE1yzlLhNlUiCHz8uiLBA4P0OCeI6ucv8D/tQ9lTShpEetv6z9NMEtgvBcTPlPP5AnADa56Fgj+l1yVefBr7B7u/SH4hnWOQFj45iRiJ/aLzkcBVLp/mqsPtT61SxHMDPaIjzM+awGc2XpARWiR8YP4uN+WnmPfwH9AkCB0BQSCe0njHVVJkWcXZdiwiRlAYZ9NbPY/ZQX4THn0IjJCIF1ETF3x261T6Cf+aalyzl7pnAtuavlgSMdm83zWDiGQcq+V3PHlbxgfuSZZse76Vv4pJH61rmiQvUGOqSVDJ0OQSrtYjb0RROJ1+KLHzicr8o81H2ETW9V7UYSyIvX8pcA5y/wZElIKrwXDMAkqkxscnh5Zn7tcTzT+FoPBBVwigcrIeAl/S+Al+gaVKqBRwZoT1sLHczQ9CX/3Hfs9B2vPLNtbrmuStDGS4E7okp8V45lVCauY+ZOu6AtQ5+FJ9Zdwv04jm7VPzkwfvolot46a/PRPE5EFODIEkSn4vpJ7YNDgiBVORGCQhI+7lDPG3hNoIrKYVbfOldLFVgu2MDBIKr8O6RnjmkQ1UURmAeE4mC6yD4e+IAz8fvYL3ar+ebrGfO6lR8tVv8Frs2GcD6nH6G8/Pcz78ywlYtPwkpA3rslxd2lnNWKLGBcI7m9go01hlrj39AZ1B4Ai6j8v6WTLuEbEPENAvoTyy1+jpVzSDjLB5zt8MzMhsn4l33mDkqY6PrzNO9Q7cQaGcvyMgNP/TOnpi84hsPxyWjhPIpICzAS3EiB96yN9hX7Rp7phnnmYndLD6OaToluT2PY1xbpiN47y0t6qIFKEQOLo2pWJE3um6hCvWhD7klhdlAdWV+jRBCK/Bw876fnXuOeFWUGEuaNZtQUUJKiqGOKWdoAlIjACaPaGBGYeNjnK5hMxcjRog8lK471Z8EAEGnbi92TxMHdIH2yPqrtKJkzwGjUlS+qnlpGi4AxAZpAF1AUq1Q+8HFiHaDAMD9BHrfFcW00Vr1V+B5g2jEdUH+5rTEhoYRlWt1k+t2ziK8awEsdVWOw6vHuHPc8QIOGdweAMAEp5l5Ky/Jof3BLqP+Ywly2QhpKLQKGZAPZHrPig/+alyYusUUuozljQTEykpI+mxPTG4o13JM8HVxvSjJlgA3zFkgXK3ae8ppUtwnEIl3cPNvVpFX9BUz5UjIkD34uyKiSJolwyaYF57h93Z01kj24HsAodIUYPF5+ZPAvkiWbJdE8/6d/Hn6eLUDZ+9xRZHlILXAWGX40oUQmZmQ9QgsGTnRF/tOvwRsq1gHZ9thSzF3irxgXvVaRxcfNj7EgWuXTnflX/04NxUDiwBSDI8wLjAyAxfsxSyzim7TPYGzvQcmTzXrQtjUGFuJPPMr1leJNYiLH7C4uBUsgPRLmMciERrgwGlHZexUZXEWWGvuOt1cF+b8Nd2dkvHcJD1RcGFT+wVOSM+x8rFASDfn/kq+X8odoCG67d5o7Js1RkKLn8bZQa9kO/iuTqe4QDodXB0fxLzVsmswoCa3e0SZyaHrlzPZAo8+T+xeVJiN5zit6BqXRkKtMyhuF3f7phk9jHTYJir+4ATN9v7KFe4Tbtc4FK7sDGsKgfzkFUFnNqGZYKHveosLbKfs+PSkz28X1DzyZSMDhFd6RxwgpN3NEHQKD1BJEFcbEmZZ+h3wOM6dDIOjjKcM8mpIludPXOE1Mv+wnhLSjho9/ddyaSJY4kBDfKMAXaMAkp7d1o/IXeMT9ogC9WXhLHJ3Yv6IfxK4j8dzI9TjPJAlGIu8RySMW704LLz0ugw1yDYnaVNMQg86r5NxLygAwd3zDZmZOkmtGHwNPwyh/bn9Mo05OS5WxAx/eAvwLG9JWXIrYmjwMGOHCho8SDXC6NgqyROWDLCu8iFXlMhkxcIbAqeR9h7uJg2GXhJ4qXD/fKwuSltoar4BCJViWc/YikgbQSF2BKEI4iOUwWeFzG0mLeLnk2SRQUV+/WTDzhptK0dStqZ8TOJev/HRKc3hghsOxRyFbKSLCdb4mkNgau9GuW4tMaxnN6FlWpQl3FDAhBh4BU02B+6N07AN+ic5lAnamKSZu7RtShljzcRVk89iofiqEZ6aRKrfJgP3GN1f6dORPRfAVwUwrBwSSZazBfAzljZwPzxbROjJp7eZswXZkLWGHepDJUxM4tPcOrvaweTARzXGeeh+xdHJjvLHQwaWxKa2slqhUTGSUeF3nKifTL/OR/dkZUII0OwsCCVScTvj8wOoONOfTQxY5CQd0a98bfFYaUYSb7WfJDwiVZL9clhTSet9NrlBgr87/FWEsWN1cJpb+ATyH4TxKq4x+QR+NDZUgA9EZ/bQSXRHp2XSe11pbiOBjSZXx4cL54itl/5flrBVPgH972+awOET5kzkjLkxGh9uXI31xSYU3YSJmdrlMP8mBGISVF5+M782FXYrvw0TMU1ZyNaUU38grgYuLHnnbIu663w7thWLbMhXom7RoalHpFWIr/HnyZtzIplxFZ3X4wpNPBEtgg1/Ml414HcC/LlYappFvV4aePTWqCTkIM0QN1J6MV285JfVxSABwGe+BwT54R1snvyDqbpAk0nWI4v0DrVuFWjPhYHcE8W1mto5kxLpRmXVsHbt7ayBuystSqQ4DdqIupXc/rmf2pwANbo989gw2ENUFdoBj47z/+DA7NkW6zeQOOJYu2PLA3TZGkOkzzk1OHSSRNrZeS9i0cq6+8YKY4PlN78TfVC7V3kCRmp8rlQY8hAn4ZHwwvkDRUduRNfiYIg03m2tFRePXUWK1YMzJNgCI1FUV4E6TmbCuZiAre8IkhY3KCTnwuAx7SpNk2S5jv8J3kNHQGazgoOO3bubuvKPKfjbQkrbXWmULz0eHkRN99a5R2XEAO43urVjnyCoj05Snu2wXKNUwYyeD3BAlaelht4y6lYsHmzPJsHJXJI6cE1mx/Gt0Y4+m6eQkv582h0cQ1T4E4X3jsDQ5mdWohIiAuM+LKzQJb51SMF/8FHJ96dN75Wzr9JKXdvlTHVXAJYABeBkiELApXQaeGyDYgLudDfOz9N6uYhwGUkoeUWaf5HlYK2Hl1k/itVdQkajG3ejgcMhf1xGlSRpLFIncJgMv3mSjFeOapftA8UfeXEDvjizEZt+Y66cy79LDBWf7OAw1HFI4RXg46RJjtTyAzw/z9zRpurQxoD4MoBuanVFOx1J2s9eDJEOI6RdTGQrY6Tbb4+Be5WthdtedHV3t10zYu6+nHti2PyMXHTsbFteO3zTO3Lore3f+u67eUy3uXLzocCL/GJ7WFL4amcCJOKCXr289N+YVmsNQhMZ2K7yfw93G83VnjVti527hjCXMwFDaddocPu5YUNIynBcP+1S4OWc+4a6TMlD3EZrYNI1oawdEb9eHddMrRQ3+u/r+C06qycgjd3fuEK/bbz+GakYPDj/2ufG0nme5HLByyuxSJZq4k1IUKlvMf3Khf8zEQLqpk60RZvF4Hbvxc8uYzP22cgbCZFtaM2DsYJ6j1IGRlPXBMB/5YBjcubk2utQzQkrUJ5w4JOpdGGQ/tye+fUYfyM177NDxAFcli/0CYL+oWKC0HcEHqOHFRFA89YijMhmolDdKrYVoi4HdaW2p6hX+KWLlk6M6v7aMXK/My+NEjtIeQjSG+DPn7wYoNpVDxq7Xd+yJG1Db2lQCDabeQfeyxrkbYuCwaP+qAXDWFenGukrWpn1w76XBjKhtPLGnq7pP78dPQnuj2Tkc2bf052IU3Bz9x8AwcaV+iczPxohIYMEZsxi5L0NHw5WMkjSTdM1JbSkkhAGD+FjFfI7yWYDT6bLHQRSgoCljaGswABRAILOVUzsn5Y74fCLsNgAfVX13KSG9OPqrmeNBwZpaw2hO1Om/DVJZbOvEbgxVQnbGDl7ibbF12CDvGmUViW7RcDRFyHLsAds+zdmkmmJ+hByOmGDNZxPAnZf7E7nMG3iWp5BF5n89mFyMdNb7hJ/rTrVvU3nf8M/sQ0byBNcEOzx0Ea/O8oMxJ82REchiZwXHwbKbWAIO13nS8vfw4Tqgr51sNs1ARI8Fe02BqlAzojSpwhgBXCiX7AzwODiBlt0WCjbu70dU4BM/lYEfq8snvJoOnjJyFmhUV8buHZSyEim4os2Mxi3vJR3lYK30T8+Tvy5xodl4+JnhxXjMNL8DSY1dSAkvXWtv2tzGAxxumn8qIPPGsLtsiVxlar4W2dlh8ohS10GhWSOCRc0Cz4kssUkHxigYKMxVvOtmct9hO0oQGd1cVTzlmmc/nDL12ppbCZVxf+C+wrWdbPqvvBomTQWsWbl4sDsQGyLKhFNiZXQ0QVTTOYhZfvyQgl6Q1vPIBMSh5iA1IHYarFWJCdXeU3EWdBDiUSKOPtnElNYLE7HZxfjxGpZ4LfIPA3Pxn5BzXnMViv7Wq37ywxr3u3WvwLXU6BxiAV+/RVQrIo7ucj/p4BUuIqbDTgKYivwk0kppaoPPHmaeuboCKEOocs6jKaPok1qTNL+WGp+j4Gy+6VmZiO6oFxXbSJ/9Bv0W6rojGtzyJRzCCE+U9y+uTCCxrHebYPFtbw+3TAtL9zQ/7479ysjDh51J26KoxSUa/ncr6hmIdyI/jU61LjbGwMJEGozuqvwYY0hiuF/1CtAHpz67csRUr4wzcFLyotbQ8UvxM+KEOzpqESFcInIYaLiMJ4xSo0DrkVZamZS/ekuJcFo++MRCogG42zIrAIiIzhDmlgpwPT7sCNrnYStsLXprCpIUQzORo/eyr/Ku8rSf4d+ys5SEioKPfg2m+6WVNoGtnGhVnm+IH8A9c2N87ccH8AvRojnfVXpByDxNo7FMsDfax+vwTAEOZejKGII9FTDtL30FhJs06NPFcZFyknC/gfAgsRpYO4s5I5Apmv/PB7N+viwrh6Iimk9Z5VGY7A+Ss6He+A7v4PDUUwhTgJgMWDrHsZuB157KiVI8Sq90hrtvCaIssHocSS3n0SvO8qdgacyfS+gZbE68uLbFWttmPFnr4bX+vas3NSeYK38FVGFqLz4C+6UW2onpp8ID1JutzTKd2yhSCD+dXJfZxXGZqjvyY37359FnjLsyYAaoq0TlpKQgBsfowPwEMb9gnsnqGLWhdiYm+K+xueYgCDLLMYtZ3rtLtYKeSw5kZ5C0rZdn4P5QTIXa5Xq2MDPLFhqVOyHaQ0dQ6EQQSqHk4VgJc4DEA2L0UQuS7zlfa6drWeOV6IxrXY3rQVFDsTaDg29DOhdTW1+/cOHkwdDoLrVYFFX12tVr9XLtg06dJwvYfuF2SNVRhWAEA5cBjpe1fn5kyM3vURBND2jrU7j+CFan+PgFxNMLB+hlPtpTc1Ha6H67YNsNq0hGK5IOtLTCH/GvrqG3TPWmkWRpl6TA8fb3o3SOY/4i/eTdvv/QETImZsNb8jdYN9F9YUPPMqzp2PqElHAescS94y2BD+o8jNqOO6zKNUNxKVviNttQuL4WLu0RqtimPXL57giYJraz4cRYu2PDtcebQcHisI5rLmkOqQ+xTEeIYXiY5Eh2k95g9elLxWw8PCwQbnawK/frMn3WDRaAt6jc7v4/AI+g+9kD3rxRiRqGBUjc3xpy84D32ZnTWYpHyDYr0uK/XcE5NqmrKe+1la2l4k6ch1Zq47P1XUqWZtD4Quw5AZJsvToVUbKD/G8KQEe3koKCuPn2wzQ4VUcqJ+vBTTcgaDrlxECpsPlB2txlKaS5/01lSm2TW3onGcjAG/7LS+f2oRn9CPh2YyRy45wJY1YZJMrVHteRUreNhZGcixFRYmj5RhuUaRR49dYn5Z1+k6HFzt5BO7npCbT+UmZzlPoTaBJSnlYkLStfGgZPN00r65w0vnTdfsoqk6wKBvi5KqjmS1Po/Cf57vFNOH77ZX/WTb4ioAMZBCSRazPwU7JlXQMOvmfm8aE1L/ScC5oM/LTds4hv918K4z021Bwbpu6sVxD68kXQ+yy+kr6fkkcp4iVwSydH55kkJnRsRC9D+ql9apk1NpNwfR4iVuFYr0kny6xRRF8+HYvH4L09qloSgh0iG6SUQDdtpkY3QNPW4AnDFfq1FYn45STZYg3O7uAZ1yh+UjItURpLSA7RRo/4DQ0Uu/srWrIFElXiU0BlXMDdBdoJjqX2/3IqQ8M/Hhk2vBL6HACrXpokA7lx5vVjkhXN82bfkhZLjeF0nh27PsSaNuI00YvEpqV+V8rXtyYo/aCC25d3Ibv9OeSexZil2k/waDeJ73wJHjUnVC1xyhvZ5PLCumhVW6Nmoj9/I6N0JIYva9Auan29tOPpDKwqpfZIVuV0xk+V91o0V9xl30Gecw0zA1+QiyVsurPA+MkmqEIYXEtc1HG8Dg7aDvgmrCf5OuXXq2FW3QhMUok62YPgcLbultvbDUFupFIrLjQScAtILh+8Myr/eHEnqQ8hKhUHSTZas197JmSbJ/popwuz5sfcEpGUFwoL+YJMy3UfVeZLPiOiU5ifX5LoBpTjirVJimzsivT6xlAeS6rFNFdOgr+c9NuDbF+MYgDLvrfob4hWz+S6eXKDyLn+Nfhzxn5xt5L700PdGRvyDEETjJ3x9e5FvNhX2TfmPJvN7X+FqWaraX0fnN5+/8h/qhVS1Zm2/0fH7LIuMY8TEelGQVN5ZmS70ztHAekTUk7Q7pgDRoYchjATBmGB8WE7Q8hppV5LkDM/teySibWFv2Sjmby4ZTG6Nkb7013BTq/uqaxTj4qA8fHnSrNPWwOs1hlQPvObxprPTgmNXAwLpaXiYkMsDWwAg6vV8sLJdqSomFTj9rnLrPhnqk258RhWfOvGLTKNl5xl3uMug3QoelWNSiueq4ZemSa5cvbwRnDiAso9C07l6Ge7c42yTL2vqLMa3Z8wfqDm4sY3Ht8UU4WMTjtq12/olRxFxWoT+af/RUzYCLEUoE+F0fIm7qGC8JnQWg9xHJhaRwji5cedB8Oq87jrkDGdk7tYC3COeQ5+rPMfcwNuXUI7dNlJ4ReDxaJr06EikI2o+ftmbZh4glYdM5if2l2ktNjDPYSWcKpZbGHTqouZ0Q2wkKeB8G09YJAdYWEddAo/T9MNwjG+Q3eZFjmkVs8uGQA30oKLqgWHrJBChTu2nkUdHBiHqTb/aJbTdzKrvih+/q0t1doaLOzGeoBZVYgSM6Ml2v82O9K3blXdwyKiY/cZeGf8EjemLRUVrt9qfZgE0qCiDtWuq1uEFLPbVrK2a0n0DDX76kQNJV9hlAVRqn1/O/J7vG8ZnWTr1dFrVd7HK7JvrEvknvbCbp8S5KM2Em4ut4lbBDX0S4lg+93l7fhhFeHeEamr023ypJxMypFm9RMWl1TJReVV29viv8SUj6NFQeZ4sjodZTyPCcA0o6GcvwUqQn8GyqfNT9NGSV5pJHqOiNeMPbeAO8NCrb3MhtwhvwG891+qzH425vR73F1XQbmnaFxL8tlye62ou+aEEW4xWV+YpAiBvAn5nAUdoTp7ca+6Z6kp8p11iZbq7Q58fe7k8ukV33HKXhO/0D3HLt/XoRY85WtUxzo70vm9ZxGAxfFMPVB1a8KSEaW8mpW1gh0cuOle++OrtaxZ1jYRpZN/dggb5E+HREB9+z1RGOSKPSmSTMLI3fgFv5FojQMFaou8riIN5yJEyk4ZTSm1zb336uMHxFbDvICi1L9/1fJ9umslEsr4tYjiNzo8baKx9DD/qV+kaAt7FTZSVmfnb2DbMIWZ8W0uKxgsNuyYr54zPv/EaABnrUZWmgaKs99HojYMX0X0pQg0jxcO1ob9Uh8jV9B7wYIvmz3WhWsWBPXfEyJoIcjsYd3iTqVNzCMnI6p0EWRSNqbJOB0/Gli8wwU9ytYAAX3llHI0yYPeqeU1GxKYoXMJuZQp+5ScJ9VN8Rd9YhkYIUVWs4RxvItkTLV+DTimaf5FdUcuhXhr4q+ik7xZlojbWxdSDJF9wukVRx09WVlOOFWT2bBLq8VA6TzZZYjeBI9Nj+MIjds+jeAJCKGTx5mhVngwFGHTgPfg/Cu1HkbCFZ8jWnaGLRkoHQVrK5hlrgz+Uhn+clChG5nK/0ydBY/wSoJ0LpUrB8h+QMLZ3vQbO1Vi0A1G9fiii8q4Tm/oAytpP1EP3aKnQyZRzHTtyOjM6kHFPPWDxGsHxxmKCB0dd3JCAHfwF7OGcrxwNRHlHAgQQ00P33etzuhB+Ps5Csx/lRJGF9mBPc+wNU2s69t87wRvHp3rSDC1+kmM9I5EdpqXvPeWP3qDuzvSG99kod1MuUFJhYv/7p+UD9jJ1lfMgkXEmq4EKaQU2JbeNxz/Lx+h1Yya3AeFFbJYjIxiZSKrSBOWJ5gNbWhZGlcse36Fm7sSQJ1cVCTVaMt1wFCoE3OdYMkAF3hmFV7+HdAFYbvXI/20t0aFkj7KCVf6CsCrpXm1dKO/Gfg0kOYbgxPDHyNrZHRkGM8Ioo3+ETjQ9vL9QrIbDc3Clv77nccJHKeTeZsrNnyu2votTpmv+kQRIMlTLRkjrOgI4azhc9QvjYS0iOjW2rECd+YhB48CrevMVSq/8QT17ibi40PmVc2Br8cMNgDtEVQrqWdpiP2sJ3SFQWOQkr0HCBMZvzZ7q3EhXyJJG3OJOE5GNzWL/vQT1AFVgUJUzl5Z8cnd7mmAVcz5ZtgNLRWoArSwzH0T25rd/AN+AXjznfNZ73j6aOx0NBKmVe0PCNMYOFX64keui3rlow61eU4uaBbAbqwj20XN0/YXc28xR4k2+Nyqq/6jxqszvuhv2gyONDuP9G4B44HudyUcTFhimv+jtipmbjChSBXSXaO6gmzRO3Yv2a9tMH0oYUmPbKOoBlD6+8IZRiwUhJh+fFqEbWkySkSReW4bMd6TLb+yhwJrlwOIUUbT3n05wO5GE+CmtT+nRsJQWRvL4B9HXkAhk60iIOtC7iklYCR+afQ1wJ8wIbYJ26ETVljjVU4kbUs+NO3ZIFBVtvbpbPmSFCtABaX7PTnJuAdNge1sHlTQjh6ZF4M7hG3bf4FoJmHFClpkK02Jat05satQSLg6I2h12iVfKFk4prTPZGtUCK7lfJhO/DnIDAdWbvx/wDuhmyNabPo4TVWOXl9SaaTh+qaOSrXhWci/H7t5BMi1zbCn2VwB5CGdtwDfcpS1mrkQwr/0V4Hfa4e5CJmxbMPi7sZj29oW5/c6y35iLE4tWgbnzR8VTW8/3QS3DzSWkNu28MyWrusosIWygN6Jhg8AW9KCA7VQAGbCVM2QKnJbF74vk9oAx4EsrNlHrSh6rdCEPELXP159eKbl71qMch+ewXShvnz6o81mqgIFuYYmRVDH3wN51wMKLZj3zib9KbLy57lWDiaS5i95U2Pp78WVmPieiBmrJ9bnqVpGjb+HxlS5ZY58OjDPODdi6j5+/vqJiTOB/q/Lp37q3lPdpdxWjhtJe/s60G9jVGqcXDvX/CasxV3YgOgbvlN4d1AhXGhyBGlRotIMweoFkr94srBQzPby693uDRilT5m7PaRj3vHLvDr+r4XTELNTGjn+sTaYS2GRBrfzm6hhZOUVG+AieNw5Az3uvZteFT7KgE1XtypWcN/hJvNA65jJBxPzoxwg3HQD9WQH38AI+LqRAm8BKqBNCefPqN03oUafdp9jkgBvSdnd+dCBt2iT0J20EhEXbLutd8jqY5h4hI1fOUBqUeMChg7mImODO+PLefNhtdkvaq1eYjCnZNlxILIpGMPnRHuqOmNhwsqqu/iNk7o9wP6MGxJtJ3S1AN0zMeXIhHSbQXEzr1Qwplk8m5/nvuJOdmGBgkAp6HOkYFi6EGa0effu9+P914jvoGJ/+rotqasAC2nJzD+Yg0hZqtdgpBvdxNHSezmgeDp2maouLaD1t+j7uoiVdNesxYUQCrTS08c1IxUfPxfVtODVUf8R5QVWG64BqWA6A4djUPsTwNBGoaqpGIgk02uSeaqd7jynVUisl9GPQRZ0tCpWryDITZ1zXbfuLhvYt+rd6VeXESvlcdqdwnGMC0+uXKLFVY/2aOhWnc7by4K4Nn5pmdiEghnrdmMHDWvyiKg7LRGt1dEkmIgwUkMdFB+b/6WcXf+o4SaWsq7x1iaFEhKEjCfEPvUpfDp7NCxZ9//B/K/UKuDziJTEUzeYMPZjD5qRLq+Qw4dW4IX/zoa4OVbEHZM8oA6smO7nCFR5E3C6Aw6e05HiPTauKXrzDow+R2dAu0LVN2R2/x9bUFeZtJGeLAqazppiZ852GHABo/Wcg3Z6fPtwwl2IW68iqr0tnEKEhAHcjt6+/4TTu0uztZ/Q7aYEQwifmPwT2C1nlIusLYYmPHt3UQ2zFJbIprJQKhmWfC+tT7MdDcAL729vOGrtM7jHx9HbSw0zoROusw7VUXSB/7s/Go2pR8CmnsiAGuXIT0DhLzeBl0GEQn4C0ZK4Qd4ZffeOJU+Bjtrje+rT7s4f3cJfffY1K1twgF+DTgOXgCiMked1PSU/y8rI3Y5jLbrcVsAeasqkQj5rdp0X6Gw08qplTBQDGfq7/bu5kkdFQf/EoDAqXobAZzdW8GuJROBwoj/W0QFR5w1Zp3i6kRTlAgpYceptMxYgP5I2YXoPXJ3pRn11VDKWK5eIMnYAqQVPxx9/n/+WjM9fxd7ok8IK/SpqGPBUq2/+jFSzTsZUHNIL3dQlLvoAJar7lHbTviIUU9OBoxjCY8OpeLGgbjfxob1KVtgx+TFLmRzTuezH2JfTEoZNoShc0BsM+hqjLJZurJvk3MvDQP6nlZk6WSLB9+nsH3z1RCYkWHGA0brt5NM9WW5KxtnQ5tzlXe8nKrzDI1o5B5DXtD/bp38QO31uR7FRyKJW2lvacE+UKLtLyNrhZ2tMhjl8+T1JOFAHEaNDFEzrx8xRM15Y3WYZpKUHmjsQYlRv4LQhR2nUo4sSvpGEIT1X9vajcJgqhnQWPIeB2ZsnnEunX7krrdmkY42F5GtMsu4DnpS79a1EDkOLf2K0PUhTLShjADH46Gl1zVcZbAZHBOtJ8MGKuBRF2rImZYrA1z9sHPMAR6syT4xzjbNhMMlDNlCoJEMuxulFQBqHsXR/45ckzeRv2/iC7ogosTNyFLupOftfpVuwpTr7VZAFKjz6Qp4CweS3HlOOgSdomaO549qD4a9uWJthBUD1xA42T8qZgk08nfM9xFG7vMfS5+VJIqpuXPS8UkQuUtjaJMyDM9DIoIPvwn+ZlaRa0GHZcXB7YD3mXi8HzJOI5O7RecR8FYbIVui2w37uoczalS17OlPntktftLlLi394FUFcCme0pRD1x/FSLRpNqSH8jkGzjl6lGIPxZfM5/RdQ9A93U6Oef2sMe7lLw9j8Zn/TwZI0BjcCD1DAOc201r3kLXt9GxU6UGH+6wTGHJQmCx8aFbk6tnhodsPu5CcbOiqm8v0ZmforSV7ttCqF7kY9tlqGRYnq0sO72cnbx1ybt/9vbvZjmnZ3PbW2YUpZG+OsDn/2JywHRtSeUEhFKUslv71FO5LchZEkHrZT/mZEuk/yQYbndGS66zBSFelsmcUAepKBp20dSwJL96t+0sFo+2pfoOn97c1QgAqoW45xUlMPlFynJU3I+GMAspRwbcbYX5PwtI4dL/TeWeyR4sXZMpCRHX1g5k24vP7jp+LliM9FoLr1Tzkw6YmlSTLGVFqZe2o/ec62T4NNABq79T7Q8k8pA1aO3EwDplF4m0tdsOFaYzgExT1LMAt4d+AsD2vsh6n6kUGbA7XjW2nOhW1uxAH0qazDJYf8oCNDE0MftzBoyKJT0Apzp4Prxkd28n1R78fSHDciNLyRFJxapP5Rgj/aQy6SvInHHZvY6JYm1NFA3NzIj4t9HvZfScUG98dOwbRQSAgixQ5J72F6QaqHZQ0ts8oyR9UAXLkE8de26K1WRWDROyU6EsFaA3LeMyGllOUBsv0rIF2ljSdfqFaGhY91wDklo24LjmHCrnnS9463wn5fDOJ7fGDGNaGDwCZxhAIhCS8MnC/GXAlZiFP9ErDxHT1u8Vcx6i4+J/rPvXzMtJ/c9gTb0jdl5MPymoKNb7NPzcCTboq21rhwWY7BgYNsW1pVZF8gGSb80PxFKiu06OqZwWvqArOb+XGCb6VbCGQkSHW+BK+xU5Jk++yvVXQpbsb3A7BS6EHzZNRCzPk78rUViM/I+/jpmvtR1loeo4F2JpOnassj4OhvRLWnA0WIgJdNJlOtoz3I0MoY9uCx87H5a+eYHaC81bJjpfPDrmlzIYRRTgUNHF7V051BDPCJkaFGZkVV9jgRt8vdQKcCISfFwsCXlrhqoLWvB/IV5wTKD35RqBeXiw3LEUcF4ssH/d7j7tTm9oA4d/l38WkwFOx6ZGXTkBx/mBYGKO7b02hzSz1f6ET7Qk2GYEVREBFIxdafOoW6sdq7uGSRpdTKJzZZrhVcxuyh2MZig+aCoA59f6T3zpHEIQnFn/EnqmaZeo7tIj6Pv9q5ypmtxDUAlGuBj+2MJ9TNqsibUebGCx9Abp2X0LPi4SgoNCY8SxbKelgXB8oWdQLzLc6gdXq02f0BXKXEsovxWpn5z9IFsUx7UVou6jNpRhZJ4IAZzZuEbA2C+fiNrJX9r2Iji3fyu33Ew9CU5JeP5+ryqMCh27FlwOpKygMtzlqHo/uxrETy+mqJPn2e+wSmyiN8EOYdXgCfs+mV+PdTxgcx0ZT35MMngfbcfPDl9bEdKwvzv/Kwfe7R4pH10ScVo/WWOaEk4RQ/4I8BHUROJBRQ8WrlGQShfPUe4Hm20VYL5JuTIHAuTQu56l31IqiknHpf4MnpQyrTJY3L0hXc3fNkZdaMhz41H7FCwwMYXVzAOhAUqjcrZqmb0MezwWV1evXd+ilPIOa1jem5pcOrI0w36WjJA1dxE9eN4ByChbqi2fSabxnBPaQsU9baZAcquzGu85BEvK9TlZpHzYTxU4lku+hrrilOICkDLoqEJVVs3+/6dA4uq9bfcD/K+909X5fkqChe8vYxTccX4DJAvSEYffd80IBtF7Y4/sO2BNxx6iUFnM1wx8WClqKHYuPAXPCHp+uoWT9ofI5y4h6XHCSVXjeLk0XVcOC6YsDogZSihwDyQNoyB1eqjy49PVTdeN/W32YOWypy4x29K4Y4bfygL1c3/+wsER2BbotMbRgWvODYRwOFVad1AYHk2DQ=="/>
  <p:tag name="MEKKOXMLTAGS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1h9D1Z5GDtPW+wuCTrU5cbsTyeRnoM7v2+KYfNB8pPDHY3/N/nQDLg73FVUjs5JX80ZEMdZ5aXYVE2SrM7ljDixtoKhF4R5tzsuuZUVsHAe15B1SHELR0YmIcB/St2sMkFQ3Ow1nA+oih4datvbTS9AaFlJTUy3PkukxZgKEuwoHeiPLkUlMQKnpRBErha/SzMCijOevTFdDoQOu6joIi7HDHKFnV0gfK4RxgyA1XNOpjoST7SJoRptAxEwRvgbkp+uoJnh4cotcV1hyMzMbxr7fJwvlJXAMBBzXo4YcwV6ORYQ7brJ6yeR9iymK2SQ1pHy1zzPPcjxdE9Sb3ZOQQ6H9aBPqtbP+ie1luYUqywH4PCGY4eNCAFWqm3saJMUFhTkR3LGUmILdiK58EDkcsxlFu1N8Wy01AbnE0d5vGhLmSbvUbiaosMOkBpwePh4a7LUwNa3hfGJaaJZ7YjstC158gIxAvj2yGXw5dSRkqD663+yS/OLR/CLgfzzAK9/86eSjqEvh/E2TaSn4PLRm8/P39rn876Q5oWxbVeqvU/hUCGsbghE6DVozUiNzJaIIzbl5onNy9NR7Lnkc7z+BXcqNeeorjxJnMNia/9R5INlmxWLbxgqPqDtPhMrrcYK/PVKn05qvrNnaxrmjvM+aVP8rUoIsJdOagaUFimzvFMjAfmAkr+JZsMFvPgReEbBogDG18j2h40PNBRZqez18qJMw5qMIEONLzDQeP96Y/zBEoX8SM7eUExfsqWYdgkqvVxoY8Vq0PKoRLLGjT9qHhkkMtUw60l9COyIkEkDexTNHCunzs3lzneBT0HAJfu5NLHs6Yx1aggi2NbogPeAD9uTZejP8Q15WshNHu71krv8GxWq3o6ejP/j7MMz09HJQmPumZKXeZrPeiA/EkQgTo7oNGLIzhEMXM602GWB20WRdqD17A87y5tG3py8VVkxjAxP0m5K22S66aRt6wgkrYOa6nqUenlaChuVcIWqSn2X7UJm4IER5PqH2VS3EI1K+RzaDkZqG9PEPO0VVbD4FDxK60PGa2Zwq1//OCHphisSvNjGVIsV+Rod8Uucm6g23TLUkq5HewZHYR0TDzfbuf4rNu+/llb6BDKdEFqIZ8joBe+/fKYEJKiFpaBFGhaDnsTH7glChm/OQvcrwguB2K+jc7d3osHKLI/eLKBEma5a5WZ/4jVgEj8OpelMX/tJ/ygo9F8nnKqA3AM6SY4mVtV5uBuP5T8FrcAmqcTK2+ZbhDRdL/6kb76Kk91leJN8DEdTuUGS3fvhGnJWjE4pNqfmU+q9wlsQrM3v6HjjGd2FvS/FHqeHoKxlq41R/+1Q8niJrgcrHfXh69gX6Ci8LpgaB7tcUYXvJ7cJQaPdfm7ZdlJiCkYoEgu19z/MNdc3dXIBYyTQJUS5QCBFOyUMJRwoJnsf5JusGxk13sapXtxTgZDSqjNg1YD9qBdTz7E3HLAbu1JsNQ1sXfOe57JiCTe7l/TI0MbqoIet019GA72VDyPIQTV+Au1TORcLrToqIHOjfS6BkE7Bso4j0HC8hW3SxpeDHwP33qtr2bG9OhnO9U1+/Yyzo5+Dlm8puUZ3nsHdQADulaHmLkifDmFFOW4HVK4logIWz74r9kwdLiY1znmtINBxqMfQZ6iBtSSbxDLp1e5PtovzdwgNycMb61jc7l2/AWJ/2wdv2n6HS77zb8QMFh9URG/nniNrFur36IkVI0cGsukfn5/yQk1hECxwvQPIT2QMUmWS2vmHCEEcuyrnxfiW6Hu4fJUQh+Kur3lmwB72N5pEEtBk01/OrsmhLzhBMVpXq0QaazjEwTRtpz0Z98CwdrKCA/BHjkco8b5uEBDGaoKXejZPnXF7HGOqZdSYKXs0DgxICVk+4P00SKqNHu3UbNlqJzq/8Pj89ZrTaL+XgXOYJt2P7dkHYhBOgNT6vwqBZ+RAsliTBocmJ98yBVMhhE8xSErRyo6uJZrqWynVL+Zr73sv8f/mWZbDHowDJ+LGdWT9vmovg56Av1Ec7k9l2VXDjF37aX9QX8HLGXFb/Gh4w/+JTIBpSdNo34r8P3HPYUbK1g9YVjK49ponM6NEN69PpisoYKmXg+pVSXT0qy21KLfLTjKmOBe3QGODL3Wv9BoUJVZmkJLj23A9Zd+tFWguBGc8LI4WVYmz42oUAbSfD/xGd3WrHNGafOQNEh5oW+ciOnJ3yekaq21Fu8wbf+zW/G9GyNdGCGCQAkJYpg8WaW7mdLbbCpj+ZNJZpCYNvF89w97yXfncAwX9rihHf6spktQAMDG9/h+1cPC5SXk8eJ1dyiodDriR9Wx1aPRW417UwxDLT4POE7W/+jTb8x4BMp82AitghylCmEBxIyCzFbsDWU7jEQoIYkYwpEflSwcl5LNy6r34GHPEdWkNcBK7uZzTurF1YSAkVmLrA8DH1Or2dTis1NjItQwQo/rtrWq57snXXNwXvATo8HatL28+n5SVMOj2Wj+tz5n0JMHt9GN2txOK8QuNVS8V3Jwi4NmBI1pShHrV4w3yguIeFi9EC266RCZXa/4PyuvZmCKBokbyGJchpRqPrr7nZnRC9kDs2JSPz7cpqztqWaD8LUJKP2l7lb3J9qX+uW9KQ4mntxPJWUvuVUP8ZTb88ztkUiRM2boAyMVeI+6fvz1eKIejZkNwi0jZGg4VeE7Oi/r7sP8L6A1T5/wb0ZoxyK1Oh+dGiM2jf6cI0CWPv9xzyhq05ek+zrPpCUweST6MUjei+3VQePphxOri7bkoioWQYkR8ybGqm12RkCVqNG++UV6uciam/OIHr7tCAP3LzFZfAWepU1sU3K80x971tZm57xu+lLxb+sB/mo6vViP3+MF8fPgnXS4snoAIMZh6Fp27IBpNhgRbjmZHpnwjpnH8QdifedckI5kisMJLM6Qp/56dkqNMht/0YPz8iyn+dehMMkeEV7EJ8kPJCGQHBOjhuNWCSdRTVNpsW01PMDihRdKJsSdq23Juo8k1qFcuXQUqpXuwgK6Pl+tekcsPCjucH06qFHTX2nZutguEoEb4+61Je2C1b0SNrlP/mTOB4xyV/TTo4o1ZbmYWshnlhYMa1J56C6jw9IpmimuH4W9sy8MSGpegtDY6UiNVZghryjaKHFY8wOVTh47gASRkQG88QWcGSMWDoNdVEGlKjP2bbpyECy57KQVMALXJ3f8Pm03xzOaB3mDjcJ88kuNuHA63sj7zSudWxkfP4ytmxag2UbpSeMRothr/2tRpNa4fiYzqJeOgXBkp4nnyTDI1pO7IkfeW26WxiZzhJK3vYuZ6KrVQb/gb84v1DcQhnrFYy2YM8xzC/oGwWNpx7u0rgiql2ZzTlszxvwXpD3MkD6/0x9Q3SAiQZ7GuNmh9ch9oJb/BMRxyjBIR5Ru27F/5wGkXBb6DqeP+wR1bzEznqYwXyIprVTDZM/UOVkJHkE2flj3EOj0YnM7lT+nIvTy1sn5P9Z1xUFRgBLhmLbM6hXs1JFRS8tMel6pvqV5oysGMXrsO3frPb9CorzXrloQ00OMlly2pPXsDfWuLGt5Gcb+IIdsBjpNfg713QAsBspT36Y/vstPIqXEPpIa9/gyeNx34uh3uk+mcTWZ8u7HslJ4RUwFoqaw474DSY+f92vuTD3wteGYgaZmoLZHq/H6x7dL5fDcdQopc5jJC5mSK2pnt3aBhySBMoDjXi3phNdACrL1JHPQNuZyM7dgD6y13PsmySYXsh5fWAKvpQX0fORmytZOhz3paKxO3H1hyjJKa1YYhMCm6BWM9737Oiz+pF5/NomDRNIzXx1xhVk82iSVaGnB1dqRja6w5O8Wh6TqTiXjLTBx1PHNT0CR3SLAzyuy3V8WCuMILKZ8iBx7JrhfVsXtuW9LRnXSl2hnjRjas1gt0jfzXapCVoOEn6mf4Jk9ZxE43fiVotu3eY83nfKSXUm/HJ9RV3uyIkecy18eDcPxN/num9R7XFMqcdSc//Q+mnYh6J5nl7Qyh0bAfAvhcCv1bHvp44/5dHpeJpSgsDq5JQIN570EUr2M62K0WLi3urBmzhHGSpH2mDQvzLT9EQKYdt1bHaE6Opy+6RGqUWGYYTvsGOccc2g/BNaNakaRX5G+gq8UOS8+q9qShJwGMpQ8Ih4vahiEL0pP71ndbpWCMIgyTWvhyuDEfGlN2VDPiM9YbwCcMt41QRzY/xVcuGZCH3myQAPoATcSSL0ZRm93JBj5yG4Vm+3xIIl6cleGC0H15yhEGwVlY/h7MnbrSx4T6Ozso8qz6owEuGOZsuRK16sPn53EjiJ3wdh/BEb5TQFQgP40NyEQQ0xXdP2Fh+8NOWVDLEze88dBW4V0fEQaTBs4+2vcNwVvhigekZZDIDVd49fGrpYjK7wziFEnwhW491kJCyeNW4hCh/GcRJYfFV04YB5iqXmjP9MUq/F9/A8Ups5jCa/91kJZweUDVk2njGEa5hgi1z3yklT81mB7CwvZjccqnOA0yii9TL9wWv0MCqyj8idSdMrlbtVlLEHd8Lmh1g/4sOQAXTKzI0chshnq8xpDvl5inQBFl5nagSnazkz0o3zNnVCZI2US0PrvnQ2KxnvVZa8DV4wOjg41X+1NiFAwep2uQ+pw/r0MZxpK4VDgJti8wrf/ruVhlIwAHZAtWHBg2P2iUihuCOGQTXqlNuxsyJiOhAvpatEvJGxgctmP6ecpEJvrJ/WNnb0osAuFT/JQssGq+hLoYJ8eFkPH+a/AqmZt/HKKSAFRie/qwoz0D02MSSHshCMEQXnf20l8irSI0HB1O1gsRLzR+KRwFQ6ACJo+B346lmhuKSRW1qVzVZpjsxnp+yCkX2/FQRbpd65VZgPhAgYhOqg6YBpp2AyFZWp6rlAyHopiIiODV1yp4ORXqzEWeTFVUrA7iGasCrNAS9zJgAT2LAqnERU6vvNvufrRu3GVRhuyX5VI6A/pzh/GBBCQ/1/U8nijjYgKQAtVpT2ssBpDOvXSJkSbjZZL8XU95e8dAFhXi5aNR7NAY7YRDzR7uw7CzJiWjGiG1rcDkNLkGm5pJOKtXdZBn4Yp0tdyhJoH8M/aPD3wPQXfqjnrKyzWudoByb9xVZI966pQLRYPj2WNQHOU3XWcz9DQVWONhhW8NP3srANkzwn5gWWCDsb1HTUepaQHNbLP0NnESZzCI/DIlzDgFdl1GrLYKRceNI2EVYJk4eiQxoE8dIIls+yFRGtBZPm0lqzlAKiTY8NTCmE+GJX4FtNxTWsMMMETyEUw5eRLENljiXZmtvHTaa/N/d/y+ZjK04hmB31GEHySuiNev0V9sedeTkOlv4OTOH30nmO/uXq9B2ZYhZsD0/+ZyjxyzeqA323+3CDGCziOofvuuTO+kBe8fq+8aVl8yXfQKuVelGtj4g1FshsbSajI+aXOE2zoQHF0RHtw5MniHQ7AR2dm/RxpAJnc+u78TFg/kfeVmm8aR2DUBBejv/U9a42DyLE+/1N8zsyehY/lsm5YphwOBtwluvqAFTMeUpn6+rRB58SNCnnFuydeZ4gFZsfSbcDkIae+JC7SFpnJVFV8LFqB7xa/OHIcKX27ymbqqoVOYopWphee57Ml1DgBbgbgFZcL6x157mqe7tfkKYolWStU86vBMrDQmcBFCPeNe98rcJzN0bqe4tgzM6fNOmtPx3lAQdgii1R2El4lKhBGgYLg5i4j1g41TeyCqXi3jCM3RbSE0HoTlA/hoz1tg82x/G2exed0LFdahZqIOlVSQymmzPhfoMJtpbG2iHy24nkZCh/sgTcqzI/5AzSpJsE95vffFPfH29wAKS8q82hyTIWdiNhgoGWpdHorW5cYxZQcnohy7MjIV26CnS29Twpp8e2UPjCn7TspkCiq2sc//NDb+4XiLROQKJA3D5jSceHhY3YJP8bRjUyLO2uxChHtqJNmca4xRNiom8SuRhUORNFKnEI55+scf55ZYGNFlybKTKaAxe4qnUncBQHZ6hVfwnW4+UF1zSEtMTY+icNmOzFt7y43eIlG6QzMm8j6nOXU+C4ZMySWHIbGMv2ErXX7t85loCEYq0uHo9FzBdVtZXFWMRnQGiXIe5s4QFHNCiV5KEZA4DNrVdWfG/SLCmxVJaLR+U4cXZuytsBWIkh3e5RcdR3NSnTdnVFWDLF6bW5ffZdMFiByMx28R4e6hqzeWwe759Ik7IqU7OI8Ag215A5b2YdxgJqlAtrKhNfuUbDy31hjKZ1YNBX/CIpF6Ms2twDoBSBTK4SXaZkPXMpl0oTHBdFdzgoDT4aazx+jwwVBrPB5PpmqcTw720Sm42mb1ALB4fXdX2llFWeiK7Ljxk9AUFce97MBfsTL+gXliSdchEFoh0u7OxmZ+CpuAdfZvkYt7RhH7r3U/Yx7OzdBWpKRJlnj+vicY+6pLkMHjn6YdX6gx7OxztoyWTTVD2ux8u7ShKHXVZ9mxWMC5cWpnivAoASr8jFYOuuh6FwFSTgv2R1LflAc3bQ2JnrW2PHbiFI8NedC8K/WwaXh8EPQTyabqLHf2EIzXu60JIDaS2LplDwJikkOW5ORzxh6klwFwxxHE7QW1CMJmHTGNYW+YwRdHJzqU3ZMy1meOZxRWh83OcdIGVi6GEAKpGYSlI+sWPRcdrbLKhZMQgfQZRPQE6tYh5HRwOXCQVqtKNOgTQjQVvO7hSnJEhNoiBSs2XN/HRmXBEXXVxQgQLPsv5k+tEj5CsKG5SmXWeZc8rYhAU5GaetX7iLSuNG8F8yB2GB+5pq10XSZdMLqTpyz8oibM5nj3tg4HFRiq23bBmDD+pCHmIpV0HOMXs3eTNISIFkYugokqG7ISBFWn9VrSprcx7sDSpl90t2vYy0qgynTD0LJC/UyVmatfTRfhDKYZCPXsVXLeVneBOcsHx8FMOS4n7jA62qdPRl5yoD8+vpPHYo5rpNUsCCIyNn8B8whbg2h9fe/wKAV7iJWpnGtHtMqYbgeOOr1eaMP/1rnorPJm7Wqe8BxMqO0D2m/ZlWR5m2dcQnbv11daILORwh0FiQHRpmV0Quvq+CEXNUXrZmaZ+srCAHt0cl+KhQOHOB8MvYDdbZu84VJ9EWislMdoTLPz4ROqtrlgkCEzvVDXyJpFy7HDvjY7ShLkIFQDeKOWwxlrjbAFkQ27+jySygeQ7yLqL5dhzyLvScXbMlGrww2MUcYD3sbrZMmdpH+8BNzpwESN2HL0S2Ee3FL4SBA188fOXyo2u5al9a3A7fA4iCdLRG8RNRgCw4/YxB0l/InSSH41SZUCDekPTIV08K5lBpT6MWjfUhQnL9tWR8KVlELU5K78y4ppEebiNN6zCxUIXf81BVnvZXzJEAlDq3OuebtE3N3A3RRo90rSoMxHw4mGp4zaHwzjo7kGLp+u0nbdUMarfw94gk4vzD9eXR/dKuQG0wWkoAf8fbth4XMLinl8ofVlfLZu/LIgTjogff/TGpl2I6rDhqguuqp/bwJC8z3lkp9HHF9POt+gMyq8Lb97jqh1Lg04hfCWXkonb7IB3qs1oM/d7oJYG2LtChRzlO/2OgJWTAV+tRgkiwBpV4ac/eEn4KlyvHrGFgJaE8La9CaHEVK/73oMS2aL96Yl/THorDn6xj6clNTC4Etkn9K/vx4DvERNbIllmTK6zPcCC5guoUyzUXZW6RlQQTucnUQHduGjbMf+q0UiUemiGApDLwKY8ps9HAwZ9idhLxsQMlgbzA9nkltFVT04mMi8Vc077teH6YIwCq43/dM136l9Tkh2hPIKo4o8DKfz+hDS+0zcRxALs7EmUOJz5gxKuJeIbSivBCU3rwgI4QhKj0Td1L62LoXI74O5OKygx02KaxhP21NIDWsvsi2Gl0BvUFMNA52i2uijvBko18lfv8RydF9bPRft4oh/epomy3kgfdT8QEQp4IqgDcuauUMFGW6a2lxPjPRr+P/A4984ZtxbG3pX/yntaPSqwifY7WxcJFTJhliaGz2GLHyoYASzLlE1XH5BW3nGSRvUQe4oe1Fc/to5XKeoTpdrDt0UE5ogMwzLwYN67daB+hg1jltDuWwF/PHotFP+FCjrViM3wkvmnW8p4mCH2UjMn/MvVcZ+/KdrEGYKw28vT4mqack4+srEzmKHijd2bP0eW8ZZ/RYNZrowB05T/EmpoiJvXzpqvQNX+dJ3ToBXapFKVy6b67zUaUlQ8JadPxALC3odoDoA+r4KljXDbhW3SaYvwomx12HNXOA28HGLUfYwHUVBwBXvwxz/e9fpRHMcjEi6Lae4TEcvOi2Me3Q2yQiOPFkglJavL5qnIq5h8Wr1XiYnx6BxJVrnLgadCNOhpNlzZSVDfVyyCfIuGAyz7ASKxvA/xS+AHmRPyLbrTIfH2XQmeLx4u2C1yPTT6gRkoUjelAIM1iUJIHVUHly7UWv/cL2Aw7CqJR00ANaAjla2VLIO7BmshmnBmklkewv6Migswnu9PXQ4JJd7ZywIIGkmV8FBm/YKbU9aUS4XevxVakcbgJpOX2G7Y3D31isjtAU4OZ0PV1//9fjdMmDGYjLr+T73k+OUMOO1TzeVADdgk8QjO03wCHYV8FWGcDIOhUYnWu8G7CyZ384wgCx4xTBrMjse1x29iBsnnQfLHkpi+nO/VFrJbPWYNPBGa1SSfJIbfEhO7gQMIP5QLQTYg7mx2huu7qD0a66nTgJ0csCwq/hgaG/OK3Vald+HSbXZlyhBGYOde6kigsAyYoRRkVxY2gSvTUDjv+jtT112Vjtm/k2SpIpAxhFOBgbKZE7H7t3JfssCo1RGxJIKAdw/dJVHeY6LUBODa6K6s2TCQW5ftQ6z20nndLdw6dFN+iN/ozK91ZuBnU2NjDthYaR7973pogo5q5uO2nQz38EWXQQ0LZWdYwW+RDyLo+sh4fJOUTAHn4OSlsGLs0sLBglnpyRxVOsU6lu3VHPsuiZbbCU0xMA2Uhfg6vyIutVVN8Y8s39ZIIj9gIyt1s9Z/Ybiu8nS6p8k6UxZpUfOX7riYsIkUI/+I7npGq7BzVgs2GLOAt1PN3YekyV4E9NUL+ereeFIHvjOjd/VYCBOCHTHtm0fKBdlFsX+2YKksD8+E3/9LYivuUf+ElxLtcjuBQl1Ahu2jevZD/fR0g54/f01x3bWeS53+wtaNt9qYTCXySn/CrRAGtCtKDdsJ4/mODclcXeR8cH0tZtGsHvocuamKN+rksYSuiBO2V9p1Rn48cIcJSpLIzoyzc/P6tSJu8LLIjDs1L4X8B4Md0Rhj57IE+21v/eR2v9886mgfocKCdCgm/vK0PAcHsplamtHNcjiOgCW8GXRwf3bWfqTM9Z6oVU3YYLpWBCAgxGb14q5E2mkMLEwu+r8WhYWMyXoQe7jJSankMw3k7GuobzOhr8884s8T3j7NpBeFbyBNPTCulqAwUM2AXB6kYV+PjWI7+7IA5ljwkmjMKinONR+kY3nUJ11RpV+YUeoqUitGkoX5cK3BhMIsd/lcolPL4mCH6kWiN+eI+zvFOi2UmlLfl10Ykqarbk+W61y+/OpLuBHVdUM0cwPrzJ6QIHUEq+Hc37kMoWiCG6B9ciaFWY4Kx7HqXk43EcQ5eZ2WYcf6lwwOqokkaa6V9tYD+ffEm9v1xSglPwNZSe7Xvf6pTvrjb9/xd7BsPFa4vmNWlBhmOUYRw7zjU2CXsrPaIcE/ocMIyAPHBvXHSZY9W77I5YsTrUdRQhTG6kop/HQN9mKtcrGWEDT86knqgnkt1UXrVLDYnJSTPWbObRtoJRni1K3KfBnawTtvGJQ/+eTjeAqVQWxBbXbSbibhTTA7t4y6TxY1vLm9Fi2RnU406dN6FCOW8XoFfMPAAnl8aK4XOluvkXZGHoejNqr4Y/2utaGWrBEp5bVXSYtLE47GsKQrhSxM2Ib63UA5FrEwJ4+F9MCzPtFv08cRcg5duEepXw/VSBNaey/WTJN4lnCqqGHNb2BjcvBYBiQtdxMYze724xFwkE/HfxLCIZG+85xbktE2tFGNFjsV+DLHdj5A36BcVC/2iKGkuV8ThS6K4PzGu6fv+zSi+ML6YCKqtakSZUdiqTnnC1Y066wNO6+zRwBypnDaX3AieZQ02JH76cZO/CxK3QDAvZl5WgK7HgXVYXWyD7qzXudVZB9E4JX7d2vq5+OVhV8PNoeFmgdcICgbXxRcqGLazGFqETF8+J6xFju7f01j7fYB2IEYpzAmwkYnaKfWCD9rTpibAmFaqAfPp3eJWVGhJq5WLseXVlzFw5shbWAld1y6/1MgHxXiRZ/CxOxLic2KWA+U0q0EMJd+UkEGgRAtwre60BTW4JSeaTPq7CO7pGOIG/0cTLv4VAAzqlJw5DlFzCRLjpFvvXYpEY+AKcT0f+kvp+OA+bXvlm2/AItPzFPKDYYxremQi3BpDlNTcoWUbpXgBOWr/3PvRcDBuG3LodhOC4cq+inyHvrO8buw72JKTN9MOhDvteVkpObeKf/CybOLsbiZYBtQiHwErrqkG+2oovurNQBMqi7qBWy+YHS8WCkcq3YdAJCkNvXeuodA8hTcCCClyDfDYociFOsyoAs61KH6GzuDM+GIDsbpzsigIUhDka8i8/2oJnHsqlMxndutDWmz6Rfycv2xB3bgYwApHw9Sji40m3hxa3U0YxDHOEK5OTgnkZ8yzoUSHhQ8lA/cOPo2s9lzPCKtjR1gfxqPh6wEb6W58vjMNH7Xfss1iW/lmmcYmCjpDfUiwlYlgJli8D2qGxmDVS6nqmYSfe3NNsKqFGcoR4qpfSiGJ4yc2n9HvIs6W44LjUtaP8NkD0KbxHew0ZmBGtyXKo1VLit9eidaas8qItpzLqMuRczCnfxBfVVA4FcBnxBOHZ8k+D9WAJxqT3o8opo6JSgphkvGmHz1kHE8POZhmI01jqPg7i0hBf1AWntmqjXSGaitLyg+vAJ7mooNmjiT8tMuUP5QaEzbErAIxtd9/HD2eCYL6n76Ueb7botHaF7kl5Zug32YZicX3r9uqPgAhy16v+c491lyXwmkhQGrwDzNvPHeOZqWDmj6Cyj8pkg+9EL/f7iDRzIeRXw9Sbjo03dmLCUz4MTVsElGfojSFHTUZexQAfmnWVvS2kBnATdd+rkkTSe6Uv5xyDyur73P5Fa4aJudxWK+PYp8HWRf4LhTaMp6wHWLdiBogiBq+z7HNm5iuvonGWGzfrSEk+yjDr5QVJfCwJT/8FrM2ZvF6SQ6KGUY+OREYSgny4gA8QlKflJXmqXdHlEQ2WkfgEZxsFVIPISdogbzUE/tQ2Q+mBs7JmP5J7Dwg7kp7yOgs3JyBOFtLay2/USG6Btk/an66vBB/rjrVAtVSM+LhKrTHtYnIdXkTTi/PMU6nFHSyVFVvtgs8w/3gJCvlTJbS9FJodq6hzHzEDq6NpM3xzfSwP5cmBEywSoUoo6Iz/LieRKUEZIjbWpLn4xwFewSG0n0LKA9/VGXcDfAgSBKbs/UfWifUlCUYXhqKbm5UulJB3AVRKdjHGc+7zP43B4caViMN9O3DJUAhVJmIFwdd/7sx+SuJxCNvs3wMHQhjNZF+HAhUerdvI5hrKptOvctiPASUfMWUSNRRE5VvaPtAxE6Ny34V/vZQ2LRpuL9BTbWgMYKydEtMb/xLgnhKeuN3rhbvFE0iqZXpXzzK5rHaWIPax+jvF2Xsvsb4J5FUuemJtPokNvMIu2Wz2FcQAo4cEsGFt7MoD4jidPONUREOH8BJNlsoOtol3qI/atkxmWCbUOMy0d32FsnFBfJdWoIT3WGVhkJGm7ebklLKIDYXO7NLBsoR14zESuvlHPMK+zo6WTq1KHY6aup0DapkcPYOSX/h0Npiy2G29gQBmlgkYVUYJdix1F9wfh1vZQbEbAO2++0pMtGFUEP4jLIEwM2Z78rR9Xza1bp1X5bR/0ttSuVClmjwEn49QOKbYd2j43Ki2VfhX/ytx61bazDhoE01GLHTbw+dpC7gWwUp7espsvQosaA8KPzTqfHrzj6oPsCgWTUjcxKriUGNa2jXl1utQcUTiWKvoNF+47c/WNOqTPIGWea7QPTe1hwqvr2FTttk0RQAcVVKD064dMLtg/HJ9pKRMIh7ghzPljEjNBBIqy3SsKgjMxLU1IniAOdXnY9G0oZrwN18U4Hmi4hSCvnzMqxGasoKEbogFBEiB9ZZsg1hise2D8S6HWEv1x8XoLvGRNKCNuoRJS3qWz4rMNdwLMY8gR43bzJBZ9+vHhUL2QrLm6/JlH9N8LnT5LrDjPdqaT4i/lm4fRZ2YgptpfoWDSGLlAcI/PiY3dkaG1DBKG7fv0kULZ78/mdXquGqcQ46Z3iV8m4bk3KpD8AkkB8H1cDHf69TDv7+Jf8NHIyULn9/+Tq/Knmo1e1EvJRAZ9PqEu89cjJT0WNIm+vcBCxJ4aSvswHsxqnAMHYMzx//BqP0cqbrAxlFagihsvoQkq9BtnLX5DT26RVSAcxghDYZwZHhApYbN30AebssfYoGxy7Wsuz791pdyJn/TWxW2sUovqtmQCl6vpPRmWyYVGvLMTUlfZUp2scVgL3dRXfckXaYB1OfYkZfTj1C/92BzRWOGEVeF5LeR/ZtyADWydV1+Q4rCiyQLaTIp/LvwAu6UrXA7jHIVaS6CjWY0qDEYmm1VIpS11NpDll8vANqf3/ic7sfwSEJtnr2K5CN26bBFvFnuCK8KO7MX8dCWDtMPXYWuOiJkyHvl+KWQ+DNyLGgxIWn0U3/LEko+hdSIXb/f5sOyMCU2zhtdpcWC4dYjRsifLtwgEefKylb2LdflObOfMYCJCUKiXTC4JmdVOKho5ERvPXJwY4gBTKyHdGCYgsdz4eXRmrbVOplvXAqSTi6Ds8bMQ6ma30q7QGkDthdjEBm/qMNchoS0jgyaleh1nNBqLYVKxsjWTdbUhybpEx5Ns0IQuAQBikVQeV9LpsMC0cBvsGMCAN9ORIIWMW9ZB9tjGb1uxYzd7nAorAOQgk52lP3Z7tie7x7uBmYkHifuwp7BVdUAwwW4bacug0vR0MrSFdoN8pK2UJxtFlpX5TiPyONnbKjBTcGlfZ3MxGnXuwYF8GZbIH0E8w/f2NWUnpXiSxVmdceUishGczgw+dn56zUretRaQnlGGcr164EVDuItXj/HgK9IuES0tY7R5m8xxquEx/TTUizRKXc5aKM3gpV5YiICq56sGVbTMVcvwTp/VerLE50l/mC0egH5H/OrNLrHtLytdnVih3gDzjbXZjiJCyjTNTArOnooeT9BmHYPu9p6da3S0W2LDQI/BVOkG1S+fUj1c+rcvrClAM+DTfHdwEVAh7d9XoSgNxM5c/QIllUwSNIMxiQRA7xAoq539ZWzzA8HbCsRaC+ZfgVewNH6HrW+1UMzyJUTkOyf1+ExUy0cag09C6ZwLYEG82sm8W8xS/yMcZ96SEjJnTl5rWMbAvN7FDigmDJklmdcIREAyPR/IDij4BMma5qVh1oxgJellZ3qhhYUSMP8wSEnmYaf3sCctjIbXZo8lV2ugNiZ4EsCIuLS7or4ZBVSb67kxtzsktYOuhNrJDmjOYG2lob20r4lphcZOGY+Yd07tE0pKkMrqpW16Bup3jwVOeDJeLAraBCuOZsElPXDJbzk70hewIG0vr9qi4yl8gwnkAESQS0lPSEZGGzoT32jQAHCCgbq/bj6AM8qi1VrbgqIbpeGoAVl52tshOPXehaEMGN0kZfmJMsqAyjRSk37T0AcXmXFDAzAb9NaZzn93OgyrSn3WhlzWxBIKP+7Kzm+IEDIqUuTNvSV21diaJ4+3GIz1UM+N8i+FHsPu47tJCCOZtNGmJjCfMsv/PLdBIu5M4fiJHV7urpOYpcMEvCezBm3WKVfzQtuOtHBr92w+EgnWZShC2FFFmyrppvTp93gTQMHCF4fghhtTwJGUJDdpEvggx6Wt3eNdWJCBaEw+M36JWFH96rhHoJNzjUqQtLUr4l9M4YK2SJkhpsJqgnj/Wy259xr7jdGBAPToyKt9Lf+0HZxLqKPMw7uEsogCOIDmLRsV5E41BCP6FnrEWkOuS+d4QKSRa6zLXzI9IBhlEHKOdCgzFtW6V623ulcI+XpSUx38+fonBIgWyp/heaswzz8aFHT2fYG390of1gYgfipC5IG6jXkOUxmx9HH5CY9I8OnrWoohoy0MpWbZnvH20xlWkSZV4WaMCoFl7k4fpFlLPoE48u8xLVyQeLUHJlAHH95JLdBi1plQGgEzdB6XTCdebd6ZfDcFo+154feXYfANosv+Pgbf6ibK+slRALgTZE3EyNF31qrut+hC4JMmQJ4s1pTSjFDYZp6ZwZxeTrW1XG7uaV8XY3hGAgbFj09NnmOsg5YrxfEKe4EL0mkegT7CcDvsKlCu/1q7VB32wEDR8MZuP8boZOTJrn4J4GMWwGRSN5Sm5QlnomZmnnNTvEbQBHaiHm+X4Xk0bwhjI3TsIuksaP6tjqXcdZSs2PHd/baP02loqAqX2V25A54/uU1/N9lAgGbS56FR9dhhK2n+QfAdaE7mfoMluQ0Wq61/jrWd6Tq7dnH5IfGzX+zZu600RnP5cH0BhFJfWhao9hBNBPSjqj8IjPVZWlnrxGuCnz/6eIJHHoB97q0KKMferuHAscQkmO1AsAX26RLNLeQDxWJZMxyCx8FKVTyCw/RWfevSXv+Fa8m1uU+LCttR76EB+tTk1AtlYo0xezJWuXY/b8EA0DHcP3ooKZQtRQreNn5TRRGPFehxzJiv7NfLh/neSyLvMbIGzJ1xtZCgY0jKPCqwmUyCmuOzkj/tz42SY+X0mynRqFXk1/JfilH3C39fJ1eV4+FJNStlTItZbLLOV6nwP/weUEUl8N3wIJvveOMOWXChRxc3huWdYl+ZfgsTf1NEriLIvUye0MpDdJJZc3jEY8pY7HEY4BAI42RHJWj/n2FqBMgk3mqzokh1A1I69ruw/82b/3YipAOulG3OEbCsdd6X02xi/x3SjGlQnT3e0oU9CsvdUvQBcKvz8qsLLfAambMuKHtUt6/PHUzsKqfVM/SD1i16sADnQ7oVGX8xXOEucaER5j4ozyprVuoLUcuNer/Y8dqEEoBBBL+TtkSSETSp5OdoLil63tc6jUXtbq63hHDRTtE3pH3GEdTY1vD8EyyYH3yMXNzczHJJ303VJA54qqaQKCQU5rZpguSnZfciQiEBYhrZP8V2pyY6TV/QDGqizg9ml+BQYbJcD+z/6qZlK7bEBwXNqaQgsLSnpy75Dr/Iol53DhMNUSHzjFfxoGM5ToReSddACv/ZImahfgOB7Gch2ny4noAjn79Xt80/KIvGs5vGLhQraB5FrVxx00t5w1DobbJyMPF2K0YEy7zD13jg/qo8XZHpCcPRkTmSv7ZA8o3D3C4Nb/SWa/2CMkslOU5kICGc+4iapSBFphwoyw5OwndQsFVqppQ110e9AibgN56EgX8Fp8SsJ9toQw3UMjtggOUG6gBkOL4oRCwxJX6AUt1TGqgsnVU5meJ9VqSu1AWjlwc9sMYXfA5V7YbZ078Twh4m4AlU6C8i3Y1T3eWEp+bMjhElfhksiiZfNZH0pv63BYCSngT9DLN1KCJhkJeh4b+tT28PeodrsWiN8W2fM3Btm7W4xaf+HsBqXcwVnI4tv/T/ZfLOWPK/kdEffqKy5QdX7wfpfRH+qMwm7EjfE79qEBP4CyRKD4Otg6hiB2WJlaWjpD3XN5uSpg+iu9bVWSAZSMcOhTGSuRFHh5iMhMEmeDjdwiH6zvYJfv5zDnuL7DGrS/MQUZ1Ho4hwP5A0iInmSso9ra6HcJ81QSjRk9q7aUJsSyPhBcYO8RyBKGZ8MJ30WlJnPm92RKoBdjcZIE3GEyMdHBOaW25H3wl4ZGONJDElxAeIAKHfe32HlNLPIZmjvzAZOeGQIzR7kAb5Y8gLftzJuBogtFGm0swNMxaxBggkrc+20x/ivOqpv32sbivhBDbgDCLN14WxwuMOpmRtF7EMoV4igWa/5niq+nueL0D204Ypsa5UJH+dBm+NrN5BU/TxrNrRnLQJPeEZMLLzFVkW3HTgDlv5YE1JzYeM/oDN7qEentVXEVM0tzyycRVtNpRrdygV0EpebTTsPMj+7KPNm/xIgerHymIr44/gJBxNtvnrCRZRrlFMHVitB4Hv7FnS4WbuvoCybQ9KpD3W5U2OFW0cvyS/RKD9HSFggEzuweXGnsdJEB1r+G9TqLsnYhR6Af526AcCU1m/ETYRrRtXJJEmGUmHw/GhONKZT7j3D2dONT38jwl7FRqBrBDG/MWnQsIN6xyjuMw8giQGYOHhNzVebjM9d8s6XEHFpP5nHtPWmIPR6eW4vZU+sZY0JTeK5EV4wmZIcL4DjFatFwimtymEkjdHhHJWhY2saJnp4XnOwGTvHUDO+rk7WL2/eXZuZygcMLmo8BXL0MYOROexI1QmOPlgkFuNq7a7utNpQUm5G7CjxLHgFh2W52v+qBWvv6uZBg8Uc9NFqir419ma8zPF2itz5ErSBNWiA69hqdFxuOE+oF16qImRD1KAkeTaK+3VeoG3wwpQ9p1pVvq0S5yI+hIk1KVac8V5eaXz/+roD4CWv+ze/3pfkEKnWFeWJEY4NZvF/bqSYa+aSXy3pyKX1C7daaQEL2oA0k3zl/rVvjN4gG8fdEFbWeusMbNPf0/EC6LvNYf7X/D6g9w3cla9aayfcP8fxpBnPOMzZTliZcJF1H2EoIwUR6rBj4hwtRD42fPn9Ex91YM0EpUdlG0k2FOE+3hJ/NK4tUgCvokdHpE6FxmVh9wZn/AwvxzdBfEFPFqyKi+/kH1jHOEAlmtsNauEWaNPYMPWlen8tDU10A0cHxnHujrvxtYNd56nFlxRMpxmK6WcSJyFpz16dVXG5kk98CI34Rv+VbvI61zgIOxp20mC/aRqTQ+7MixJEMucUsaMubyDzxoByeoCu1ewzflAedPJzz0HGuYiE0Mb/dnVhmsABGdy7VjyW9A/0SPQ9laFcZrmbIECvzT7vhRePieh84gwmpcRznmUs3yKm+NDv9N1uvtWNH4seLkjvv2v1WMN8SWOrwHKGqlogmWThRauSMwelM9mkP6l5FIvos6yjd+0ZF6KEYsP3ZQoocM2h0CkhZhGFM6WgxzDNfWvJzpibU1fWtZgsoSm2Qm0qfs4l5+/R9Gk1pdZY5FX0cswBpL4hElHfCnqNiSSQ2eGQeWR74PNzBYtZRCh8RMhfPvmA77m9ZK8GIfVwGVb3ugJQRiq6u9AFC/S/tHBj2fWIMAUr/enX/EE59gTiGzSMawe0oboihKpf1kz2Ap3aKpns3tAVxhmr3MUy1zZhGt7J8eJUN96ZcwUafNdMazhBoTN2cMNmFEFaVl2dP3sv4OCJnZtueDGwj/FyE2WDvJpn0VrpFxUE8bN3Bi56Jn+BBKBdUXhcOXFOVIppvpZbDXD+gh5McJOYMBLxdMTMjdnsJ6pv13eCNsoi2w+J55PZ6X3xhf0EN2tyG4unpLkSBxOZSpazdUB/PZ4zWxRU0oDPPgEeIVCm1lY+C2XL1wWDNJ49spAFdnpRfAVrLaWy9azj8dF2rXmTHNlrnrbkNAzOHOGwKACfq6uWc6cjpyT5m68sg+v1Qit1FAR7Xa4yc68xOyqm99wSPqqs8PWQQ/6dHdh4HRIEVgsVAcuNQc7Ly9xQr/sKaHo3ok2VZkh+4thWRyzsgDSF4kfE6+a7+NQ5o/nH5nT50ZOP3RmN0kkle/PrQ2LUxMwaL2KNTmnYfGnDapEtBJBQRp3ARaH+lCSaYvletSQ2kA6fk1R83t9XvcVgxLnEbRf2Bw+PJCMkHZ4GKvPsQz/EjqKvau/PO8NzuAlcBfEG7bbr1367n56UiHzp5I2TuEaq2YiizCuRjd64ZJIe4c2JiXHsue3BjRYgGBO+En7/woinDs2lC9HY0oucCPqiSnbHqKu4M+lYCHvdIkqmDGiQLxdabJkmml+a1Rg1gtciwiDADykI0LhQzpmAMMVw3CFJJL94Mc0X1I2d8Vm3ZSjPHLRQ0u+9u/YBIIwV5jnmV6rb8y+iqXhWsyyhe+PuUEnj72Z46/VmuAAjQU43COIZUrkJSHCTYrbM10D00t5p3EC959+JIw+au6vZKjXWIkPGBx1YTe5ffdsGOVFMEPHo5qQBXIsp5RdaorqSV1V/JH8kFV0A2vBpEeFWYYf4HeLR4eeBTJhZF4b+iqxsyspK09f2m6XrI1sPdX2K905iTdoLIB5bsJRr6AfvaZu6J3XXNsitZ3ZFFD2JX+3HpuiC86KWDktWnmC4PAese6SyRPUVk5Z8QpHpZCq1jWaV3MaIgame7GnzxS3GcKHztNFMGHgYBaDGO3q31EA8fE7fkkzaQ8QwR7+F22TbL5cLhNYykLYy8eokE+P2t2F6GZOYd9zNFeteohg/IyCRbSaS44hEvDMwpZVptkr2J1G4NkXQ/Hu99f6C+FhzjVLJQCunX4VsE1L1OBRX1gicbhhL1Dy2JTGAJiGnhU5GEbIrMGC7z8FGAvjSFnw9i+un93ui5/yMfd10nrHTiPsEHFGJIL/Kvqr5fc8kcbnUG3yqbJ2tY2cgBJnP4+3cVTJWQY0253IS7A0MmvZaUPQoLNrlSbvnJNpnRSzj6Lkl2oTUT8KDBHuKMvkQ9nSws0VGbwSs+TszesGeRnhYtRg22nnRC0gyu+mCbS2BRg17c92fesuaAwLeKQ3ols4DUcfLP3qJV6mQplc9gFgyD5FRYpTyXF8T4KRTXfjbLpMwwaSZ8fjlg9nlJYACkNLJGSvEEONN/A0LXPNoY0sGuXjntt6/qhILb+PQ8rR7I/nTDsqEBeKu/TEn+3ak3S5gr+K9FXz7gG3F0bKC+daw7lV86Gvxn4CfsF/VU/47+zY2FlTsu0r3gRPzY3B7adFQmbfSeUAmUwgZMsLpcdAmWMOyjf1kbQXZZFb55jxsknh+ATST80vIp76r5nKo1xYGO6anh3+OyD+EUROTBVq8WxyQ4Wma7a9LayJy1IWCjH1Rdc533TX8w7wOyzh04N53U3T4875TuG4JF4CEs8mjaaoSxJkW9M7mzNIteE2GDHBjUZlzGewCHQl5ceh48srL0sm7pEVUEHAUp++nXYlWjR63vWChft0WBPGUisuVfZnFe9dV9+VDut6JuW+KXl/4r5tux34TzCgLOb2HgS/1DKNUOb3mqJAzR2LvpBkdVMIiVxzAQUL94G0mdYlL4auAYcyWg9EuqSXM0vlICe9gTVCoIckqc3M+L/NYpOBrn9P53pTKMlamqaDFVfXLb58jzP4Lk65/b13kbPv/JSL5Xc0LbtaYsg/O1G1huUGVFVrf2tVkwXsfo58dpzyXlAT2B7Cq92h/G9Ql4bdGvX13qKdPS3C0IOk6CJvLz6RKL1dj0/kwWyvmp2wzhWLVqy96jMrL/lU8lMe8GEnH/dA9S0cYGJWxkzzIS+7NvQClI7CCfKvt2/KdbbwqAkUAeS5ZjCITAoTMbql4HATm0u33SsamycRdELaM0TZqDH2IbQLUXU0JkBKBYM1dM4AzozU/qU+fA8SEkMLNeLgyqrrJo1eT7rsIOxJipcQv+45V3Itc7OVyiAsXHNbINSesnlIXFGdvcr5EC+q62FQbNOaiyqL8wgfHey/Ym0+7f8RDe0C3tYBwdb3HmwF9RR9Ge512AHvXlrF0xZwQE+sVLFO1CFDe5Zz1N4/etDb4GPnyh5sbPE9k2HeKRWWD8OnIn1p7bVx2Z9f2Ii/zuEhOS4qkgGM6574g0xyGlxpIvzJV5mJ2kyEpJfwrjab43g55FS7JgakJop86TcKOwGxsCfceVs5JCVT9RUuYQZGLPGBSz0ZYEy9KXf5uy3BlRVhH30syPzr0eaPpJk6qfVb4wdz1QhMV8hYGI85M7NIIl6vsGd8D9Oeo44MIibGUfJq5Cz8Wiy0snSZg1ubRhkvm49tz10ECcvmYYN/LXsTwiK4C0dCcosVC/R9uwXRW3xunoaJbnh8Na6HY4gg4idXotKjhltO/ViASnji3VWK8c0K7q3lbHH/MbhaN2QHctMMXzQWCwmhv3hT8aWjnzePwIvLQTf3KPq6Cu+TJMBlrdBiPI4yqk0JBhYISm34m4anogy1mmeQdwnF7oK6qAe4bKUz8YyPDaeDZisY5OUlJSXUKn+3BiC8rp7TRlg2jaqboGzVxxiXdmkEsBW7cFTtpmthdZIdssddWy12JPshhRlUPQq2MNs7HWnGblM7hFKHWssNJCcci0VhpoNKZZymmD1x5FYP1D5Kqi5LSjaitTpqWJNz9U0b3Tl1kMh9+tuNGlZ5VN83qvYnbvH2ZC2ylwxd6JVznmymYMNlIQ31AypFGqSfIV22FT1bs/W378hqsLkuXUfA6MLUNmhEXu817kEUUfPxEClU9llUCeDZaiR8Cyee8s6QMYcwjCSIlxX4VTZtQgsEO9tZIYaS4vXo0EusV1CJunZP0hmtxKrxP4o8VlAdpnChSLp9poLdljISWbK3clPXsO1dQXFfphGQLkyC3R/I8gomL8X8EyLiNT9OQEZX3B46Rtaose8/8a+905wtiv2/tHy7G6g6XOE3jMtkrTbMvXGfmIA7udIipep58SK0As8xqGAhwbf+mdP1PA2pLiHx7+wmHygyPc5VauMaHBFBojkXwSyUws0SBmSMLAg3zkKv5E1Wpf6ckn9wmvY9jRtQ/R/Jlm/ZmTN3Vt+I47nwctBxNwmFPk0duE+G9jg949NcRkIlSl1VVnSdEfEWHT/SRmopwT0m5ERLVNdmYuA/Goac+1VPMmGTOLAXnohHgMwCuvqDjO7mshvwmG/GHA2ufjQty6k1Q0BwZIQN0jC+KVQhm82fjALlJQwD7xPPsYGFa5qGSlxHJJPd4uKOYqEoq8p1IDQqqWcPjHy2McZpbdoUNAmWNbUrMv4zW0GrLbC/zRIISEuyfpbekVYkwd4kH/DTcD/+qaC3IzF6GZb0xccKfebSrji/haWp3OQaJxb92a+p4xVajRO7p1VRiesF3DZ87gYhglDi9urqZ4rJBxA+HrNdk5GAqIKOy7pfayUGcIYbh+86uMD0UZUpzFdaKdjTCa5n/RLQMGhSbW3NVJWPTEhNFjVMy/EFmHp68g1LT+w1M6RStlnG0PuNrNykjAnAMDYqQmRzWAAJE+Bv0AtDOxBRtEOP/C6yCZrIZmScBPLMnMCwES98ghy/XCpvV6GytnrLtWhxuXL4xNSlNfY3AZtBPBRtjI6iTmDftEokL36onV/cKkOgQjmJ4L8Dm0xqCLSkwbjnKgu3mEN9tPcjhopgdkW7ZFG61+zWwZrdls4XVDznWC8gpJecmk4MQh46uMTVTnkTjd/4JUc5PDa/GBoCOLiFa3TPm1ITZ5R7GHHYD0FI0KmZ+NcaxRSHfI8a2NjEGayV50GPd4JC6bVJ8fmeq1ZcBWK57Oji0ELDSiIQFRRsIkzjbWoXQCkcbpCduSHVQ/NHvMC2Z5aspKifZJiI9Y+/yvfIviCkeAoPC2ti9EBe3LTerf4QIEe9ZKPeeEF/iN5EobI75at3/VXQ2gwupfRe4c6ZefDO+6xrzOfk6a1tYOBH3vs0FltdZu8GbPQ3bzQtuyv8385X5WE5YJmt4Hn4sBs4mHkMCq1c0rs46SYw2MzKsmEVdYjRTA3pUCZYw/1R2/FW+xaEVF//RBFsX2pt2zX5gTjyhSGdddQGxxAAsF0q9ODO3Pc/8ASKyaDcR7Esd4in7JbEOjdz4OSKjM1ptA001jaPJYUqriiI571+wPrJ08jR88dLsF6EKPv+RMqugoBvta07PKBm8Su2jyig/5LeXBbkYgYdm6llKXPlhqE4bDHEu9fNTJu+TJ7MGDZEWKx8fs2NuZXYuOG8NMDqmElb904MZXXIixgm0JLQrK2DioiNR1usLz0fJtze2JDX0qLuf/cTahL6tOqG5tBFINDGxGN2/nFzAInDYm/NmKp5WzCYE527qDExyZRH8r3w/C/2SuH8EbOtar98TDnQ+k9SOD2BJOcX4maGZWl56O7+fQjP9jNnouGe1TYnfm+D3T1RRKdmJrdm9aK6jwmie9u5U6SSb9WraKz/e/CetYP2xyAeCPSo7hkrA+v9zCu/97fWMjJgnXkEhm+NfOCQcx8hzP3HLbKBzv0yVAgsVJjZRlxNMlGS8qz+J1x8Ae/tJ7DMriMTCPoe2mC/SFdXlCd4b8izFtQhOsmHwnoOzNKCWkpPe6JQIrrfnP8JaYOawCMFoMK4Fhj8i9/w36Eo0YVf19NJBQxy+J6DPnMJ2kXUmJW2n98MlH6x23CzDjioqA6ptdvpSgYjhSnN1CqVg6iFeNzALZyyi07+ibe/tnrDzBp8qrNfYSDVwdPXBy0y35djxIeHZwAMqWkufBQGpKOGhntORd+AVBl8RN5xtzZyvCM2gwvARI4/ez544yM+OHA5EwtqNkSzugeCEnfoh3FnwR1F1SW2gp4/AC/WDmADLSPABKXTV39zYDZr6UXfNLJtXuwUubALdRFVDiJIqaoUYHO4WGAMZzRbl4y0gGrvfpokqtgsCJdidfn2ZIM8c6BjerzX4dEVYB44RkUCP99K/KOBFiqgKE7m9Z0WZaK52v/+MoiycrLgrbY7aPW+wn+WPoGasCsoKD4EiGU1S5DmPretlcPWwT07sNiU0xL//yMjsUg8jebcXhS7OyjX1S3kIz9Kpd8niZ6RgSPoHFGAIlM+9R6vX1zaUcF3ADJ9A2q3j2vlHUDJ/pvFaz45iq13eaI/QXaUoX4lsjT/tmtxiLb8pZSFG+OscqVk85zAyGJ+zzV5df3u4wAGeiuiaIFTdirsQhLIJv+h0V6vy99M5kccbC3r51v3pnf2hV91LtMNYJak7EsqAXJoTTEeCkwhlXqdgbnh3hcjw6MOa4qZ3vDe8p/CtkZ1LQJDLsgMQ70ll3yrE42cHQAGqsY84fdoApfgSIUX98MVT74yF0u9jjm9OVqZIEhadu5I9dG5RIgX+GQhyjqBvP82BaT9uA4HkaMkCqSKWlBeDeWHSSRV6R1AXFTHkiPULbeuaOvzz9NCmRRefcJpD3cHEqMd4qlZTUtenEvLweMwDks1HahGYlEXNaEZFDYVlbg2ipEZoo66cdY++mt/tKay95IQLT4VdAsu0f4X7dT5Zp+u4U68gcdHd9av/OjRwCPCLWGocDOZSikee9cId0y7oVzRZqx4qByCWI3v7mk5/6e8tnHm8/PaaPriYN/dNIEVJTJ/aVxyFmbSTnw3ajBO9F/QfL4D4qOf0J+m3ojVI8Omwg5yS3GUaQ4yj0C1m9Wbx7lAiXbaN4zKWo5scrls4pPbaMRtoS5pA7+GfmqLEYoxuRiLfmKnA0AOfMdT+42OPoV2keAYbGeQFetW7gQ3lwMGGjUvk82JQmjoocN1OiBGfoTWNC+pdlfda7s50mCNeE2Bv9m3RE+yXz3Z6079eUYB52D0IW+mKPZhyqgCt9qkwYLI9B4M239DOnT5Axa7ZhN0AcW1xb1cK5ts01WmMGpzAuW82oPC+XbRHE2uyyPQ1LzbFRdOfBHbmjSMWg+pK/aN7Qt7JGKuh/DxrAGVVvRUK7J6V+vPZjH+b2Fi6CqivlzGPd2aVN67vZHUI/R6R12a6ficVocETDq4mamc3KBrQBOtuu3QRK8AlsWWU+bvgRGo36K33av7N0owyx4uUxi37ouocH5Jo6RqYl9pKsNJHgy1xeVCW8zW4xTvmVNDDIxjuG0Gru3nHg+CPFQAXRP0x0RUeLd0ydtEnaMRhwaQ1jWnThUE0JK3LJ8WHa0baUVZrZwJ78POwBUqu2itSU//zb6/HmjvP7fAxvNz8+TdmdgDcQWS5z7rzVzZMsU7aSwhlE9b2Qmmb30IuAjh4mGoBmwXdvdqDZxz8+LcLDuNsyUxuUlzrtogNrUVLJn1MnPzShwk5CBBYZW4pgaMFrrrE+Vhxe+VvnZPEhGISfaNQTQaT6uEHM9AMD9McXIJZcKgzOxTAfdT6HtOmi4Dw6UfnBSaOx3PPfSWIhb6xaQec44yHeP76enDjoh7bM9SLjbjl5uj8J2lIQOoFzgH5Gfwku5gEa6mQZFvhmlwSKwVNndSGLAUvYkiUYiskgkXERTOYK7w73LUWrPM2V2eqT75UXjmUktUv8HtCgvzh/R3ZxCEjW8VlkCO+pfIrb/3t74DzTGmt13Y2nTm6WiaCOMN/vj8v3NcSz4C15jbQS7MLi4TYRA/H7EycVgqJo/L8ngvRnaPNCqMwPaSNCre0qIaJW/6oKVaXC7E4nxNtFmeYwtkUiFmGaDADrBpnc6lrFxDieJxMHzRZwnr0CYs0CxUlXLxRbi1eAgavUJj6rI1MjshKZVIevdRHhtC6OcpeEecFcpKBlflsNT1KA9KdvlldQf7CWWmMYKjCNONUlRGXZf2rCHAURt8R3PCPId7au1shExhtN1F/ms0KKbHC96wzEuZIBeBtA+ZI3cm9HJajdCrrzEhYcCmKfDTWGaBja7w4fEIghL/dnVNYCnotpO1EgzlTTxX4Ulm+XRrMYFVDZl03oc0AWSO2HSdJh/iKBSjFgN8Sydn2fR0GBpIXrjoTDkL5ywABiGzd849XP7PSEI4FLYU83M6RGWBFwqvnaWN1YS7JiYvqhQs/P6a0aPv3qv4KEcbslLQq7lWNFma5DRGhzL7kQl1KfZMZCD9Csu9JJFXCoue2YvfY3gENxvGIw6Z3//nbrHWh7dW+fGP3CtxabaV9wMq0i8JN0xtShjgtnIa/Y88bCI9woxQEvJdLeRKrUhDHTfHUhgWVjoF/9AWVXTGcLAyJe63ykEhQeA6SMo0ottdVX57tHZPEyeu/Fedm72ot6Fn5crcaUevocjDFgNfuI31eiqSiG5vf813WKKdNCfg6tEFihItFIqTVe1OLiF5x6zZxok8ERjrvrvFKfL3yImadoknwxROm0/+cBDKL0COW9euq9AJLreSaws3qDJ7kdmtVldwce2KUYIu2G9+cfZC5sYmhJp+0iROngj1ZX3v8e0tsp/ABq3yfWcAnvALOAFbQBNwfhKS1TzEHgQyEMGN6WgpfdQALc5FzJzmZBl6nFfdfLQs8U5Kdim3jx6RM3u8Hj8r+rRdVcPqSPiDRU6VDDSgiwMf1+6v5WOjcIVqD0OvFpBXI00q72/OiaTP4+KdJ6LNlM3vfaIJQMOT2XiyNTL6lLPdeZ/Dfv9el5gtgpfvqHBOuwP4bpYM/Jc0fu2EtazODiltxkbjKJ+KxuVjTOmUV/tNVvvYXnc/AdoSRAJ7fL5YSH073eBF6tQ0+/BZ9J9hPEb6SWvByrK7NPHiEXY3VNHU2pd3FSaY4jv+TjisgbCJzvRiErjvWOe62I1JRbAknDIFyHsKy69cIsj1fDVPWjzi4sAwOapPjY18gJcF8UUBsYBnYVCc62hhVl1NQs/ddGee7cFVtDrooq/xdmHufmE3u+LnsFlqhY+659IMj7UPOqG9rcuxymrMzijfXLOZXB1wwobfxpZQd1KjYmH4HG3BLQXUy81NyYn7QbvpH7WWuu4WCtXi9sF1H7JOqh5jkaCYsSJtHG0ISkwMrtjmhQWFB64WiVliaHjnwLyr+NZ5BDVKdSlBkJOByW/ixs7xPmFZ7WYavwMRKiUBI4M9IIA/+l1usQCWxdIw2DFKWOx8gp6xoUsnfAWVgwTYkaUJ8YEcjGOyKMdr9K7qO739Worwv2gXIYH8ely3zGCqkjp53NZMxc7u2VJpM8trtF626mc0BoLwmXxxP50Rai1VBT5z3rwgqWeUgYYNIR2DMDGVnsZW0IitV1HZehwK5hmZ4wUZJf5vyJAUNXkZvN2WhSbql+ad4FjAzTIEssCc4hNQiTPYS2f9JiagTkWCa6pDQC3jLOYmSXfdWRgLWcNiUy6jyLCg2ZdldM0J5EIa9hNaMk8JowYyBxofuzRH1uFMqdb7qYZNECkycFRvtQt3eS+VeQMndKF5Xw2xKTRdbDUOBYS9ssJPkwevW1HoKnfUOdqng+M7uHZhY2H1fp2T9rRSrhTErkEOZFk6sLTaTYtofwB4buG3p3LmrpBB6fD6427BKXUJ4dFhxrQzt6olfJlJ48c4uwF0q9LrvtFRDr/jBOha3wBOfrntwYpB04B/1BFLVMeDmJQPnomFsiF3TuefHR+qrtw7MUIb6yEqhq4sC5swWNqa5AweWOQnZdV67MKefy/02bMCD3t32Rt597rm7F3BNi56NMe/YO2gJmHOG6IgXVJyKDKPb9cpdTLBxIx+PxqiyIsLvWkwbBPip/YBZo7UYFBWAJv9jO73oQzYN+PleN/LVKdM9VRTtInxidf8pt/7EyPpmyCn+d3QTYstxsUOyaefLqYGU5H6cgnfenI9xR6D5qoJJiDflmsY67gudRNwbtXlnT1CnGDTSsP+wfKMc3p+zuYdNfBpm+1j9XvO76afOVZ/bUi2NIbRLVTmN9ojYVYVWHxp3Pdx69Pv87lq2IO6HtzP9UyznfisGRJMIEVOJgfm4GAhtuM2BIKwFw0JG9yPcpWjsAJZJ3fi5URgDbwLhMxBvuSXkQoOHQqSHytI2F6G1yUGtmbntleP68uSTMXDuVk755XZ2i//dYQFnReulY2hog5UlxQnt+R/nMBgVIpzUxi95X21HA6lXLv4EnFv+tRQLkW2agyslw5HMjVth1S0c+Pqe2o/F371ZSuX7cUJdA9BuxqRlgBhnol+qDXgzIvmqwXECHJZVyfKBa4bpyKCMkddVUes35YMna0wjlJLo/l/B3C3FvjkT6au/NH65hl6kSoYWB9jsTMvOPyac744dE0p1eN7w9oDvJ9xnqHBIQs2JDLXMsvb06zSOqXrUCgOvZEkx2JZuoeFOIpqmVfsY6ogjHThAl9xnWXfFjEjoFBipkcGhuWPhRmCZUcCyyqE8z06/7bRkxdI7NgptU0A3xwkxQIPaDFUf9TF1r5fYW+BYkYGJwkzQonZTcCbY65fYIXlYDMfiQbHHzs1YQggrUGJtcGudfjkRqCDTMo117dKpcyCAhjupnbcOLMNTmPAdAcVCCQhmG90xDEzrV6KZvGvXfDA0UPtov91VrepZrNXNX+kDe89G00hzx2MKhF7Yia5eu0mTaBsyjprhg09PTdSlKM4PailcVcmoYOLacz6TOIDidqqoP34CEkf7PlcHEW7loFXeQolOhDhSc8yzynplRUMH2slpKPympYYcA5ZVHk0M6ytHXd4XzeJPULfRiuJrFQGySKKoRT8o7N92SBf/rykQci2Tokix4muYhFGRQ6Ena0nbG0Jz0bknUt0Wiw4HscOrZB2/JuDvZjbQNwjiRWWcQEB2y2js5GfEsqH60YWQFTaP+vk3ZWIPfeCCVUrsf5JKRrI/NJh/ewjPWqtTXY4VqueVU5YWMTTyYc6cEaTV8bBy8oJroVcOqgoBJFuDGYxJYr5dSO5OwC+iS7rW9hVT6RDOTJfjYR3aZLdz6VMcvTVSs4rrXSckQGlGWvLsmp0kUpZSeBwUC65YLJSXCgsWIqpLlrJVJ7I8wHHYiQ/HaMEiDzFqSxtGY8oU15sGEdTnH849ArJaoX4NKjt6j0jFom/sxeYma82eea8p2LY63FBXNB3PNzuooPyXl8OGumAw1tU7YsvXl02+F105knzRaKxIq8MBysaC2cjFw2mpobqbpDM9KQSFzmwRwKY7eL34YYnDY1nPbyUN8BxTR3bv1ptl31im6v9QyMbs0j+AGg0PXl0eHCL6xPoaTvnHA3ymX3UBPX0vaY8sj7LWKsrgvYg20oQqWFVq+YT3eRVmkYvAX+6ONe9nyeOo2XK//9HcrJiN9fjeRB4YtgweImdC/8vbHpmYy0zZNOEbkJPTgmOP3lfNX2Oc/zUt4S7kVT1CydruT5IffF8IVGmD95gVSYSIjlA0sytEoGr110NeDWhhdSGq05CrtKziIYFhETnENtvRcfwAPb+PduUqLtgyvMMBDDv64Tw8Vl00E+2xwwcfvWxfkbzTqnipeR64oSx4UeFe5gBCFHRn8rivf5JFNvkuAtT/UmI/eDH5e02vjAPk3Xw/7ampmSLNAkczDwKloNUNO6ThA/4GOJGmWa9s7KYPIXm/F14AvKTU+zsP7gFM4uJeOnwXGo2uS+15d9F5bYWffXda2qEDXUY5im6ZdAmvDfQR5zQqLgCHdrog6z+tRCXkGqSX79G8I4xuwPp07JyjETsZVr24Cgyq+wuOyfjfezrqePbPZX/xHpIU2QFymjYWCW0RdKfZFfheFHdPvu8KyahoSLX8soi2zcgjYV2TPxiR5V1bBk9JSrVM/GzNsm6V8w39UVZc+IF4b/fq+pc8gtezkZrU2OYoV1G2duE/FGZRcwTOsLgmDX5oBHAj1WbPYtsdll+q6Mk1I1VZpOziFXXFugRIq69JnG8zPo1DtDDOg5WWcczy8uF/iN73fMLas9zUUA/aB+/q8jRyl71I/Y0eJhzDVcrQiV1O239bPW4162JI71WuRtAI4F2hzYk4v0bFE6iytph/gjIcUBOPo0lWVRpSRgaCZAEwDtO8QixAQszhXN5dD+iJr53B/D9Q4N3tkn4NsmNWZPiyDtCSwi86vOs4lJk4RYuziPwBDbRV0vZ10HPXQZ2PHAhIW1Bv2RR0jwSbolrz2izUPDotQgAYfFHvc4Y+FFHTJLGpJKcj5cU+VJhX4sr4jbC9GzfgQOqodmLO8tQ6Bvd0ZBskwjRVq0RtT+dSJnxydcfoeSrql9K/deLJyz0F1IomnP3Edxb2f9yGPmg0K8hoFx2lZa/+VBay5HWsrbcqxr/TYk9lO10di9Ftbd6oZpInpxTkERpfyBHwi2iliMhQ243+yqxPIQAfy0Ox7gP8EK8JQNbqcYveoho/++1SArrORo1cfARYazIH9BCC/7ceDOpeF1sTSr3a+qLRp9LYDDuNhmSorPySzKVXtRuuCMv9G6QfKRAsflRr9w8czBfghaPK9ePf78RB1HdEEvzYFtovO+EUWpf3BjWUaC2LGmHsemgfbxXJGROB9XRu5jfZTeOuTUYOqj+TtCBOJDzOVsfaS2f1VeEWqTKT1Uegeia+BWp9rI4V8UFDZ8g2FQ5Bj8QSwW33d92CFkoV0iwLdsGeJWxmo06z7mV/3thLOl2selqbc2p+mX4OcyNel1qxi1oxVl16LxnvtVD2bGX9o1DCBZrD8uAkd01I2pQRBnM0rNgGHGTpeMQFxU/hq2bzXZUBtsu/BqXeU2XN/OvNdXvy01LcFP3V/W3DPopVMaTX7Fvkj2jCcXsII4N7y7qvevrdwxcMXAJZQ1tZ2Dujm4OMTn8OP6Z+vKPTPTWB/WUG7p0J5MHnToh7ddGMZ0IcK+ChwrvSbsNPdasdMelJM66SZBp2jKE/EQ9VCtlmbRGQAztnin9sY9tiR0KnpQYnJlkYFqlW+ZFJnzrw09TMV7eEJ9AJjaa4jHZ/7VXl1Y8jXgeSJ14DhLew2Ww8junQJXyVSqHLB1HVO50s6QCdAN0pdRT3IaX7Msmeg4QcpGZrXqhEFUmoBi2mI/tznY7kh96pZOvFdkMEU6gBWiYxfOz/J4QkFt0h2Uq+vq7RDks9WIaogqEhjkbn1BDix8zoe7wkataM3TDfeyzMeTOnHwRL4i/Nkqi3GyEzlX+51Mln6C6aBWCI5TJP0ZejBvthUP+eA/hHLVLEiKr8R4wltQJQDQwymzzcj1ZuWdLYAnah/5dyEgw6rtVPopXwUbfH17SUkrDCXgfDEHPRX/EDZ1cmMhDF/IUeiVDDsxDnFNZMNu7ZI1EFzKnmI/PhLvATo1QtGaoY1VPraSSgRdRkqIxTigm+C2WKFVNQbKfm3ti0S8rDiRGEjBBJTwxNfE3VGiehVqiIG82w2meV3VrbGK4jNpVxkGgZG7u78XA/VeoQ7SXJ/pFabMJzocIVLQG6JCsuDa2w3wAfYQYBYbiytoiUowGSwoOncHIojDJWL1CVDoL2sxzxXk95H5Ibtw6Hb3lqjGM7q1226HeTf7YKdhLW89UcDs/0X+T/69v53qp1dCwH4Wf1sb6WSHn9cjoH/8OIlgWFNoJzbMYlAGz4BX4IlBVd/mfYZCBszP8Ah3/r58KYWvhPADSXf8HB/pcM6Lqsqw8lLZQX+Ezcr9RBIWBJnSx8LUJruA2ATlvjEUK8jYx1bA2Jo+gW/p2dnjmez1nG2fpepN4vCSfYOmZqTuRBIsmKREeqJhRiJ6F3jugu06dXPvY5YyQRaU1Ax34yCGdDEclLYFFYaVCUjYCzVwaiheQe8HRvvqUX4ew598cbfmFxkGCNoxhYoeqbZ0fJ6KKQZnr+sKL2ni4EuLG9LeM46QoWcq/km72+FpxnbyY05ds51IUULF4S12vtooXrtjbjwMK8NXwzUsG9N3HzH00ezcdRlvqryCvo5945jBiMZ3K0vPdWJSmLnkNFmDACEYNu3In2br44gH5O8Ea1h3AASkF890FNzmznPcT35EPDeEsCCnOn/jNG6ZlL/YTV8UJW+sb/8VbcQ+z4o3dtJibkzqaQ+4v7vQWHvMwQ71Gkz/Ser0FMXFYwFFwIbXqjfstxc+MXM+EQrcaktOYKONMnoUjEzHelIz7fT6o7uvF7tKpHv5IJE2q7KCdFe8j5n6KDfiYo/F6G4tI1UYsIGyOGUG9tm+vmZiMIUp29QZ/O5+q5bel4+nG2lOW01ovOalO9PzV7dQKtV0gD63nNyE2NGjvpwqeq/YZoBpQDAlaKIOLtFPpZPscoUSSG213l6PahKzMYknin5PQOEtBV1MQHwGriog2VC6kH6uswzw0eFLApJ2Blmn0z1cQotwqo+bJVvFBt+3svfBfQgfEfEnpJmqf6aysVZ9SvVj26lk0JLFX6WrAynSw3DAODDa60XXCooQQRRI0AVitSwbKiIFbwn9omXkfcmz/ZKdsJluJIGqThJVsyZUtaPunGKBQdYIfy2JIkxekFwQHO7yfLjQI6LgTLBSpTM3jRn7I5wbKWxpF/1s8PyVLwWjkw6wDMANNSdmC1HVXNVVVuB+d02GlgCipAbrn0l/ezZ4W6+Bd049ARkaU9K0gser6npKoZMPKyMUWPvlLtVxteXicGuexUmqTDi94F/Zb5WfdVSGBIF9ADIfBTeFXuzKDvJaoJxmBTiWxWTKun1M0x8fsoo8D8U3RVrbCF9MBnY5uYgX+5Kc+2fefYM9tof4ttjU1Ip9DYGdPmENTpfxi6OmyJ3PwQ8IPsysQSEWllWkBTz00Qn0ZNnq5aPJmTHW/EEtecaZvEl9UQONb4sORKo3Kev2ytpSWi/X5BFFaeP1I++DoZl6R6OAD3jpzzA9lm6sF7wcDHFCWLaiWTgyAAYn3LusmUkX4jWM+j3QjoGmv8vUixV/V1fpoqvlPL9CBApZfefYDymw1ZmXe+yeo/pCZNAuBwY4Gy/3krx1SMo6G/cj7P29duab3XVHLF+7hW6wWlX9UPt3mU8p30TiC0fmYCU3FcIGfHzoEiXxAXcj6JkKpKwwev1JvyyZA3ZT+tIvHGMNsRFu/Sv4qHvPQpxQWGtRKuF+xFIufOV8NGfhHKWVIgt08QSs1UnGlB/FAyLn7UhmzPFHUHcd+pJeJmL+juWBBbRDzL+0FZ/II2jalgfTpofxKy6jr/wkzfEffH1wg5ZS/U189ljkSrGjDg/rtwEmIfXYmXO8e5W24Lty4YrdEXtCqXOkbbaPh7Y9I2m/kCzCb7fR3UjVXuODeD8WEgsjR2PQbwPUz4bf9DAU9vq/0GEeB+iVG4r1sEClWr3uBLulrOpOfaUkMZ+G7ij+nUL9uISjNfAnJCRwrMpC0vY+K33NLxZ2FI7g3/pxN23EjyGtRAFtWwWOnOhLjW/qBhXCDR60ewAHkNHowuO+pZXGylv7q5CpfCxO4Fx5k0/Cj87Rwh+ASwj3jnWeAXMLDjny1W47lARwz1zsShiKLOYp9+OSJL6lVAF/veW5R8j3Veks6M/UALZElboixDAsLUoj6Tvo1HvnVowDQzCyWXIIGXwOZiZoZbRaIEaBmxCALNWTo5OnBDexnXtCy+A81R5+rsCA+DD2baeENbHPzkuqf59Ji3YfPd6W1jH+Oo6KIjR41BmyeuaT68poGapd8wr1t5k+7/+o9BiVmPr82uyab9UstQn00YQLQf+2ns1hHJlaI5XOBEUOloWGFFZ045b2y9a2hEogT9eynDlSJCuSdGnIezKS8QJvmADt1NZLdZLUENZvkc62pauc4F2o/V4qo6uL7RpUwfjVq10AKPgvy26fmGCO9f7T5zVPh78ntYMMbb/UxF2mAEwzDquxg2zU1BLo4ojw/27CgXiXaL56mjmAt2+V/YOXLKkw2ztnBeseiA43dZIXjx0HUM2NhKLaRWZbLGOeghx1RxejJ0Lt8sCr50pGOG04SA6Y1Hi418N/182T0U2Jror8kVvt+OtFD8KueXtfg6lyoZevWGqf9OMa6DE5cOs1u+ZT9ZzZPpOzwH2LS7JGia8oDJooa28PS/BpHAramtbv1Ro1u1JQM0sF05Dq1CIagN2mIyszsdMit3eamj7vcO687yOZ3HhF2IywEUlhK+OZ+kxvJUKCRqApFlM7tYDmJ7ijxSJ64a1WqLxOd/J1Hh4EZ+IKW6sYWZR56xaQwl+uA+TcIaGo1MqOF0PtClNERjN9jSA/Cm9aMotVA4LTK6JXwiLzWDJb6ulv/splLciDMnF012brivjwoLXOM33YC//yb0WCBm7ja8InqFAQx5joZlBHvYVT44HV4uaPvBcJoiFOdA6/Grr/EcqRPszJqlTguWKptL2R11+iz14rAsXlKRaudoix68qK8JYT3PmGgc0nfSdmYiO5F5EyJzYNoylMt3DZp5875yfI5nnvH+RNrb3y02ZK3Pqj67dd2Yf9/MG4s5W4nFGNAtKg49LH2C9qR6/8hTYNzYfJqGga9SmRUTjR/50GrFT5mqSDHOh43O1xguT561QEcZWFkSYkp1c+pZV2meu2QBLkH9qvrphtVYXX44NSOjqR3IB3k7XHLuuydQbjZR6ra/73pRslbcsTQUiTNaVrH0gFoWiukvhDvnzj1wWOry2NUGx4HegdllUUehZIMyvBsXDH5QkV4q9YHHZmcyoAyrctB1iOCIw4rHBrLxdO1+MNPeiNcxAminBygc9kKIV5auYeQVLgZQv81gVWTmUvwOLpnt6zGJsTq9DlEG4dsojhajTVAdgLqkt27qYPvhmvsaj6igCTz7VAPXlJoWEVEPx43S+yJ7FMZ2sA8w18AI5vBhBjmhArOZ99tAc19r+ipn1YBvaPUmAAQanZ7cd/80Ka1Mjf6RmBveFGS9Hp0Yi9SMiHgMvTYwLpkGZvt+rYBWkdEy0gHClkThmdG0JcV9aHn33LuyC2qjnpziLYJDI7niuee6sZSTaHOQ8k6QzSYl3BBRgwN5X+ggxPI4VGqaVYfFfJSSjLB23jLlw3k8/Wpir/V/1b9wtWBcBmeo8wb/WKzjtsa5W2w5fL3S5wLqMSn3MiTN8twJZ6irzBEllyz9MNJa1QuMDvAYnlCtGXEplu/Kt6JBOrbmB4DzI4CotW+JOqhc2DwxtgZuwtY8+5r/cijga7TWz+r+S6stmzHxfyZo4EhSALpeALSFe8Wvlsx3NvupBVGHR50A9tBBsmFtf3L4walNc68q4eGPs0l/PkIZ1Hnc7HSkcoPX+9gK7xlQbuyXVTgZlRsps4GhFoZwSf0RFaUhWtCSqvc0j/gK4CfstPdhg35lo071q1+exa4WQ7ZlYTeHLgm45/IOIvOYNq2awcnYJvXv6MMv35lNKrXW7lip7j+7+mLdjNDPTPEdKABeonjHx1PxfRXwWGPnRYFhrIyup8k1HI0M+3p/41XzPhXqp1dNoLxvEnkEIicvHhbtAorEJq6AbHnGmYPuo7Qmuk8w2mzKIqgUphGOtn17IQ6mKFh324GXWxzJQdgBnz52Balo7ruukvlqxTjUINiKT/tht3UAoejSQntm8+a6RqsRsgSemQEetoHzZxyUNl0nJWrkV4TukNLWV2Cfb/LM+c+37RJkeE9ri8Itjudxfr6pl65s3wlDAtZtyNHz5SFFUNiGrz6lpBMcbtoKcW7yoh5K27PcHkKix5FRelr6J3kQrnErBaYHpOKC4CtuoIYiQfI2DDwrWGqU4y/1h268pjHilx2pgeCtgxtmbwcboxcFYhEc3uIU5edwsLUmKo22BhEcOrUEfywjaP7zJsDesLlzU3YzCIhECq8vyJ9IwOIFDv5yYEyhIO5ADpviOSgXzzL1mMXzmhNTkGJsANHgL3zavy5fZ1UNWcgdn1V84SQxhLFQphJDaxc4cdhRiq3InyDZJ/+I/Em+nsFGfCQcc2f7I9nP/+AfV0fWG1QgO9u0rqI79V8u6loVTtO2HimfdSP4qGzvDcJ18xIWfnruMXQXfEuclA5sCwVC8XIIcsxvEEltVFWH1i1e/T4QZj6DcqMbVGlivk00wOndzsHiftEnSKwWbhQBg1hOhwuuqe1UfMBJ9dIw5G+zw5s8qDDtV6rM9B6EZf35wWHyKWfFc+s6LaKW980+7+Le81ylnWA8lkNdN4r29KGNjQHsMwwVm+A9gWrAL6xEJDWhKvMUD6gbhC62T91cciYcIh/v9w/r71Y0M4zT+tqj0oPYDr0oaavzVrP5JJ9gnCnI4OTrF+lej2SYg4rjwHZgAwervPzpSPP//b5IlPH52V9gbKwQR9pVlVyJNaKXGNrQGeUxNwAepISPplTQqX7iH79XxOhLU0IbAU67a8WXockqt9l5MD9Qq6QzLPZvIAaeX/nkpg+0idN7HCCyOrMnbC4rmS4QCnvgCENd8Tl2BJlCJvb8uOxGc0eEH+61u7gU8Ah3RhZfXze5eKn09Ug2dXfO45cA4ZGPvKKncu6UWXFjEoz8ZZI0irRkQCMJXPRTOso+3aKrmxho3MLKVxZllrGNFZZw5q6/WBurzSY99uEuzGphNpJeYqZLKyo17qXNfauKN4gFAajLnh8P9S78N3ozsoR3qePzd+k8DI/T+NMnpn4AIG8pF/O879MEA4ghmRZ2jO6Xi0iYOv92A/u/TEecLhxp5Ugeg64Ribwb5o6lWctcPS86DMH216K7ta8R0nKKXGucBIRV1nAuqjX9K6SMfzk9/7nvct80bLNgPklIU9tJn+Qfd3oOFqAciBMhRU0k2+iaKKWG5lukUZFMQbgaJZCTNbXBjnuIXtGGi7ytICj/PanL+BhxZRdqHmOnWlGDfxih24yzsnCzzpw/QmHijanOVjQmVyvFhQyYnFB8QJb8h676CJYV0drMpgE7oRnVJoTl7mWcUs3D2EyeFozrB6HEq5njf41REfAHXrr67RAn7DaAUB6DFIeCwcgEuuB6dmh9ra92itU6SQHBvPVMnBRDIK304/hKShhLY5GolPHcujadRnd3Hx4qg7zThCwpR84ANVXtlnmIEccfNsv8mGq9lf41lygtuzAeq6XDYFMNdCgCWCLoiQkJrucG2LTmnly+O+gAmj0AfBNmyeYGBezmMRaLQdBX/mzRE8ZKjcpHU7BvUk1Ai8pysID2meh60Xz9a/ZuqP4kM6jNX9spNGxubpqmeaFxn1M1UUpR7TPQ2fDd4fVaRmgIVQaYVt64c/YvHQwCYR9QogQontq1K1LfQLeoVnDV9K7JhClKAQYdP1kZP15GL0GpOzETvtEC4zq4kELTJEIFD79AjSGjkfqGnHJU9HwQUT6PejiYswjNb/JJ5MTshPljP/jRV0pH37s/NmhWZg/d/Uqpe1HzmqEkTgL91C+3xgX+LHeiy00Cwl3XUL/MvuLcNKVDDxdU2ZG7j+e4U8ZiYonmHrQka/GgwxH0BweceR3dMuh7AB2pWkkhl4JmcV049Z4pY9hISLusLigUSJm3up19haZSXt9p+wiSPrRL1jKp1YVcN2C+HowCZEN4L7NKtz6vveveeBrw1JL+pFYcbiLzhXuBHOm+cPG99GKIRodAtILpLlZljVV/pc1JPSocsGDtvAFYXjpgc1curc1h83e8tZ6gu7pMMtj1ekKEobo0ct18FNSFsVDgVWqUJp+XTk+EWePQicnOvWyMavGBKeeEw9xHFnVy6yLhCFhh/+NNFHG/YPNFgh73sULVl2UhtjMYaeNQ23gxIV+ALa55sI5QWN9nJRP8KfgY4RgrLIlfOCL1ZE1CMMSDI70Iar+y93GnWz8MzcA10oei1znZxuGsI1VDpoJlyZ4RgPHYsGdW83jWjy9lFwoGTgyZ9/8wymOLnHK5XCWMrtInNOuUg7MsvN2Gm4vJ5qqqQToEqgQ+Ax/A8nNf2tLG7YMaXAQVq7HUbyiLfsRY11x/1vUXTEmzf/qYXprVUIGzpxcUhYcAK8q9kGeUDZNdRmnSZDLGuCRngCAz+ow/ukHcG+rJZEQ0wFZvMuHMIYLwYdGnfB2pDPlRUi69TevnB82V7npElumw31bUQmXImYjHUwtqElSUiiOSiKRPZJT4pP9dUtGhBhELAX93zv4dQWXwCwIKMLjoBcYJIKhVkLegxqVS25OHUPxPSD2gDsGLrm+vWc4f0JvLqI4cw364D82GFklscYV/qRgYDgr19S33WyWKumrPQlQg3EsLWJlP7tl3y/fkUc5vN9ZczHCvi9rZXxyhSBfncMuaxzef6X248iTQOwUEqe7zl9GYkpWBIykXe9TXr5n9ooT+wtf54ZC/IQon2HMTWzwNZ5u5U0HeDUNtprTtSPCSAvV54tqAygSSpQhe2qoKKe129sV01V3wY/VQLvndjxH6SXZjFzwQiY08rBS+kZi6RLViaaIEQ5MvFkc5iKnqsTu3AqhdzqYdc5zZJHr2oDRudufgYmc/2p9EYkybyVB/PTWAaa1ZGgqk9EKXflc0wwo/uaKCeNRbTE7OPspuHww9gX0h2jZ34d/3NFIuU5anKGD8y5/QSeFN0fbRrvxdVfeUlVEzB4qse/VYWbYiUX0dybq63rlVQDg8lxWp0IzK1KBDr0kmIhBlfd4O7WyC6bsvqfd19uVEFPofow49SmQAb35j1RMAIra/IjkrKQfTPbJP84zJaPxp3CdXhr5qmSV6/JrUkmbiXiCZkPMsehhohd+3EVRWYYx75BtjQ1xu682NlYok3I2BVkIYW+sKTlHXv6YohyJXwZ5zMHHNL6E6ZJTAZxsH0KCKhpt8i2Uh5BZ96U9ccVsn7/7oXIwAkAyZVdJxzTGnDyxuScK52PL2rXrhRNW+jvLoLRzABoupEocQibep+WO6OH9OTNAL4cUyfmZBfV80PZI1dZ18cWqXw3InuWBvWqSKu3HiQrgJgSeHVco2xSzEDTslm327HNQGj4AdPdi1wlkfM2srfbARO8WGXKQBWa/y+zeH2gYT18Xi2yaRhxHHIbQYthBWLis/bm//37s4K+L2mYAfKg9rF41lWxwxCbdd5B0jkXyz1O5GdxuXg920pX0zxJWerL1kYTRyXHpida1AkeaiHFtNx/HxUaD6gg8Cvx3rlHlGGbYIJOKcNnNxLYHrjBIs0VAqBqQNRdqEeeSIr0R81SjRDvHcwF1MOCUw0/bkslek1M8OLLRgF3LJ8pHpNa62S2Qq/+35jN63xi7OQFCQoWAjj40lTxEySrfaN7420c+dXP+d/9Fmyjcgg4Df/LtNzZlmW+ykwivN91bqsd1Yyd6iMyJWoRMk76SKNCkx+Dm/ORTHgNs8ic4sDLxR8ZQRevFDMc5ZgJQMhVajmRH5w/mLRoQihRBO8IYh2hmqiFy2iHeVpBlc9FXY06ageraigFrPW52/jABXBqoltTENzynjga4c331YK7rAtxHu/IIoiAIYShnzT4o/wOGSL43vIi0jriTa4sDMCjIORI/040QwEZfNDakvlOj9RB9s4ViwtoQJkw4SMwLst7tDxS4e8YZHOYP2gaSWZlPH16zAS1+DWVAVZHyncPwg2yq2fa3xJgGSdpDqPLmnVZ6x5WdN7ZhyMdIonGfd6Re9bVu9sjujhXOa9WAiO5d9i5fB9LPD1Hw6nIGkQ8MeubH3zdEsfE2ywJYGj5hLCmMe2QTFQ504DI1UaYSRZd4B6/np/3LvcvncOTAlNagW4R8qsCjtLrLe/4FHwEgG0VbDDZNH18iZer4JVK5wN45KVQSjoJrgGC4CmBuIKb9e2gVg2nEuPQEbkDAPx7g7nVsIJFsH2hQ6qL0SBky+c7WAGkEsv/0X92b82oO0OsXxYNEbZ6FMRG06Pn4gDnHc4os9SSb6h5mtAg/1ZtuKFnIzltCgazgrr91UvmSEdwW6ofcSe9SXkdj7Nn5rqnlOVcFZ//VjhanBrob+mMueqNBeneIqejr5jSZyGxrOstf3DX6iFbpj/UQi7jaiZNHV3JeM9ODMzblGT/mwjK5ViD0Uv6PcXkxIzp6ZeHlhArYbYyqx0xIMlm1upeZJHT1TsI5Onajx+dUAIilLnS4sbOCP/XPzBOdJen1p2lHR/h7kvT5n22ML7rPCnNXPdznawpo9Qr3DCgUUxH27bR6Ent1Q98SrPnhXg9AoRT3um0o90+G0KY8ZPfA+5y47q90ZsariPtgq/zGWiGymQObQLV0MKLP8Mx3Hbly9FmxODpCuVrY0q+ZOthbVlK8NolD4zWnK3psZnav3a64lMKkuoJ0bTdHklF29Vo7V3OyuKchWrGJksD3ynON8tzCXsmS1qtPqYHKe9g+iLvJma6Y3kY8r/CJor+v0yIklZBnR+fw9B62tclgxarAvgu3iDEOvkjMt86mhW2fY7s3+VXxUPuwbOmp2i8jws5JnEsMItgGJ72gxO7cGLX1eYB9RITZWxs5WS0olRamQrTARYlbbN9ezfMwB12d8lmPYq9T9PmFGci+wl0I8PNS7dtAudVU8DysvFauY5H3L0NQhH4WKY6Qrul0qeRXKfUoesJAgfaBnkSWQGVmQEkDHsMEq6x44w2NKaIgNWwTxhaiKWodFpawBcOe7TNEDXiN6RSC8e8vxUcdQ3ux4J3XO1GSK/jASutZH07xnp78ifJeZml65K8Rly9uGQYnHsrhwkggIjDjt9nyqsQ1Z9yEKdHCxwCTHImUpglB2IgN1HWkMHg+iibaQjvuFaL9Isk4sk4EDwNAZ07g+JDWucOYQddkq+T2UY9/PvGkESB0eKLpb9SjxFNws890Zt58xg1XCcLqEOi/eI5h3/dLLUasnYkIIQ4FE9ORysJfQ25hFvhxo1cMuSiydUMHNADt28puCTiN8nHfq8xa1nrwPMEAhTj6Zy1Oeql0lGvyglkMgHg302AD4RwdNeWpfbS5FdxtRyYqxBUUvZs0nVDU/YRg+6U8MqSjXM4Z+qzac8TtyN5yZz+CR7m2MiffhCU1+FrJbjoSZBVlwTz/q5UdTyIJPThsb+B1PurwxJzYEgQFrW3VQvUmwB8rtibvB+szytO2UXPWVLplw9uGjBeIT1ytN9uytbNGrEKlgapyzlNpWhsPUkcIPyMVq5xm8wnNsm/C4L1/Jp773umfpRkSXvGHa1SNDhGGF1W6xCAk0Tt4m7suQK9YaQ0V0kQEzuhEU4cpAvBAXtp/er8xTbrMJIvlfUz74cX+7/e0vhLS+awkiqgSCdsR9y6ucw7qeClNiIuP05Er7bRzrRwdLPcAHr3hseVbci8XWqHfiyNB1DezZ2nyGW/jWEfg2PFdPdrykYhI1YEIFI+Vk/j8hLG3sXSXoZV0bNUyaN8S90V4EG/kddkkb5Em/Anbgp25kuYETnOtHPcsYeK5urkxYmdAQrVG23FfXOwlT5cZwWYZv/zvf1haIITUbIvOO7LZodLdMkZUPcqRISBoTPhf3uxk944OwCNCno0rjpwHV6cMh9evlTASI9+TKpGCmqCZY6YfcodpmJ25Ncs89pay9rjUMoxzv6V7lXMJDP25f3Aof50XUQiQo0guoqaJXZfhBQvnCKR7pKjDFu6CcxJnYs1DsWo6mthM1g0zIZzVY1+9/Mt50edzC5yWLrwA+Nrpa9cMh3GoPBa+Jlg4PmsLU/APkZh7s6XNZkcYtmh61pWHi5jzV/Jf02l1HBX64pxXiCsrIlO2SDp+9a3dNGIE3vW8YDBTwVv0zk9QARXqzjOYBMQdsJSN/MDncNxUxXeOiKAkwusR616WIsbFDlZ9mQHTguMDl5i3viNbmzjc17kKDDlmLwdHOB93MufImQTLVq1xSNongk38F2uPRjJ6O5tiu8h69F1cAmXmHEKwDqoKbA5BiTbR6dg6DE4Mk7N14299n/K7lRhpjUaVY9TeRbAHbBrb/ZKfQVfdYaSwysMk+OjIBxm9wTXHYIVBy3C9pIsXpv0FGOa68meSnIa71QRPuRplc8eFaKt6y6HDfouRC54YTeiedisY/IlWO6v3TSqckwC1q8uWuGFW95IM2qbGwprG1NjtheDCppUbLyWnLIUZBIOur/HPF2EtU4Ma/gvV/RwQbpYbj20eITtQQGRN6An+sebHshRMeGYT6ExVR26DzBd4llJvMeCrwUsIh4dT7AuztFZwDLq4Qr8GXXz2ZPbe5JlF8OUYnp7xpObpF4p3HsNa+I/6cSEeEaJQ6pleQMxD3VR8UIKDx2y2wKcFTl9B4hVCIC54VXow23O5fl4j+4fiFUclj84oRT8GLdCz6i9ZmlMIVj4LSiRxTM6Z34niOqAiNd6x9GSHE/y1Zo369CQZECmCAgeej4CFK4i3eKMGPRrISlUCtaQAm2IVD1U3vUHt3GG0mrMuIoRp/P3pCQnQ0tShU9UWlpjDcoMrTa9YXeLnmlhrBINwW008B5ODJRvU3LrBA7ievAdHeHhcJNAhv9cuHlgJB8qBVC0X9FyQV4d+7h10lSUZyQBxJLSOqCIhctlJ5rWbPsEjW9OgpEmDUU15HNB39vXnxSjDOQjrUrOouXhqUrgVbM0CIEpB3thKN9Lslod7RsZJmYWEV0vgGQs12K9BU1+DQc7palKjciyoH04siq21yQYbWlDidrKmE6bbInhv06tO2cN2c0xjk9sTuhI6fc5rXuFG89Smp3S44PcDNHxsVz7JVYdoBXEa9TGuLoefzyP4Jg4q43+lX5DxGOq1Cr3KdH9MYNE5z5bwNEjkr5e2RgZFSrmQEzyn9QAd0tc9+b+vMKQyYCv1u/jyD1MiUXdJhs0x87/Vm8dtjWonF/4dJZ3XuhPFr2JU/mHq2IqGTn0pa/B5rLlnVhtPrhKpTgPT0eDwAPRfCyTApeyupIpwvJ8NPMG5Y7I9cRQJpfwUYacDCJcmqR3CikogGY0dMxypGIgIpNbcl5a+nXgoIGslCWy+WrvCeq8WfhNEPakDat33TJqogE4BEw0N85C2t1fLwfF0UmyKd1BWc8eC9fnh+1f+ciWAD9b3h074DUuqTWHmesrm2KIL8pAPqq3RCdOU3DIm+FpRNxxqztVhoimso/ygo8j/uqxcCK3AEQUp6h2BlWsh4q9Ve/Ny/Hbt/HwoHilNXY2iL9P2ymFFwyYJq26Gqa6vFZNFl8Ow+deWJr6PcE9sRJPILHfRdS0nGwAmLTGmUBjPwQ5c6UMeLR99TrHoBZz/Zo+teUOwuPSkYfCVeYFytj9mQeP74UAfLjHW6Iuq1olBUNl5pWHhXZZUgu1w3ZfTevx32b7nWJu5i8nNiPeRx+mkHJs08pZEAes084oknrFPnrl/i66Pr73pK2j0YyyQ0NqTcazDc+te6PtP42LmcovYuOAwUoBFNkfeJmVT8IgIPltMG7akP3qrStOhQSPuwCxmjdwFPxwsVJSHtEVv2RoRNGwaLz/R2ii6Gr08TyA1vSaYiMi2LNTQjdLraIOGvdrt1D7SuneFEshWaNSofThnlnGU+UVx16Zlb9XERr9NpmVJNGaTR0YP8qUObHoNID8N+bPqXTwl2DY2ImyPb8O2N5Qry32diGpGWsdbimkghE+3+MLfH3bJexbtjO8o9U3O+NfGBrx1ZjVjwJi1wfo2g/UMMXnjwwAr4oF6aCWb/9JF9VkviCgYxdeBUNybXg63mO4gvbl7+errKZodJMywROUmFoATmzJJsG22ov5/lQngRTNJr6pmXd4JUeLwjp7PVHZNDtQqZxfv4Q5ybZ893InORqWY0j7WnvgTiVAe2RqZwQzofg69C32bC5B8CllgeAYXEBPJBvH5xuuP0Aa9aIeqvPrb3lygZ9HMQFtQhsNtBMlQhI9YFspHkmQ4XYhTipBh85EXakMa9PJ5hmBrYjIzKvStbslef01B1fR7OnJ0BjyIfDxUF4EL87+iFk5MKBrvi9B3tyV1xfdMtKFU0+M9GCxl/+DLdjdQjUzG48XPGdjXt0QeoWBF0218SJQ7kK2TCgvcthi+6mU0+x0j5DA9275DvMpD7py+sioRGwEIDsFGostCUpb+QwYEoGHbIDoQfxOiadTPJ5BjlWn/1eDiecSYMGsYEX8d3VNnXISwR3X+wg7e2wgvynWqDdqLTOfynWJ3wzANzI8ofsm9a9AXgWP+pzf8TN1nDMrwsMw1f0nR0tvh+aJquXkdEh3GUFxnY6jGjgE/u17wxIFfkyZlMeMMPysSvsFI77lMGg9DkUL6VmBI//ovy7lk+fRGZ7fETRhTDe9sc2gTCWCKeBICOKuXKTCN/Fp8dFV3AWdHlb7wggpVMESThqrY8qNNAhGUZuDp31FUOSb+UtwGnqpwShCPvAXh63r0+r8lDtG5u714OGkyT/6ieQQ8cszbrYVQ6hW3KTBqHPSEcPPAPpTYTEHn5bTtXhZkJtbkH/kb1GGL7RdqwVtMCAStkkr0fM1gF4W6bdCKCJaLUJ7QZxx4xGFLkXxg9iMRfuzFy59mWhY2QddzB+uUp3i91KB7yCtQ8IXpnY1AJXSwyNoi7o4W75X6g3Ue6Vkatk9NYgbVJg65RGzPQGfWN8Nsq19IPs8nF0e0rlIL8n19a1V0WQBH+wjtnt1NPKlRBD6wDUM/zVciRAPSnf745NsUNTZE2PUHXV/ekjx06tPE/r2Yf8yJr8A3ykCR2sWgnReCEnlXKzEOh8rbfC+fz2+nB6QxV0LSQlayUyeAy/+EYg+whvHbZEhpPF1iFMhq3dlpyZexoEsTtRAzhPUw/yDz0dyWvtIb3vyczdBTRvOCflJSoGphHq/sHCJrKwx0HOjuQ58bJ6cV5kfojg+Fer8gc8tF7YNIMggs239PXCIKEGJxNVgTiCzp/+93Z8OqjqkD9w2fk6Q+Kohkljh5FicPcmHqOoRVBuPPKlRMGEh9HBTKrjcZvquH6CDH67qBmvuEcIGneRpk3qjbgwJ+1u5rP+nA6E6PzYH5hyev007vWIlkiYIZPr7opkA56cCC/LPIp6LbhuxEJZCw2esj6GeQAHpWXyCFGzIQAlgfRMP2V3P2xmTB6newsTVTNK6bor5wY7X26JRCwtaRVpKYR66O3yLlk+kgpfpdGE8ZVk0Btv1eblfDpEnf/GRnMI+yDEToBzgHxhfRY03oLRsplpOlc5T4tCqkSJUc2rj9xJAs/eg2I2/RHnXs9BY8WV2A/rLxFhSExozUEtNlb+Bl9h/Nga/ZRxZoCPVYtXw11v/jb7IlaxjjC0Zl/OkLaJtDgl3xAdpbRRUtV+ezuvnzDFRvOL9YOHwl1x5lHIXzWtOFTAxGAnCRZ5XLjTSe+sFQglN5JdzR0JXPWV+0rwdJluw/zj3G82JUKRSy+erc5BcFI0ilzeYGvfVRsFCgsFQq8ypIALBWhV3JiEilOcVL/k1rSYvPYDNcGj6XpEkcRDStlChyspxKc0YDD5SasN582lzIetvxp+DoIFaoY7S2FUQLvwMWOHPxoYAGtPOXqFMgNxaeWohzOnOR8OL8d/GNb0Aq+rlgKUJWGax0Pujqc6LTvzpWkMTN6aqBG8p6YiORw1/l9CyJGSugxzTUoBvLfnktyJDSNouBARwv45kO/rivk2X3k3dlWNRCvvB6BlSTuoVabpfLWlpMlJxagmsgHIAwsJrAkdYBTJFX0wiNdU+/pqVJmiCkKVMBl0TzfyhE/m5j4q4IJHlqZlNJlpTCpm"/>
  <p:tag name="MEKKOXMLTAGS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1h9D1Z5GDtPW+wuCTrU5cbsTyeRnoM7v2+KYfNB8pPDHY3/N/nQDLg73FVUjs5JX80ZEMdZ5aXYVE2SrM7ljDixtoKhF4R5tzsuuZUVsHAaZq4gGW2zqG3WZu3mdqAn0cgoB0oDTzMNKP8MDAEtbbyngw8MjIUrUKSBlUy3otxcc46qFCaK0dPMupjWH0b1Xm1YD9xOjpgzYBk6KEqqsLC8jpgwvfJil3R9fUBSl5HbHAz9mLwUrUSXLW2Yia7kiScqo5CduendzCDM+OcEud4AAZmjxI/uzK0hCBeBfRMvwsL8F6Yhz+1Cmrc/ODW+uZnlWyVU4TwgpR9bvIylD1c63iqeIMitHJHu/xLdlBrCzDwVJ33xBL+CVgG1EzfBCpwmSieHv7kQPU86ArTiqCY0lnFPKhSyH86rODJBWcav7G4RjyAm/X73ZqHGY6V5WpaOXfHGzX5dNwQ7w0ea3gL7tsenRfIOLbG5l41Qw5OgD8HRfQKG5ntjF6kW4JW3q2bMeT38n/Duf5A9K2z1jFhCjmk1rWh2ddcpNlR6lNi8/uHPgLr9V5iyVr0JapJXmHYAhCmoBiRkISCF81LxjX5xcgqGR4qc6d/erhc1xW53N2P4kUlr4HwUi+DPW0L4FzSqgcJvBAEgcFxt+AjAv93Nr/EkyzuMGKqcc/0+VkITaf6qjVWba8wAMt7RuEFZ0F3WG8cHqxGfrvuBBgDakm6SZx5KuPMYg08athkgxQwl3SrxS4V9nKIN5JBFj7FNSa6iS1QyTBWGOva9zuv+qp2olGEApMtzjhRXxQ8PFxsxjsThwAhHXuLPpTnbS1CB5UgXTmxtRM+u3tmdpUOsdtbF9Wjg9utP5MZLezJOL4Ois19qKAuQfnEutUflm25IRlsHIbqLdcKXA4msHU0pq5JVVIfKS+tzUVPhEuyTwbs6hxYm7VxwI9w/SvyjLLxEVpGqE9Dqtyaig4trXpWtCm8mFtX1D7cU0zTbW39h3fDAoCyC94odMa3TI6VMJYWaQH3xxZuDjy6wvwOwe0hbtsHWnbvGVt0KVDtmTJSj4gajMsPmgTfVjrGzHHvrv0fISj6zwBD24DrlXzNll7Sjvb3PjVHYTMH7ghnU1U04a4DlzkySPCwERoa6MoQnsV+hXe8gzUgoXNNmn/sNu1OSg7dvRZkaerh3pdUo9H5uowrpvFYojxA9FtJTob6Lh5yezuyVzRCGx7DgOXJxuVVCdGHQ/UHvv743vAk1R5PTZ45BkbUi/inozCSFShTkknrcNmoDekvMP6C/c6YBzL6PN1jsshjsLWi3/RVhjnILrqoGuaO7EAGS5WnlubWsUZPjHDUvDpSo3FPzCXSd+fKcpPA0IuWMLY48ScvjtVf17+X93ZwbBYTkYCXbcVw+aIMIwIEQVnxspBje6J0SLj+CYYOOT+lN6Ka1kgfD2xwnG3bQdByRzhz4h8JdlrnP2HNEUZZxLO/fov1+8ZhqM0wBpm9hMZZkYM1SpktlIZ63GgnZlp12wRlWIG7OvN7WXjD7yReCXDuiBWQmKXKwpEzze9x2hWxUvFrWKDEVdkJxh+1vFfCBYbP6qp0e9PecfDo3I4y28mHIGiBYslMgvglN2lKol4NlbIDB7Is9503F674tdk5pp6yFG85phIyb1l+TwDdv3h+SdF8e/vLUikq0oMGnYo0RPYIKxWW8KMGRQLFGh1QgR/7Dy4DZ+HLt+ICdgsZMWPHVNjLYd72baKTHv9oCAv90hZn+jPo99RNqjAe3FuFUMU89YXB9RYAXnBRUDDpqbnDDr+0Os0hTZH9rerUPfC48Tb+S/0hryKygvnoMFMjsecvRQubuBQ55jyoj0QXmp6NEG7AqUTr/I3PjYwgItu2u8R1WAe70aYE3mfL2pO/y3WbmQtcIm4WtLqWMabAz0C5n9cOP0hmp3PWuVCeWJ3K7Su6Kl5zwYKD7HwtS831EjFzqm8Jy80xibnyGmix05QnXmlPZsw5j3qjILAQ80RbRKMiSi7910731LbdkZn+xpnnsBz++eA0JCO6+eptRzOnyTqaYq8bPbhiaE3+CSNc2KaxVysUPG+r9hYp6rXxtc5R62CwOd8ibJVqzyXgG00rQazdq6np6C8nBvy4sdjfe5oHWSHpe8D+CJPmfDHGCumvyIz/JaSuwkxVEucyKXmUL9D+y32yvI2GzD+GgKtW+D5kVx++vboW7a0D3fLfrRvxf1YQynFpyxHWnPWE3xh9sBlWnz0Ku0BfJwkbZ22jb0rZkExoImsACn6TsgPNhv92R1Umf76HpMEpjqDOaVHFtcCdsoGKVKSJbcf8oafP7YAZ3IEQrHP74Hq3aQCyEHIq90pMpc1LQDaruU3Nns7LcRV+cnKgt34v0IJ7HrF5XlxZ+2MgMkU73u8Mie/LtZMBwp3qTjwBssNAcZgcFYljetP2i5zFQ/kEUkIpG0Ns6QdeU0gMPhKn00VDDxe21RgVvtrrqen/7b68a2lCbBTASWNhA/k45zGhmY0P6L+mPA38x0PBBIqQOxQeM7/49+dpJ4i3nIMaU4MAZJzUhX8UVJHi1hUV/Mjrl+h4OKC2IJSip0B5TTUNJzvLEFo9UEbrkCvyAAgbc/fh4VX1GCuDObi+lka2s73ivuLihEGcZT8EZ9hYSAP0C/Q5Y92W+CRPhIQB2oTaDWqLxQfeoxuJwfyGrBRPThNKRmLFZu9JkRAvfeDwTsJV1T6xNcBSMpJo3WHHrnpPS8E1ndUxnSMHlIyB1VvjXOtCqSEtbp+0NvQ+J7zThiSOHf7mORY8sLioZ3Dkyf/25PXSzZOlaM5eP1lEWq7bp03wb/te0uAFkA1Z0BuXNYyqFh7IHGkVim5oJwwJsgAVgd+Y8v2VHpBQBGSdOLI6hpWT7ox2gU84bR3iw/P8LVYPeZeqVScri35D84/eEL5GkFvWuPEx2tTMgOy9t/+EkwrJQj5ZeyXCcgYRfLxNWkygdWw8gz13w0z/tHkz3JOc2xKOUxLadP41mtZAcv9FTxA+bfuxvACOZgnBSsV0oY/7mgiWrvOrEo4UO59OD3Ftwcq2nqDyJMRc/wsGwVS2+YCu0IkbTYv4Zdw6eCJ7+K+xMPElmrMewuIKcdqzCv4p23oTh6pOTg2ChSp+6iU4RX3dsFyjsE644fkZylGoAWfv8AxkG5+Xv/8xgjSb2fa2p6agy3MOwrWuPLtopDjv2Il6nxP3ku9x9Ub6jPOtDnaAyPgOTni2RLUuDiSXtA9jpkzGqh0PfEDoGuGLBo8qup0QUMXj6nPk7IZTwaOuLE/bwr7+lXJMVn/ScEkzprz+wVPK0iA6kNF6hJqNfS+EuBodI6z5kopUDnL/bHEsBU+ZUpG7qtOux5K60biIGmq1cnTUTT3ZlYwT5znZbsCCn0EEpOCxIIz+J8cFvoS30OAHiHVa/Cq/Qdq4/VT22otxhZJ3J8nk23bjwrtYfv8sj9HW8WZmqj5aJxtg+U2sg6EmCJqCO5r9J/MaPSFUwzvg8YQK2e7uHWEnCvgOtIx8BpDfiPD+AguMCUdOy82Dfw6w3Da1jYH5uSZXDmhBg+CvMQjRzLSQbqMJMjolSVVMlu9l8XL9n2UtscOc1g/qjPBqUsAZsx1ScGpas9Gj3BYesJS1K7P2Y7tc9024Icynh/+yJE0RPi02Vlr0MIQvdprKYBSYCwyiVp2fyn2SwMJSPcus7Kx4r+Q6tFwsDZP6zHLGXZDgdWu14jGH0TfKrx9dgYBVmzKH4hOPk1E4WKNhzNHeV9+rx4+qDyQcyS6IUHs91rsqgMTA2lOwevF/6tfvFPDN7+jQy7FGfTxI1nHVgfKM+wDWVd/u/Yma7oI9laXKVsundMz4QlMfm4lbss92ZVrLOQ6emwS2KEoqTPiE0Xlo2fM+vN+ymC7i3vKfrIzcUHXxfVk46ufxitugxyzlohIhABw6zJjM3xALW0mVdpvHODYXAX2eg07xpUdY5j8dhX5sC7E5Cyrb63Th4msQntHUmMn0eJgIb2LhfD9SpUsD74Hi4GYPo70a5933y6Gfe5+iHRTcz3dLrFtNBehZ78S0d4XR3vqZy7Qe2YQjgWCAh/Kc8anFvOM2NTgzZ9gm+u532E6Jo6Rh96KTzqLIi0tgI0lYI1pyXBVka7mItpgmMz9Mjjnn5YvEUZ4AwVGhBBeCXXCl+g/UlZaSS6gDIxDM39elc8EZBI1BYX1w/KyCLgHRtJ0W8wLzW6c7EcemTfmpOYp1m3X72R2NR9ycETi3celTtR0pEGJrI726KzIGOWTBHCGPgKqfOZNdDdo+sylOoZOQOkUkwkbOTQmr6U+kxqDyXbyS9ovYcNhiJpiEWwL6RuhifYT8QP1RJzxulrTJBznecRpCap+4dLJa7fKOvAS95QqBo/U2qo6K8biUzpSQ1XvL6JcDHtnivkLiqHbykfC8CVSQM1eOxXyQu75KSOH1duV3vmrRSTt5AsClzEbQsWazPOv9dt0Y0Kvl4KMtA3dht1d4yT8Pm2VzWTe6OAugnFHPADORSoXCyNMhryZbvQ0lLeB07/Ze70fRh4F/Nlx6OSb2rsZ8d8pnlesgpSJNTnZ4FLem+9z6r9eKa6PjnESU9Pc6ent4Wj+QhyPRnjMznIDCN2KejtN8Rr/HDGahu6bM7853T3zJYN2NK3gAgNSnkTL4LnH8Sy1RvT3p5nYzhEVkEgo3V1npI4ctzwVQa3cpzQVvAac4cqYr82i+2SNyzi7eXqryhu4dLJ/dFl3+AGPSF6Oms1h76UbNTxsK775r1J9gPkd5bJpAU/EV3LaD07DhbW6X67edItpYTTHAGzMNWUiTFL5lWl2ISQuWOJXiyViGc6Z+P1CJlWAuYsXaKXfxH90/a+OhGy3DGHVoWG4se9YKjdv7JYlPNm3FouNrcFKUijH0at7gQtBTnzhofoM7RH7sUmjHVeryAjs8H6Wwr/kv/66DNZ/bD67nc7uV1Y97pEGRYbb2L6OG3zALaM2fbENoXCvIHQ7Ted1SmzCBESqmjRG82dHwPBgaS87q8z9D2JL/8+57WVfZA3Oiwuo3PDSBvTnt5dnUDB/Y6A3iswuxByCnKj+e3IEUkKHF1BJqVH17YpPFRdmxvAy54DwuAoBvUZI0jxZZ14UXySC+0Ecuj0dKlgyxK/r7ZqkxXZl/WOr/m1m1SiBUWCIFJZvtOoXgqOLWB8ikwO79fNtMShbRM34rE5CH0vSNB/YozedCNIqm9q1e8amgoDNpFVs5bYJPl/kijOueAdrdIPY+ibZFOyaKZL6LSG/tdhTeanMpq+JhBWoe1qSVS5rF3H6LDSQVu+/P5A1fKWNulSAiU0lDm4Cu8PoIijgdQ9iGAGU++kD9gj6cM0eThpGTvpLMVtm4kO+aOUXTH1QyvP1dkuE/gEctIm3/+fNkdGj/NPTxVlK+TXOWa68J7/R9ZCRWni1f0thaSBBGfWDW6LvOLJML57g9j4QEk2MY4ZMhdjDeIyJCpVFBw9cvfctg46wm0i5NdP6jJvmQlraI4G7UYmQawjMAt4YicAi+kM4+MLYyisSM38LnMLbGJm9BBVawAYsr7jtxXhyQTrufpdEpCeetHeoUGwZ4CJ56hN0aA08mV8dxTEhbt0MlOA5MYHvln1UTXjjYcBTLr/hR9D74vAXUOk5q5+2Dxc1CvUzDc91+ON28LtWt7EQycNVhg7vkfwEv+/xm67wtCQ/XFBdOAlob4sgxhMAcUVVq8k2nL4NTYVfNubxfkgX3JhAYX2oFQW7hdzpHkSw/dgKKCNpE3NmRqT28oxNgvufSaHxE+P9TCN2Np5LCaKwa2IZ83jWM87aDCHJeVTDhv/UJNRfiCnBIfdGERQ4IJqUv5xHALOlp5040f/+z1BwpqBHa2ZzfehwpCh8mv8WXol9lsBAHwvdhkOL+D9OFV1YYfOVvXPRkM1QNGaAn0/K0NzYQjjxT4l/Q7LudhVyX8L4VyJatK15hFNkqyFu4n0BUpcnzhbtY1UIlFDWVz5wMcVbYmzLe8O40ibHVaKK2pLy448Neiaifv6djjrGwmNCHMTVYk5qr362qHAyYrS5IWJTBSVcq4bpweWXTtEFNuk1zaFvRiH6tQN8dNsvdO34TopQX48lQV6k6R14q3/E/IzQ6q1iFWd10nsVWlbfnShJqtI7GIgfrlB91R+deu4+GCokMD4NZcS/l2/x5mpe6SaU8kthi+8UdGFxB/G9NsKK6eZEG4bX9/BM1mcAJiGlHllxgxv/fCzvYig6Q2i5elcW1V66Yg+w3K/hUyjJ6npzA+KWrxaHC+6eFzx7p7B0RVKvTxmm8npjdIa9T+6K23gg4HO0uVQEz91LWA6HH4d/PmCxN4NVH1DsiyEwM0Wped/v6rbY0MpnSnMqB041sL3l7M6yGUuHGIHP5GnV/77Rgwy6ek8wzqa5PFZtkdxqXmvq+k7d1lABchaLuQJCHUIyLbwSg/UnnumsXvJ8dFi0SLPjFUcOn3/C9U5JH3UfFm8Qjl6AmLkxxNBm2RItaSIroREnzvEkVMGd3w0dHGskzRVel9pWOAQX5AM7XaH279LMKP9Z1G2lGqi+UTOYGSZR8uFIh6rDsJbCWgzrqQVgkAYWq6Ko2kVqXsBIv0/tcH3VHG6UTR/cY2Nqu3AJQ2F4CD8BXyDwnVwdezK/fR9+AdJGl3mlIJCojWrQJft+UMWkw726M7v4YIxevQW/z7Fz1WaUydkdVd9cj60/ykucZlstY3N6RbrbefhuLThxOAfONtvwrMYly6YU//myAvew0u0bKJw5M54pre3LIbEvODLNGkSg6jPAR8RQQSsJt6Gx1cBS0Nw9/qODqA450uz9hsSlMguZpw8ao2R/fL1QZ5IG32e0fivp8k+0VzraaleWRZe3qLvev4FOrNekDofdWq7Ks1Gj+BuN9AvKTTjxbINHCMKVn0sm0RK9bdWsSF2lF3lxIrkN8Drhjb5TYWO3F7/eTktuRMoymx0UtwypXoUQ0DPjbAwrmIXm4TY9TYiDh88ZaSuT0Uauteffj1C79xFkspSrASjuUxn7mMaAoh4NC/7T5TjmC1KSXHb7j3V5gPXOkR3Dv2TVA4cwVxs01TtIpCshY0YuXYlmH9I5Ya1HuucOuLZnMR2fScDi5OPmDeIqMhG8L4gLtXVcN8otn830opNLjWuzJkDZs1gTy8lQTjGsawB4ATev2bafuC7mtipL9TpThcgos6kkt64G3jIx3PzP1N4KqgubX4mB1UCirLu+QhCCPlDixj4P0EQkJcbDdbxvqd24GOhsjz37CxRFwDvi7DKm4r67KfJJ1V5GqO13X7b9WizMhcQMwtheJYg3uKjJ3j91ceSlPYp/uiMBk5XRmAk7wnllkSmuyP+SUCN4uqcaqfnaBNBcr3xf/3oTUVcKLrJH69Gh4dCm9ufsxNsLTozeaJq+PTi1EhQqGZWB7sNgijcx1zBUzCmVnPGBeNAFykoS1gN2EakHy4R/9G1A7UqK0oKjohUIxEEGpUOWEb66PrFGKvPHAhEHD0x1smHQu81nxV6wAe6dfN8755IS/J5A3c+yddu/gjOWybGis/PTbX1vhbNJWkrbCpGCnSwckgqbTV14sji6noHuWjEtkEuwJ2pPyRBiQ77wUfuMAPj6P2rCBW3Ov+10D84wpfnYUYd2QMZPI0tyLaRNjwt4T5Vo+FsRFQCnhYtqqGqORbh7RCgN5DL3CKjg6dDoSuUMBxWm929xD5ms3P0xM0Z4lLg8QkkaKNh49+uha3HKHayERDpyxf1BY+kszLsfwjwLbjZdmDsJC7zakjUv1paG/hgLRzm5S6L1j6wnn6MGUDUclt5e810SqbwYGyZ3vtB6r2i0/5rqBZZbXNp7SYHcTnwx9uTyrhzckATDwTGli+tdwEVvjh3j9ZEFCiReowafijKj4V1rN+V42KIJnfPM/PXwMUQjcIn0R5lJ2rKytaXZ5Kz16GBAMr7Iq26yIjV8YgayfiWd/hslVq8Ct8toKgdJ77+EYBAfISL43Ce+bC6++tyLsq6ZfVGBwZirfpzorkYwssUjNEK5b1BrAm0i4yTsE0ce/oRMl7NmRU4SHhiPnKH4jXjniLLCBmQG8hbayx+NYhmeEcFOxhaTvLNLA4rP87UFUmmxChSl6uIl3f7yhk+F9L9jceD+nFqkMqKeNJrTNPhe553qeCcAOhHbEwtaaXfincJLoddHSC1F1XDafOIMhKyPg9uV5PYYomNjfHHEARtTaQaJrHron6o9yc6scwaYuKmlLnqy/kwJDh9jXPtHEi+V6jKAS3mnF/PwcX8FB3nlg0FPTrpSxd3KSjNgF/HzRX5z07K24lEiliMTvEcee465GnHoAHm0he51wTIyHRwRJ4usU5A8hq4GmXcSGaE7uyMlHNV1Fv5WfixgjxraHV9v1piuQOgJgcDSAlBfQa5UqKTB0l2Lz9uvpgasS1rowWxvOWllPCW/7m/GSb9UqLbl/uP5cDkYYReTZ4hc+2xcOQncsfmey28WxkgXFrznQGDgOicpdGkuEPaPDpkvNVaNGTtDGKMZO7ox/V4YKLW0HLe5zCfvHW6bcVwPoZs+LCa6B0rQqOz60/FaXoZ27G0Cj5cw16+52L59TlikstrVkSwl7rw4LvQ0oxCpAuM+z4zddFyDo9VlRpGs60GQ3PI+afjoW/ybBEHseHck+dDg1UrlwOXuH9tHeiW/jrQLabLlDnbsltTGP/DCYbL7vMb2aY0aVs9p7ghS2xMz3EyfqPdkFklJWepLVaR5+cBLVlGMbYrp3YJhEyjnkvx8+oT7BpUwEyTyoAfRblo0p/sSC4qrk9IsVaLub+sJkv8RaZip2vr8DNCpodigBEj3oIt0A5zjf71WKKnvn/24TWuIjsByZDnWK1bm6w4jDwAhpB1ekI5tVCv2kkOgVM989TTI2QD6Ey1cAvvmEHHntdnniCD0MH1co7AHL4TMwI9Qf8QlrES088SWmcGdnGrjcmfp5w/C1ZGPkW2yKUoyVzBk5Co0+jZuXnIZgeiGxoZ6rS3qd85PMdXcGQaB1Op9EXNa7q1N0YdD1yWamVf1byTQ15DzxDLDXwtYwbsWvDJjoqdTsI/2OOLokiJ35FzUpZ+MDlSGdcxh6F8A+MYuckUr1kYNbkIzhWjTI0h1H5A8ImZZre/db+6XPcCrCdJrLFly4gKlkkWfXV/HD4hPSEgz3AW1RwushIOCOqI2AQ72vygrgjas5jiB0gi/D2Qd9OmWilYUMGA/S8HYaPZAWLeS3+aV+QV1HzJMeNpWxj6BSw/N4bgQMvYmuOrS8XMqN52aDV1LboCcc4KpRbPQMlALd8+/ZXXHlyqdXbwsORymOAdqkxzYCgmVWrdOUrEd58kMcjJNHKW2bmcx8/5L38k7ax+A3eP4dMSGJNBSdSuogPgXNwcO3QXl60ttb/yilcmg5vqEGxaVuMN9hUAPGo14nfv/XoYXmejfKrB8IOlwUMRw5iLiOc+ysu3/Kap1THfdyP1/39wOi78KRl6wPnH9NG+azlNaKhIRkEA1/8GZW85OZL8QXRNbe/151utUpLYjVo6LMiL7s/GIE6wyaOdMe9V86ji25e6Dw/X9S+P6rcqTlHIvI9IC2rhZPXjXYHmwkTaPsXkkkPpMNggLyOyL7DxNAxGh52ns2NGwmu5mlZLVQ2+HA0W5F9d6jkUwAvOMVruLrOMNHNMY/ux329yUPbiGsRPoIpe2ctnnllhtzSje56YMDbvxRvRRHTk2KSojBPAbBWHvOkWt6eYcNrnadMG3nMM/rfrP0ad/YrPXQMZwqaTRikJ8marihtpGy+QnR/QvzrbwlMUhZseKQ5VukBW9NsBTkvwROR8DeLy7VGtH5GfsqO90rqZnW6/UrImWucBj0HBSIO2C/zN/PRZCU6/lUhh2uyL5VACco5+5WZCBJ3wuMCs5wyk97wk8xmHlGMdo4CVuBJZ5o0wn7+yZN1l+vTATqAV942fWXV6VaO2KNtrz+EOdUujtDzAsyyg1ClToIjHGSksIit3hDJG1Mdu+Poe9tHUTjhHopPFw916M5WIIvVmtA50+xj862dkFtCUWRuOoE6eFGy8ncb15VMpyiWGFdeR79ETJSkTpScmOBP0SgUkIcJIvnEDey63jydla9WkmZ+UyogE+VjH24q5obfIy/2OMuYFEP2XNVQXaE4prxWqkb/YED6CjA3z3ns3JSBy0G+uXlbPGT/kb2Lw2o4cUhyzdV/BZ3z86Hik5VfOWA/Cflf6yZ3jfte2PD3GKd91g/l/s645OCFINBB1K20igklUbmvVj8ylcYLrqtk+xqecXqPBGnjKp/RKaRbQcn6f5Yi+yx/6gHfbRvVKHZxng4MkSL8XPZ5v9Bo668ND989yzy6930+AfFkYnEM0L+bjt0+MHBIpP7MSbAaSvSJZZiBhrh+eq6jGE8kGHiNz/ZciI2YoKnIOTNeQjTO+xEV9JbGRc5sXAI4lOGlpWjX5ybFVNE8eMKo2tG6/R3ZxSWZYFBmbL47fV2qgiivC3SNymH/ojPDrUrqiKaeLKe5pomRoE3DEYgd/4NASrmIFxSk5FYf+stuJKr4T0Nug7iaHZGS5CXYR69Mqjr/cjWsHwooAvHM7pNzchIkkQefW7lxJ2g6/LPcrNs0r0ROfHWt/VVpDDCNKv4urqcSr1Gbp7xpHkh3fpiG24qxySr/fLHUu0BHYYCnIDh6Rq5zEDd/R+AIdUwq3yQlV1FTvRqWBNaTPaKLFjFujD1eUlLq1OYVM8jMZTJQppuVHmwGvndeCegF0YDpfWVfj2qjHM/Hia7NIED+3u4BuHFdw2362b1aDOcHPRHdZMLi2twO8NvJOityGv/SnzE5MSQH5v3ykWQfR+dNPA/9A3BeHh8BkOon6XlbwaKoOm9Uddmy5z6/pvlYvzQK5di9lxRDHEbMaC1oDP51swrSoSl2vKhlIGFUXhDMHR7jjz0nJLiqBlMZm2klYeHxw6iJLU6k0tOTNehC2L6zBem+4LcOuRPvt+eqXUjrEMIrn+vxnQvEiYXmGGIO2ZtupJ1FB1C61/4VZAZJ+fIW/VTc4i5pbzQQG2FFok7POGYFo3WU3aN6bwCGOCIYdCyNJa5oTSZB90PZjolUefhYqxLRi8Lvirz6Egb7oONmcFdk9f4S8XiI1fHWblZNIWKZqgKdERMHYf3WrabN7IAtl0UHsyWOAje8JetoRmmjbIjGZGoDSoGvT269Ftyh1KwXAq923iRh7Bbxb9MiwluLh/5MwlEEwDpNF9iFxCY2DmTL8CPwcT7kYuab41OWHXSj1V9UlSb7/B/p5OlAQR8IFt/VScyrQ2sD71vwgS1ptJOFogM1ZfMVEq7ruvtM83fcHPvDkNAxFCnVJ5qBNPtDSS0jGs0LvR8vYO8dfzvaV3YIWJgta5EZh9NmPpu+n2LKseQq8nmQcUMg6wgZnYYRdZ1LRmAHeiHLe16GPrGMBihhK3yJVNmYUWB+OWr1cy8bMu4L+UMOGC7G7jrbbPclrqJh/zL69lDdO5C12FXDRnWF/C9Mj9LmILsLYyMd6mPU2KUX/pgvkrMTfb+MzY+uxWSwA+AeiR2i/NkBYXHTaW83elANpEd0n298SyzRDSYlwt0RdaugDiU/lISCNHHV+qIwt2qJinzHApa/Rvn/xg3VmBb8X1leGT0T00XTGDLQkw5ETNmMK8DdCJF6/raytkTq90ZKzigrApQI3qyrfnNfHddy7bhnrvd5EuzOgHEuxbyKRkRcBXR5vSBoykdwrJI4tecYPay1Abo734AsfQ9yIhiqkqEM5Bcu7zlSzzIXWVs2bPvFIDd6uTe8nvs7IsIl6wrIJgc6G3K78tNmEeOW1jHJWpip65QDp0xIu8WEfutO1Fx7a1dNnmnsKcroN8F1UV4VNR0a6qmmC3nQncoC+juKe4g5YG+5C8nqwIYtZ4zrD+Rl+Lf70QgWqK1GQWF9O/jZ1P1hgmPDHnDMnd/Cs3MuBLRh+1NSeB16szYi1MD/JakEIVGfOWxd9d0X1Z7ACZYtMhQasZJP9Sf+BZsAMzwe6scD81grd0rMZp3H5fgH80gjM3XcH1/ZgrhEcuu5n/BzCqvVU6sUy0vPnyLgGC3ifCg0MBpwYHN/uYHyPq2knclQTvToiwPHBrarNLyBnBp+ppO6ReVudMQauBghfmxlTXv2aYnHEojYLwqlzKSr10pOXqz1W0jjP5wLzK2fQaCHv3JPykmG4unpItnijbntPkyw+TrK4P5lOr/5o7724vEOO/X9HH0CuG3qFVvcvNPmZKvQokb3ZoSTgGXUi5SPpy8sZu9MTpch+Zn3ciAsTtu6+mLDZZjisXrYcV2jaM6R9zJhvnlOz6oBrgB7g6KBXgC+El4zse17T+y76RSzd3Z3aoZhWajSFRBK0zxhSWdG8gr5tIXkq84eGIBMgmM7OswpZxKcqZnVS7yjhaHhTYFX9OsmG1x5xjbvX+fRK8YCll5U4CdBj5zJYwdztcaaDzNUsCljgXt+IqOTnvg6N8grjS9tQMIQDq72ZEMtzI3/JJ5FAchgIKOfTtu273ocSOdFGV8XcofWmzMB+mRbma9j/QfFs9pfnEiiXxZej+6holaoqoU1lIDWlDeEUpFMDG1eCZ4JLEo522y1HWFjMp3fPM61ayuEDjWjgsBM55ik514ZoM7n1tQAYwV762kZosVvHtCR4n4DAD9dx0qS7hAvT+UmiZbiu3GX+tJ0ngWioplT6M9tOP8Pi4sKzFUCkk2g7y6knxVLBoyBoO4+I+vkst4LfocjxnYGqJiB1Xt99g6YtmAsKeZ/DKICNmVr95htxjE6r+e2dPn8bcnje45KfYTpD5pSGqBc09N2KOkA9TnZu92MXzXC2VDJdlxFOZsopHO+F/omvjtdvFsTgcDxrN/TpyCz0Tio33VHROMaaW964o54+Rl7xyo3ToYRHoXHZDGFcM8BXIpYwxYjFDNNRgcbhUoPh1KTYdLcl5jrJJZYY3M+bWBkRLnHAOpcKAeou/4bNQv6kuKNaw+LcGBEc2n1bY1Ix2J2V6d6UvzPY3p39a4k9edVoUCU8QbKjJSe8ST74pGwhIkZ7UdWpNDTZ7CYSzlfQ3gLWSLEbO8P2gobEdUnSIJqonGR46WiJ0Ord/5o0cx0CV9FoNVooCI0/3Gsyq5zQkXmTGWqgZGKGaZvf6gHjXo5onvMHsKucKBtK2LHRKPQX6RVeu1x5v+Mkq4/VDjNkcYjr2TfDI/UF2d8g8uJGpt+XJYYfTDjMwhRGA1FyWNpn+/QQ1CT6MnJi4+1hVuw8d/ZGTyYAJcWz+HCNMwla1GgpBeY2ugtFC4hUgQWoGPMpeh8f4zKG1QIs4MN6yZDBjyKRToOqvYAwxefw7z1yW4Rl/Ee93qyPtx9BBeN91zg2uMI96RW6REdbgFT1MG6fVrZ1MbIwfkkcP80ueq86GW9xGo211qiq29s09x0ZBs06kY/SVlpkkHiVMFsT7lAFmam92tJsgprnHsutODBmMyW/dOv458PduD4cxilnezaH9mlZuWm2RB1WDysHOdMi5wkWDAOwlvCFt2qwPQTOw8t13Ookrj3JPGTE6NtHNSGbm0bJVNs+H8/MAIw3pzKE7vowfnWyECGD5aL5rsHAVtEmVUmnPW0ssLFGHT7DP7OSzMsqAQcNjeHMm10591bctSFp7VUbwp+oqddMXdVVcOO2x8T732j93iUPv9aWt4Ke/F8ymJHn1qdTH8FAcnkNf4ALYWLNBaSagYcAbPkCnH/xZO7/Nudgk/PS9mdOa9+zexfmP5S3H5fC/7TSf71vYI9h4wWiMi3dqfExZxY/LnCyE5XoDl9utALXjjrlWOvW5JskVwYeVgjMbF8UjpEBGhWqHoZcy8Ulb8EuTxOnFYmwpEBdqjB23/gvnDS92mlmdiWebYtdCCaR4bREQcc+rflZw2fqNcGAxP00hS48Mmf9N5aatTASQE+fiJqgmp/e5DeJFcjeZKWrfZNnKSJhqAF0vkhOz6cMCSK0DtvtTxVYAtAAosFi2z2fm6P7kXIj20P80aHQlCPX8D80LFSSN+QXifyHo1BFho837EcEETs6IMmkSfCOJEFypcVoy9cSA048i2bUOq7QnVG7Oo2ZPk+Ff6RyHp+0ddUQYWlrC0gFSkYarXHA8Q8VIuiYuLt1GIypXBH3gFq4cd0AYs0cXSgDyR2mGVzUnwndKfIt1x8WnQ0lXfliy6Tvm4F9TCZt762qTwec4CqGKAsYC+eAsR+IcjGhxPdDPu5p/tXO+i2J+FI0625Ys24FhU1ET6zNvwjCJUpA+TbKeBupd5o/NzPyTW9EsIyMQcOEg4djjNboPsDdIOxB4G57hfu8Szh/LvmgbQoqn3e3iYZiLfrJrB294jzaLNTKm1Tugw81T1txwFDGtFMs2RT3d+GoasW9/rY1X3t0TXtNoXdusRrmMBtCHVO9N5Nf4ZPh+bUoB5QT7NhiBuAhDe4H4k2vLnwIa6TTl1uAywCPDipeAcySJsDG9JhI1VdKUM9Z7KbIVgc5PBh9l+WKVFq0rJJaWxFmV0XGmDA2xB4Lmhg1Sfh4E7x1O/RepSimvR5h29YeTs7vFO0PMdMH3ArgpV4OhDnJVxLrk7jINy2ZuxpUK86/q3V1ZwqsMpY2O6aBHKBLLdKfUHmb5HrVxx4M4gRkgR5Zrja+sRMkej33LjBOafRqp89auXklzGjPhbK25el7/CRxYhu+ETir5t6nn76q0x18trYe18qT326vTNoc06NGIOPQ4XVsvsbccpdHmw79FV1ZNCaSO/HNhmqKs6myvPuksRKG23L0H93vVch/ARklvCqm3oINv6IiJL3xDnib4GGQAZ+Cf6WkkqK0GmUo8NkXpV6LGepdlaOvDcZWE2F1uRXwuZ+Lcm3IwfQI5YsNVpOlJeKH/Wl7RwyHW7QxMlNcb1k9R/rFWusTAZfRQUh8CD68bmHElgB6yzqp7svEafpAhcuF3GFp7MHmBWi+pBiKMx2bPIsmBBNQB9YbyUnwraKSNyRDIMVg0IhUSc6BTy58xnVgOiOr9n9Dv95IgwzqJUWqz8TIq9BSpNoUaW+RRRaZJBY7elfP2BB9+/kIICMD+NBgMa4x+uth/XkRXCDUnKnjB0Y4QZuStZsQokPhoEQBjJZKeiz7LiTpEty1AiJAtefYzfbZ7G0lcjUk7Dhr5V4sVgDKG73o3cs5podwWZORFmI8HYhWf8y+vfETGi7sSIIMOEW4nkYC9dOAWCf9Q7h0D4F5eWzcMOeDKcu6ANbS/p2dQldG3lk/gbSg/74OAX02F8QSovgRD2r+zdQZhwCHB6X7RTj937EITD95QB7H386vjM2akIsx949KauhPxvSqDveL6MbQLvnNd1+OdI/o5bfFvCYYv4aKwEioY74Q64uQ/MLfPEm+09ANsQYsRLjtcxOhH6NCXEhH0KyBIr/S52/S5Pb+II3/WLkCtg2xSuvXq6Flzt9lTpAfHi8s641FXIAJqTliYWlWEcSGHUaWHjiWKG9r6q79HlazETJVb3Stco5OaPpFX/T6G6TLbyGQCoMFNkDPwLc5m5GYQQeC65sN+e4LsPceliVSDOYsQ6ahXwTUmZlvRJRZp5lVhUTAVe8tM+FFJdFXzj3lbiRtpfRLQTtYCSf27ZM8MDcKgedeXuaUrsUoLq+uscrWtaIVxRwcyrysWxBb5Cr8B+VLk4fDXfrcZbOw0Iu2+xkwRIiYxwW+VZVzsgVEeVRroBtB1TIXT4Z7p8QGedf0vWNM6VfPGOTkqjRrPDE8sGbM3Riql7Vpmrg2fQ0h3ER92ecjSLZe/6ycck6WbkrAfu1UXtK6/DFgkWEcD2b5ZjlqQVMClNzN1CRkdtMoyPTkSPkj59E/6mvy89INjR5iOHJu759UQlLxqURPdnQADy5y0aBqK7vRt0gp1kPpJNT3CNRS9JZYNpnn76oF6LM6LX8BKJeT6qKkSglj8Wb8519tx7271glfIOp388vS4n4hdSQKM9rmD116szGuSyPJBywyDsAeCHvU2DixC3gxGzuReRn2THk5ArG/mAI1BIjb1bs2THXAYMEmEIQ6WKqZhNBWsrrq4V97Fkk+8JxamWAVDmt8Va6GQ9IgUEGWTgya9ccH8dzmZJGCCQW4JQ1Yd5fB+IYBzqoo1pXy6uS1tDsFqZSIQkf/bAkt1uIRulL/YOn2zvjg0IWJVNJIyCqvfx6G/G0c2a5plZaPRZmd4Y8/Z/Bkf5rCV9WQbZoMX/ThkBztGtQOzshx6qMjZ1wd2TGQCNHC7JaNr+EHTALoZCOtIBfjG/oUA0ks3tDi24OSqp0orbWzUKYO8asYM7bvZWsxDBuai/t1ei9Pr9a0uqBYzOWfN1X5Wvr/oPZrAYKME3ccpTJHoljoDybw7b8Aeefh5K0W+WgHXnqdeXOUPWg1Y7YcHIyMznzdpzwLCbbPjhGe3nP53LpsglWii0TeY4y7+LrFQq+4tSz5P2FLMMpW5k6R+EI03DdL5fD5MYuMZ7b1yh9Q4AGNGRMF1nl47OHzywCFfXBYaQ8iwXNdmI5Q2n8Q64rUtupz3b0dbmgrWlkWS6aa6HV06Mv0h7qGxG8UBfMCmHdcdQ5vseEuOhUknXEpujW2gxTBPG1o6WhkYTbi0S3C1OBgrRGvys0wJW5mzdk/SAzRN+H+4L//xkpAZpLY5O/qaZ6ld9WcckY2UwZppPIaUK1gSbg699iDnOw5Lz9naIktZGyeZQBk62DVnQSBVvOYTSCCByxZZ6Ehr/GuWATpgKZOIrtNvZMl7h5hufYjFnXpRWYI/YV8xCe2NTzrzddGTv2e7Axr8evOkohlFWaj0wClHkbD4J+oOvgD9PHPVkMPNASQO+vhOaqpjyx6h5kAzgQsRMoaIFaHj2ZXiw+tllJqxVy71v9epSvklQ+4ENU1Uvkr6FSBWIELuVlieea+fGVz35A4HMlHBCGd5O1qMfXRT51xtpxHECqZWRKiAZ9qwDD9MjNOIb9gQU/CsO5FBTyAl5UkiRxqHLSYMgjJWUisIIm3Bh/OzcfqcsGdStlRdcTF8D3S8G1RnZQrpcc/UGCgIKH8sIMeaDRGgExwHmB6n57EH40svdetjlGhyG/1rHmysjTEzneNDZL8sE0HEYNKQPJpVBftluI5kl0x4k7VMeAv9Qp77HbqrghNr9qL7s9yT7CcvxRrdNMW/tFEx6ZiKGp35ySJHqlsPgtVYUxgaVPrA6ay5G9Of3OkeKphLyPS6+6qngnonmiMd81755tugTT94g5FapLF40vTbBbanMj5rfLf1zhjOch2GV8mTRjQeIdhPf6HNwxp7GqFXN2nwyL1EnbPPJ2IxGgN4XOw4IQ988PoSNX2mvOKBr+1ulDYLyBm5bnzH2r5A3ymim48EqYw+yXH89ho7zVhL/wSs7nU/1K4a1JAaOG0rggApzEwtKkSBY/OTZJu5dGAcfeU6wzolnQxiNGPADe7g7itom+bVfXOiHj2nvyHAHt0fnaZ2r2vHP46nMvjYekrxuePVyTtTbkne8gPqJvIcD65HHAgD4KSc++9/ZiTX477vv4+7BhX+Rg+XH6OgfwUvLobfywzEgrBfLDgJMb5DD8sbtSTgim5bzWi+qid02MoiB1aIEMuHa4ZVTUxi1YovQ7g8c6nYW/NltjysSMorPe3itMCf3HKfgW27SWofIVnE26do3OTORjgyXI7Jv5J88qEVUOTKOTdA1IY6fXN68sZWmXbRROrhNoRUwzMB+np5Wtd6oBZRItFvYfGLlErnMIGyJIx1du8ix2NuQQREaz04/H+sNR68K14k9KZFEnOrk6pKB6Ga/JUffmNht9VSnLm6VyQW9qg4QYFu/dIRqt8JsO7UheU9gfYOx7p1tzpxlZ5zZ/oqonkxiDrP+c/KIauhSiUO5aKins1+MtQP3Ihf8odg0wBBmnFfXnKAKMNQwk7DjCx7TBrUg+T9lPJHBsATJVECtco5SN3YtzfqiAE23C6cODhPsG8kR7/TeXvhhO0MmHxmhPDVDsvWhpAEVURcwh5kI00tWSconfKCy/obogL/2fXIiOIKUBL8DHomiUB7sZlETEs+JZn03v5zg2wWDYyTIxQtbl5z9nsovGay9fOe4j9WmF+2V8OA8UGtx7U7Xcz7Wm1O0A9CTy5FzIu11U3FgAryOs1jrHdq2j7wvbes4Kkei17fJFICbZ9WvkyhsERxwPVkOc9+CtVT6Emb7UTbPbOthfJbsWE1Qi2Lx0DdrTascl0RfMiurwmVFokbBYBnkEmppmpWFM0muKGaP0M9/kzDswA0azNzfBJmSqPD2UT5lakzLBkXUnyUaicNquyzxTtSbfllAVrm0DEmYdAc0VWp+ktIwVa1v0T3fVaDAnKynfOrj24q4MyRCoP3MhRljfXLZ30m/38zzdWw80kGP2vSZwl9VrZFiSyhOEclqwEXy2MpeoMWgTuaAPJoXHv451kxMge+j9hlxUDOHgyLYqlCR9u8an0e6qiwTwUhYYAq2iMB09GbQ2Tgz/4UOK1WEhDJNQLMj1AOKkv4OgKc6kWsCkSk7gMqES4zDaKZ3TUgUyefCcA+H2Eb8tb7LCq3FIPQ964UafQdfcBuViF6lGRgAsISBRhz25kXE08vL/Npr+hGMvv1u/4GL8pwVWY/kCad8PW1cVyTqiSfxKM0d7Qq5k5nhadyoQDFloRJe4qL4bQHpKf0KcsUGZQAfzLZm9kG1PFuEtUoizS88ARQvxXGmkev1KX8CoMujniLh3CoPpTlHZqSdQY73oLlTEl6Z7sdOtfKCJCOYflUrw838+TjO8eIXmuTLCXp6h0WeIACt0h1Rw7YWp+p/zNSRKCJjMjrwehxH6ZqzK1AQIwxosnba9UAFVBb1eDqnfZcJpSVQWHXJ0EUqUlKtzMfthjFUCi7OUWCbBu2qh3w8YTkUEX3Dq/ZFrWiCS7TEN6F3Jw6LfDNMICsQ6N4Ro7zULqoZZJlh3yV3oNtg3Zjp9Nw9NiGVYeAUoH5pQ3P/4ntMNNtPqhXQQg6H2L5+BJdOtCW4hjLOIpXdRDQ+f7lMSpeCfeyLxk3/bFym2AeRQcxn6AEpRmZs71VCcNIImGA/CF9E4gSi1PaPIi+8b1oZ0NqIlZVauVxe2v5u4JMILTxks8ICbg00LYZrrb3Mp7snr4JnPv6CDf2vtyACy0oJmSsbksJBFy2RxADlRRX+cs8oztzuKpGgJX0j94mAgikmgD8h6j/kFfS7NHrQBhnzVsvvDauupxz+6++UklUFWNKprkBo04J4Em3Mkw95Uz0mP2IYwYWgKJnzH2LzKNOpy1G6yoN6MUXH5aT1z5+QQjWAJyY0Ca/nw6co3ZctLy1lLmtmmKmf1h+OF8VnI06edEdjGkqshBID+NmsBxVbZJ15tsmXvlQIBRFSl+Eg+lXBaeHBz4lio8lBw8alBb3xeXLAobl2XhojyIfbzml707/GhR2Cis71gRrbYjT33/05nU318uroO6FOVwKC/53FuyEXvb9ZNVHrNUmX6oj2ez35Pj/BTKACC1l6QHXrhBh1DRMre0MLLg9z6I/qF5Lw0xNkQTGqbR1YF2ptBzZeY6DqMQN8ysRoMaHg8n9f75gILS3FGrREe2tPVtL2S48do1y5DnlTcGYibM1fp0S0mcVD8SLHwNykGlC9gWknGlYckwKt0/LdDfuZLTJPDlItvll/ithaGIbO8dEhb6z+Aa5uqqaQEzhKSU/wIBpMsUQT2juq8umv/Y00ttq/qlUTWTxq5fYapWkVJz2Nc+fEncxZuyjdRT2tA23XakWup0KnPD3TVUTTeM5oWCqr0v1quEmmJDl0MvMYWP2zNvalyp/nrB5VYG6sv6dzBhhxjIyb70oFpux+bbok4eDuGEYmtaUQ8dLmO1XafuqeOx2P7wb4W6VKpFu8ZdtvGTNvZkVAicA+eTX0M9v3I6cDHszrWX7o76NvpVtJxX+pC876wZ2W2k4CInYUkBniOl+B0V1URbbLHGS42XLSbY4e5f9p7S6lZOoXk0muZDQ8ReXyMK0twdzIhhN3rZS8uBb/8slSSzSjvaat7G7MPE6e8oOzzih7t+8MEiDh4wP2SVh4w1K83SBNG+v0fvRF6wzN1MUyUiRzlIW6/Vzb2qxGkB2IpwK8hmane2XEOSTaVRO9GvT86pynFP+Bgsj3IXwchCPncObliUKyFcrtkUGhhE7Y+Q28ZGr2mE740rJb12uX0VAJaWK/QJb2KEeRUrjQcYlI4jQfAZCFy3MIIUTHENC78fwfQB2XI9hKa8bFXbcLHoZAtWLBbV0qv1lm2oDzrHBlvDOvDRE52NEO5/n6JmKd6k/zGH9/U6dBcWxuBmXrC9Uh9EGfu32YfdE83G+zYCmrRfUIuvnSVEifJNxUtLbXCUW1dnNVv7buS8eytWitmyvBBM0Nv370Y0XZ04kzHX2dJjW9InELv0zejyVgwZloLibCBHGUVIPwfIys4BJcmqaA4lex7EYOmlLWps76NkfLdxNwMNQDZV0VdntqVgEkspb9U+5JzjJcEPs7+0QCrCMKYXbKrEy3Vfv2fhHcjf2pHxKZb6XPJy6LQki5F4rtvpcgu1dmQBdIMRbcJC3ncVjw+2lZDSPlnrXYjPFPeT3Lpq5osNA+C/wDRxK6zFURbAPPGRcWcRu4bNfzXjIsPgx0FryjA4vFAQsv0mF5iddTGsNRoGhe9ykE50E909R0HXLF7Sc0WGsN733r++PAJMCZAs/Muxu8boJo6be7Z7DSoWl8ZXj8iT1nUExnwqQxr+I0606Q9LLrqxkLGspy7odUtiA0VweakvUKKwOoAIggxJUBBMgEz3S4J+0Tv/25zrTrqOs0Taui91XXr2gYCM85jf4vrdtTcycDQTgVrzcq1dMndnQM+BjFydnDC9NGIwyvFSlAZD0+4QCbQMQLM7h6e1co/pSjiQfT370MY0AhxPHxyKVwoMgwzaY0bFzyPg03RoqIiqGAOYZ/tex9JY+z5joUEyrwu7xKE1+QCa3tWRavwval8MY7kw093O69VseHdwsfxZbzanizdxSMf0Q5DBPKPGnNG05AJKUobABiSJKa2TrQJsbip/Iug3RygAofrAGp/2KKd3b9Pn3Wxc/RmQ4lGr2QI6hg9C9w4KkB+OHChVJTudG6wZrO4BAypoys6sy3DmB8FW+4EAfkMvv+x0voFOboM0I9gV1z+k1zm/hSFQvqdQqfzou0MIV7ut6oiyb+kWS7r2yw8QHO/aTqqCy8wilsuHvulS1oI3c9+nfVvoUm08lqEsSElVsVuPgz5e2F52MVbLyyvlcqdackyucxwsXTCcx23VuJ/KAP/buvvKmjjvdaBwPRUhNSe4vp12hnhpMcNPk7YD2MBdF76mGkI2KsKdn6FS7+ng9YftQ//q9M0oyKZSlaApyOTMKEzebkXCopDoLgqHFm5mkO9qyWlMdsUFsVbJnADbh49HLa9c0aJtA85VzcN+KyJw8CCwLPyUcB6dT504ISxIBFpzPAL+AVseL/PQPf1YTUri+ikK5Tn2NwEV5P0NJlqgMn8FXFyRso9iZUuQv8lfaOOR0dFhMyTQ5Uj8/JFj7pjMzVwpK98AU4zM5qGA74ruqWI4KnI0wNPQm8CREi/CQhaP5QOOZJZD7+ntcY9WGRQjalI8dgVYoriqqKHgo3Va8dO76ByU0vE9cffifsKLjpd/DBe1sodnN7i6JGTYSVZr2u7k9lNpXMOdve/URDrsqEE8IRJ2jpL4jHtLmakF6dLWMAHJtRcOHYjpDAZhzrFdNrg9wAB2fjC18kQl4FK8PfmWFyg1+4HD/IPX5oMIeOuDPckUUcwid0ch3SoosYZd4tt1wiUWwa/BfISsW1pOP/4hiw/Lit6yvHyg+MXfBYEMrT0icnKsw1z+goERAFSC/lwvastBsLsaULrSHHHi7xUBzga7oasIE/FGX1xPM7nOrzEZgBLEBSIRVqi95DzJ1nuH5Ia9Dm21+kRL5gfGWrR0KmbljTKQ/QCyTFqm1DD0nNq4KkraEqwz4NfUyNLs1G4mVmR4YW/FdNrFjpf8wwQIlmNJadi6m90Y8ssqJCcHRd2gBaj6rBv6eqpTfwAhHB8wOPv2UCKtMVtoDnLRFbrR3NUsO67xFleLPchLPkjLKOPkiKvKrM3zBy3apBnqYf4s1D+M0RzHptfUhvneUUzaDbYbZFIY/XW8KICLVWDbvhCESKDrCelmnBCu7ltR3ViB8NFYV6UOds07FYsg0Bbu22DOusYkriqLfe1Do/jXq8ZKGmxE10eBnKjqrzc1O0LUWACAldfIBUqzcGeEqf889uCYPyxdOWVko2GJ9brBzAsxq+WtjqRfwLmruOHe2BR6NbUV1MJB/OOEBBdn2yCVJO61nIDQ1H1ygXKiJ7cA4ag+ih7yUsSu/l/TwP8jsK/6pEeQv2og46nRr5CsPj06UPM/SPOLKBA71o5fUq0VK/oTxcWGk0FVjT4jxUUUbmVaKSmCGeFD9+kN1R6fblmkppNadrjwMqTXspDO3wmsYPFKtqDQVoxadHsi6aWRF6UIPxngNMtcTO2/+3Dv6a9tfb10KmFo0NooeanTB4fN/EFoNIIlX6+VJKBjf5KNiolHAhmWQuOzXPOarE6eokjqBH4CJ8xsk7bSUsCluI0qJKcsa/f83hTdwRK96o0COulqdarHKayePdsun31KrRSfaCzqWnLRrEdi2pWTTQnbvPPkVfuTZ8EGzMSIVMLK/RRbzngkAi2wMeZsx+9PMYYaYG0w2dpAbt8vBS4aUiDBUEaOuQMRVehua/+sMbc9QjyEW+7Ofmrn5uvkvprhKmfQieBOfjT5ABZRfaKrlMla2a3H9GnpZIhP72ce+Kp3p+THtYUbtCMZ2rPDoZ0wjbw9faTmJ/nn/wTuVBEijh7FB/1FClqeYq983BP8G/2TTuL1mNdP93y2YQrlk1BtcKZmytwGb9DvsrxgeSmeTLhhKItuRIIPVik7pxtFb3dgHv50IPMN1l0obGz5X/NvK/zyZeETdZiaptirJWrNH8pO1ZBxF5dS7VOD5qads4udTGR/EXyGCQuij4FplYjrdSyEpAVqciRISYbwj5O00Q15tMROILQcukGraM09Zp07/O9I44dINzSpReDP5oe82Au/azyxlXuSCn5DmO0IgVZB+2COYt1QRYNRTHo5qSYE599jNxIkBpUvX/JMJDKd6AqNFkIn0V0LaVV3Z0fwwmHBgNOT/J1Cm7k1aqPXs3c1eJy+Aq8u1au86vbgX6V65YhPboY4CVFKPBr6vWlvOpP2C0VVIK3tfk00ACaQT7RbHl1a79Sej/i5aBuJYsmkWzIX7vq2uUf9SFi5KTxv6LAg/EVpzhNguN9M3VYVTt5kA0eMiGhBTrv1Eo17MWXo82qdVXkTr+YtpSBYl4Y29r12iZno+Ygs4Z6i58O40TBB/jYWYL2Bbdl0vsQCAXSaLr1qD+gXQl1rjREwMghW/B++/GfvORKqiR2URUTN8md7tQcXOnLPkWgoLJ6WHA2nzhgguCPUiX/mhxa3vwP8BdFdfQ6PokwavUR4x/ewJWF/66y9mC0kKBn+6AOCOZCrKCT/FFdaPCRuw1bxc715uP7hY6IvAt8aVEcYjazVRyabg7DgNc7Is/jUwoRoiNgnS/RrnjBlg6Kq9xa4ouvNoMAJjHXGwIDXNzWUzJ9+MRNUJSDiOhidGRmqeEfqtkeCzYSfAV0rG3afZnx9k4TOBPhcC8ma81wVgmZFUgVf2bRAed6Gw1MjZBl/A9lxrfVH7NbsMMZnWpJ9KTast8zR4KqB0AbnxVpDPfuKoiB1RI6nKBBX38PQPKZPhawR2K1rHrobPEWR2JqxFX1sSOL4LP8XePKo9mKsAMVaaVyOucKjp4opGzMnaqlkiqH6U1NXmfFBf2DOUc+e+ngw9OXQIMGEvEJvjyrMDUpA52ejawoGe5GGnhmDjYzBBjNUFPA8boO7DkKktX6MdWqIqwL/OP5sJf8bD+QIy6jpDbTPsEen6SiaJmOE8GHAtNc9YOIynLT7RHdzTxpDovyMO6VDCKg8dINRdvjbPTscQCMKgqO1jI2yHaHRhCJvClVZTlyvNyOfyjbVsDYjrtuXchOXmObezbSxPqYsVL3HPZkSg/4ocFwYh/cnRXG1408f2cPbqqNG5b9qEXHNTuf+/R+uh5hL3Bd6zxq1Cs6dZmSM3NDurUP+OoBH8AiV2sIs9nmkSa5pLuW/sEwigFoLwQ34JCSr09qTkqoAX3j6tUkcYVv7MXI+1VwPRhsF78Lay6/7HLyiYAg3pzTGB+25TlUSjKNUjtEoebYNzsIi4+839TB60zc7G9ZwivKclX/SFt4OVlmlH/UJxRyMmTrrKmasdwP1LHMVTNHMMHZEolE6DbWWZmTv07PzhABY4DtrnPsnieXXfWb7p4/48R7gUoALDFqLvfyMLGG0JtbZTjDmTWAxCI+8/x66kj3uMdImheX1zMJLtJLBUCdsNoQ40OslT4/k4oGqN68ruPbaNofyGjfdYwbnhW36iz15ZKUZaU3bumW4lmje4fDlLbBzY/dP5R11C7pbG05SFriJVhIWWrRcoIjivIh2PnGAJp8VzMSIYYx5HYlzkBES4cx8ydwsEnpfgVLs93Ovc3yEA+v9E2LSzfx51gnqST83tD8ObSaHjjrEPVKXoHJjyN4RVPcfGekPt3TIchYjbePlydqPF2a9aq4/LIarjFmX5cgmN0rwcq8idqtw2J0Prci/LXLj3D3Eb59W8I/i8z+HIMWoB3lzya/CdSNqjuQIudRTrgrzKSoEeW32naKILBPNt341x+UGJSxQ8BVQ2RHUio4nLe8lG4DvXCkN/RMbqDvGFUN/XQ0U2XJXSZ02JFfSyTalcF7EPoZJ5dC6LGpohYWK8i2N1yV1QMlUqrMvATnKs3tJJqZsQctKWuEy2P05E/z8DceZQxno/mo92Q7WXsScqxxn6JnJ9hEuxyU1sj4VEISNzySozcfOEjIrTC2MOU+tRTH5CCGB34k45RP25DfChJB7KJjcyuE6ZBMH6MsslWMJGdmsTFcBxduroWjgUFH0N0bN1YfUZOOR/tzT2Y0x+rkfahXpPoaUghfKMefsUjG5okQt30MywwhosNtqBQuJzsoxt38vmvhcuGFDcM1DlloXfZb4H9Bgb0H+WwBapP5PfvuLmjOpWTlx7AqPuPaByKXL1DVxfQKLzHVRpz7AfPhM/qNbL8GN5n3KRF8qCeacpQCywmxGEu1HOWI2UZRlA6u1TF9izVv+C7IzmT5JAOTIOdL5MF/ajl4YSqa584W/KNMWVO8A0kYdIr4zHVTXodRAIWFGR8fGDQeA1MvB/zPPeMUz2sL1orFNVkxo6OMdJGjjJ0md7gsmrcAAdsaiEYEFvFxTO4zs8nxOUUOJlDARQoZR4be/jTda14+Go5uTDSFF7tm3D2NM3vpucmZhNia9jLSVRsl7ED+EZvbqV850a+D9FDvuaJgzcR/3BTL+ewXcnx+fUnqtU9RipHxaqaagT/brQo/v2F82+WAkrDE3XmKOCIwr7qVMhq3V1daXd9LCR28lrw/i/FU9ooNKKR7HB98vXYKuMsR6t4ZwA4k60d7q22M/gTHbzqsagmEgKMtY7SKYH3i1BK9RILJTD6qEVIK9gLMf1BqjkdzziYNJjBfbtbP362P08EVxB6YmUdL91ZDkxe7mqxEOUq0eDAuLDSkivdDtwj1Gg/pyxajSdLxOdXpVTgMK1pMDRvbQz6WRZUCjN/Xwhv9TRIwrSrpMuwMr1GrMOXpkBTUJYL4nhnqVZEP1oz34SglvSuJScc+4RJkhzZJMyHpFIvS/3rqJ3/NWZVNaQgqF/vUvyQYfciV6B+kGYIXRT4MfQht5W+pdDHDyxKdfu4aCTG7a8vUBUHuDqLrGVevPKDJsJ8gKNitCz+Dyrc7m/VA1SdKqyNSdoy7AiAa9owiI19ados+bogYlF0SC8xyDm2m8JgMLUWQKc3RDEmi5+KLmoW2TX9zagZa/Jaafj/QMUvc//gUmGyMFGx1wcu/EbrrmqI48pg0cLluYEkslpYE5a3J47rEGgYA6OLq5EUmBwDrr86Be81ZzvmmryLI1L1L2LFnDnoTBaPHfEekiffEf1PMoRCjiHWGWlJWh3GGlghG4sJV1HxaO6aapy4+Ol8kQeT5aVn08kgIQ0dOEtDsoeocfYnQVHid1/dLrKzQhC1yVWYFXSYc8o1n23K9M+WT3Qz+AsLaqpquityYWNNt3lt4ZN5ugphN7P6Z9Q7UwqKR3zC1zekQ4MwdIBM1T2IOCtdOTiVVh7KKIK03pLA7gDvIC9RX44KDBZA6GxtghqIhSUDpO76H00S7kkwhgZx6pxYnR4kyyv7eCDCvWJAivo2DI5YjWoigB26LXUslk5d229aMYTNN5L1WLbyYqBCT2MrjGDsPL+UzvDneANxtEfWybvhZATZbvbTxFm++oDsyErtJVK2n+um/NSAyHPra2MQMmEYfpX41n+q+7dvcLokpHpzI8dhKAbrquKFOQBHOZtwQcOtzEZPCqpe3sckf0eF2598vO7PQsclq+tOxoa4upcKr/plXCWYMefOuE0J6OLs5UekLTfVJaYnv1KcWgIEEVR6nl6g6tVKdH7DVYqxioZ2BAWGAJhRT5BvycLqEWqX48GzjycOY0tiQBsF/uC8fsM2Ubl10QIZPP3O/9ULa1WmXEysbmzC0r11EMyPczJnp9W8e5DK6km6gnMxujwGADAzIfqLOMEx0qRbV4FNw980kByn62VdPB8ELcqyyCFdhjDovJObgLrpMhAaTcJXX/ntGF1rGnWpLo8Ljv9WvC9CpA3UKSYU7rdz/GAPoQuniq3D1xUMVxw5uC8YHgqxbpeWjAj6ZzCRzbMofYDPy1JRPMLt0H9P6ywEhrjJy5Ep8bBaSlYxYDfhQjOyQOJnZkvCIdAuMARi6BBZxak0kJXIWni+rIEpUa9a3j+sn6QkSySAoQWzRBYqNj6ILLAdS2kZfq6E1M0awM4fqeiR51n8/LLVmptJ7nmGoo/ZDG8iQvYtzGm2SXekmMkwnD3PLSluP+JCnnaEzmNJFYJwjF0TgqluAHH2zEP7j1qJ3ES9dv0mLQCi3KGNIGnQMMwWf5o2bKLhgP6Ol4bIN9faWhDbasgIrPLghuRWCvTVF1vScYt5/PSBDgbv7HFqk7Nq+XrqseINH+q2UmLNNK0q5RTF4TSN5/MJIFvbwazANQB33DjTJrRai3TXnwpA9AGuiVJZb8FzUBvG01dGVWKCrXeoBT2Ym37EDl0xvd0XDrfXFhX/VQ274Syc1J+kPe0yQJ+ZV5IItgt7wzs7U0OWtT3cAPWP9FIx01bVy+RGkonH0RwXzJyX42zI9vv5Zik55o7jRZ2xzznO2auI/bZ2KWZpATxX670nFxNlZ+df9HKtbKm+gzctobsLVx6NIeg5VZsU8lhaDBVtqcH4Ol+gVRgXY91Z7KSULOSdvZYq382QgvnKesikC8A6gB1Gzc0pYEcm0QaT1hBGRYxlYWBcLJxYnGknQtiQIx77TB8Tr+2YRlQPf2YAjsuPRVCHZF2nKZGdJ9GgA6UCsfkzNiQhGk5/8harNjLoC58ww8eAgmXqxnNhAU9d+KAB8WQCUq/y4iCVNrAdJXCzQwK5Sr3XD9sB1Ai1zl6huT0146czYvVRZW3CPQmoXi9sgFdJgwoXAKOWJ1EDzNfsUXjwFon6iJpVZjyTDpJp2LL14+PLU2EHqZijxz8WxzXrG1FHQiH8mAZNmdV95Z1/XjbZekki1iyYnZ/aJnPvKoaCUJgmEWNVHmjPbpMXc8tONEVJh0OHGe0AXvGaS/cp6EJR9p4HVMzp9XhlZTURjxjoRtNg/njrjV22352RRatr72Q53kQgzVpU0kD4xBAYFdGL6RJID7CtvYei2Mc350AGmPwESoaTUsVGCFxJdcq7nYP0jUQrJv2xcVsIxQmlttbeXpMaiXSc/Zj4O56wGQCzom4lMqBOGbTkV2KqgiAtHRB+HpTppj3iaYeSeYVW9Niz1T9sRb5Nea4IvGvXOVgFjur/o4RgPGmb82EJU9zxsgfb2rrioV/xqEqHCekAzqqbheA+zuIRkz0MycpkN4BzwkWpGDO4IUgH98BjOC2SFMzPWsbymTXFfKL24h0ScKw4qmaIy1JZ730jf4xWwZ5GUea4fL8VuVRFwKxC63Gp7POxemb8FzK1DQfBcDvSNg4jhXOzpt7/wDViBuAuYEJ7wxeuVJVIJaHjeLlDDXH2hBeUm04YgqefvIDbRzGGvE0i0s67kYzt1/5AEoyRaMaNnpkkupX1ewlsODPA5tmr+Iig3mzPy/srXF0SAGIk9QceWB7jkLjQCrEyLuxCvBOQmncXTOMwh3W1xiWs7EWKtWb1SSQlNrcRTjQ9pDrA019uPbZ1wULwcgJbRWh1PhaHajfQVWs9UxKG6CiboFi01XfZmm4DZn6LTUuhkdK4RhrgnIJwRncGzZTJh8crY6RF5ch7mBWw8mgdZ5qV9fbZtm4jeB01LCxupahnPrB7JOgHPbR0KTtboT3KJwhInqnzvUOTjTGnzevyz+egvRZANQbJ+RKVpZyPgOzBXeCnvGgPKvUWo0Id0UhjglALspv4ON5bgsuk2fs7CXghOF0druiSUh/lyBn9tEeW5iKnHdb9CnG8qK/yCRqL54dFca2CEPsfm5iL0yMXJa6egPmVoRB7f4pzv+2Q6/HNOnRhkcVim20qM2PevqguV/lk+UIi8D2dux5ypwwJ3X+AEuSX87ySSNJMx3pYiDCQU7gWzh/wdfeOK94EX2ExtfbBk3TW6JbEkH45qbzOkZnUmzo1HdD2GF9ZwD/6rsiGSha17sExRlpPEZyDtsW2rtJhamxW5orqBR6nna2OSv/lCejG1C1Rht7Bd0S+FUp/bZlvxZFbZ95z14MPfF4WFFGp8CbnGOt7zOnaI2/hKC3g97CVbZZZ3cokwWPvB0zckr89crc+wxTfpUX02NLtdWPpc0N8T5jhBQVH5k1/SeVLTGGyNBwmqMl1S05U7HDBicJ1hiCo15WJ78doCEvkDQ9UB8tmDpAuPPrFwJP86pSvPc/HD7BB7SGCwaV/ZhdXtHGTiQQXCUje0Pqpf8Nd/jMAw4162etpwvqz9zIdTAfPxdJNc0OjJUiguc/LoOzNBfGYQNBG7OK6vP2i9TnV8lPrbqKjKNxlfsbrBnwuW/pFM6J4rKg/B0vzFsnfslIjy+qWWmtmAQBBraVA//5/TJKAfWu/sYQsD8ga2QHnP9HwhVMaPXZBsiTtBzU35MdFu9Syw9p3V3DEVT/arQgT0hzgvPec6coTUlxGwUDySuMC6M0wyPph8Q/+l/wvKd7rJ5JiYt8ooakvswrCH+Xc++UpdaCvdurT1LI2r1XCKn+6pa3Y8DRoxo6huCS8fjKZsw3uT/2F3WGJ1uxL3OLd249ZBaT7hsvS7zuD1PnV0GqofW7T/r6xQnL1lExPpIxkQ3to1Mk48pWNVt7jWvkUu0WiTMrAUeBGA388BZNmg0hCK7CflrmcYGunILoZjNu838xXMVAKAjuuVEr4VyS56RT6G5YyDJwg/CVbkk8iifefvz+V09i+/MYfNgNS5xqqz3iZq1vPxXge6bZP8iXmO3+9cUwTDf9aXtFvO1ZQ9XiXl2/mwNXHlZ1XOjINtlqHGCAbwmi3xN02wr/1I35OqusUx0mraES2IED/bXbkTqa9zdgKL+C+e+K0Q7G3bYD49ngSQIqAHVWYfD5KloGAazh5qx2Mht0lO01M+OOz+0foprdx/s/hJPCxVPUnilq8w+gqK43r0sTqg6bDOiPhCLYScwh9DXJI6Y4mArZczGn7GwBAb7aSL9Jewc7b5tkQOVPFmxgGZdSiFYtQozYSi7Tbky2EbiRLUorD2DkmEh0wMfcSv+Xf1yam9Q8VLTdDkDar2U78ZdF7XXh+KDZraH0Hxkx6Ruv3tyHJl/wLdn0ufQNGCoLSRsuYe3FRFEXLADiSHg43ZIBVbxDIwJAG5fyUL8Nykr9OZvdR2/11MtwLdo7gasTc/hy0kpFaV1OYfABAAb/XAlOiADrjJFPN5aC+UjkHoDq0MMbMQ3pcx5R8RL9zzkC646rNdX++cDNG428oFmfSIoQi83bIPnF1s7dT2pt3muDSSlwie+RtTuFI9OMRwuWN1/oWaOmjFxM+hiKEMTnCFHUvkKh1cZHcPkqeEQ3NZJrGDXxJgroxIZNZQUM7W0ZBAOGDRTItoi7HMRPTFeydyB3xwBo4zsbA/tWyz3OvkbQUIjo5GtUnF5Wac6rE2khszH2zdtuYF/HcvmAsCmnMm3fU73WwKSEvO0JqucaBl0uKLoDRPmEGffno89GV+ouoBEuApd0nRk2kFjAnZYbqm4bPYRCZksPTc72/fsOupkXfaZh1aG594aeil/wkC/GjeOvuxbuHCPdJKsyxHiMQVT9NA9B04Wxdy6b8UQE/oE6V4O5OdkWMVeu10Phx4kinxbCFd/C8HVJwcE9oz0MAPnHyoq58y6GM9yxuCnXy2y0VH4W/lyOLTXgnllqGzsklnof1I1g4VlnZYlEohr5f+m8kWSZKTDOXEEpSx/7gj3Peh3RMtrxfratA9ZU0fsHRrXkQQGcJv4lOYSJvQzAVK5QgqilsGk3/gXwPoHdlgMGJpCHKE7t6B6uEB+inMxmm86l7B3irkcj0lchmX0yzf8XupeU+aa2YCMZG/XNqo2Cljox+pqf6Q+SYYmVvoPXuoSfre1lf8fWsLlWhDsHJdIb2x1jq3Lw/o95znDNK5BiGQwPiJlch5eGrpWPpI4Ait4Tbypxj/ip+DyTqkmJ4vd597+ma5X5AUEXd0x1SXAXP2igYW4MGlRWGPU0aOmyJAXiMe/nbhA2RoeClWu4EQ7KLpfCuxGIriemlSdzVjZxyLrK2uAjvljBlxJZmZTDEx5/RGoDtGV+kBtOQ4jOVQ5C718wmnHMjs6hHc7NhNpeQyjNXQgLg2BDRdOS/pGU9Qo7cpQmSHoOX4UtpvXqqjvUxETEy7xCsuqSKVcwCwd9kycJ/n1TBWVupZ41adQcsxXJ0hKR+HikfZTmB+mpTV8tVSMe2vrE/xLfVZ0/rKvNItqiUs0iaPWhXHy//LkB6iHB2mEqGo2pIPqNDVOZBErZ14o/vUjylGc2E0tSjzjxFTfHY0JIYXhca1y++78esc4MtGotOnsqbVC0YovXci8o5enaCodVBElpSn21Ol1DWMdAG3rH91eh/8FzRlPu5OpQ2NBBhalcFiwSxRiZYdyRqD9UeIRlFafz6avi6uuLyyr861Pidvwo9DPkANVrkp9PkblZ8bDg/I51fRB9EvLl0QmU+O0g78dz8eM2koETPZDxfdTSBVQPNthcyFjLqIsHtJIOQXZc+o7UZr08ONSLxxJHq2pdO08RpvBZqoLxxdTHlTOcpXl5yl2gXTkHVbOH9lrIzNhybAbYCJI78gxY27GB0EU/Jx2Jb2WAGeBfTM3+yIYTBXyDXiMFnFH/FUmN14WS2fu9DzD6d9p226YkvKuMOdnILot5DXlhyp7ALTSTAn7/SqC8iU5+8FB1H9zmS1eFkGjJtlERbJUINpY7JRo0ShHHtjb/w0kVhPVNUC2pG52wfZ60Z59ncwyez+rc9v9UJD4peLeH6NfylX4p+V4bSbxrPTND0QwPRLFD847lXrTTzmjVOofWnytr/0KCLrmiUJuc03exra//X19oU6C/OnHACQ0pozENgZGzdwP3NneQY864/giEQ0UjKFBsvvdAH/hf2gUbmR1NAGkm9umyFIUCdHX8trnzb6bPCDNqJptpZh059dUfXSXxdtQbMcNiowTJBQxar3mSRTaMf9lhbyI4znFK1yZdLGmaa09wMpO2lKJOUt3QRBrpPkjB/EC7w6L9/yH6qSMmigbK4piZme7gaMsTr7mDq09R0W8KXJwEQLzwPhIhtG+tKTlcxco5ZeUBK2NF/iZ0k8RXIbrsL7/+e96aSVPlB6o2msOkeUVXOsZuDD2WgQRXwaohnt4P2eUdVFm/ZkFZZNMI4jqkfsx7pUohtmwaO0W5CJBtCQXoCXQgxHUVqzxzgxkavZKm6mXBlMbd7QKLmdJ5JOFsxoK5WeR61kFB+I3CmAxETsiGz2KijXIL8K2mOECwkvbFSRI1cYQ53ZgtIl6+GY8Z1EZKGwyS74+mCsAhwhVNdn8NvEE2D4OBGA81XgnvpyLVCIeK14wc5P8pzuRGkjlxFmYR6RB54rC9Mmgs0/qpl/1U721beevBfkphYnrKW1DGxHRoE3FTwrn3lTxio8uMReVMFtNwWcgED0z3FcqhycK7Sl1zLmkH87BoFfU+YSt1zdCeLcIQQHIPsYk5EHT02m3LZRHcbPnM6Ryc7M4qP7B1na1RKBAxNHK8G8yi2xPGJ8J/oo8y7Kr24ClcEEa7lGK0p+PynP0dv1FBh+H/jJYkzPID/PrJ4rUFyeMmTPd03WvOKyH3j0ndAOq4wz5pSPmy5atd1N773pw+2rniBQJ2i1N9TWArnXK3o3X+KLmQqYaaE5xN7XvkRZNsnO1c1yPfBfn69cUYi/7PpmvGta4TyKFWgG8YvhvgrMCBGYihra8QJ6vEjvX+nC2MjPTTpS7F8Mw2mTbn8stehsLifPHf/Dz1wSUHovf7JZP0ZEXpiRAeTpBGTTSLXvhWVg2zs8JpEAHia4TAkTPUBE4r45n6f3jMtSQTGyLOISoJWgYUYIZrs42t1Pmww9q+h1LJ+NjpO9AtPDJjX0JLMwaZruKbePGEFvr1TwlEreq8E34wTQYjPQ3io52/KLoNjcV0FDByCyj1i8ftxN9cEWj+vkCekk+UyzFFsiZD9spVewfQ2L9sBnm4VpmHpe0YH3IKo6h1EsK/IeNmK5B120wptdcGnWxlDRYyOwj5B7StaiWBSv8PGw9f/lYecYe1RpDu3OSnHpeAfqg1LGrqXDMx9t39tqy357jjsPW1OqBM7DRnFp9rc3tiL/2uXcqJJWgg+d+soVcgXuYIejGp9MOpaxYwE2/l55/UFuYMQkOZq2Rqz+7qUoXrvNVSzvK/6DILO8sI9WT4BmEWSDNffRjIVP3qydr3COGHPCBgekQ3o9NewoON0edjihkSum/gUEXlbJpnx7pjGt++biwIIRx5tdJxNfkVHZZdyQp0dW5w/gGxw9xf7s98nJ+GgBrRWj1IZ9PdvpAN5DuE0FzhY26lWLOwaQQvzaGKLburBT63DNvxMFjeVBA+MA3AZxbsmjLe0OSl77zUnorv/CS+oZWYAKxggJowkOq3LAxae8vDIIHhlyO16j2qnZz6uSxr2SwrjU9Afe8IQym+rcZIxt0nQCZ/IIRiShk8lPPrZCVnBHQJg1SLw3VdqUEXgjhqQMMf4Xp5t+y0GlR5nYpLD+xevdpHe2ltZqJaxbdblx+syfll6dNAlpSqTGQE+9el7sPzM1P0K511xzSW2OY7teTvmhqmfi+7oPuMoNfJkqT1YQZIm8jbxMyjuerGkHIDvpGdFOh1tJk+ztm3P+HsKRFHDO4l9NL+9qr2xocfnvNuCxD2siK7w0uwlCtLy/vamCuiCgs3jK/UeZv2M01sG0ZnUsgV0b1np5g44CvqnK86EX89z01qFIiL4ArCB69iTNSK0RnjWH+oQrmaNRqXzC8kHTh28Bb0TNWp6lNwKXdOKrXB5xAiiqpt9ZqLHEm1fNfiecng66sSPo+HzuDvFVquQ1Q2ERnjUkB7DmC/FFXhq5/rXEtVkqGoOwJzIs8V7wmAYIrENTpOnUoVn8NZb5CEjTd0bs/ieSOH089k99b77ApSQwQgV9Ii+P0YG0YuGUvJk6Bu4T8d3YPGsdgmSp2BUZcj5pRLXEuO1cyLJ+EqrqjbjvlSmni+FCjcgrJv92dpnlpIviHy3ftirs8jpxZ/RKk1HS7VSUV2Dq/6Q3T9++uWAJ3uzml4iSfGpZvScZuadk6wFwbo63I2yPTUxI398UCKX+6rvzKWx8jTqgAk8C70JQp2Lgia+ILme6wjqUPoev4tVU6/iSgjRmwFVYl70Dg0b3AGlmc6MBs5I0iq51HrXt5iZCBbM77A7QlRCK9nC0lpnBXf8SAqJkJ90FIwML/5qId2MGDdB56Oi9o7B3zffibDnA51caqsNbRfloljTTWnY1XejzbgPsPFioTim50EwQGLKzAO9vJi5YVEnXzEuqBC4NnZqiZ7TcGHWMBPzxZCVLunOnt+d1Qx9V4YnyC7PWBUXzcr5b1IAtGMTopX8jsVMFqO4gxojPWIF6PcDjIvmblPt6pYBi/pbPBiIeH/0wlzFzx0Eu3fnazoAKgpejFc/7ORpkyTq+dsRd0fFkhtM7vFY0578xFczkC+PFGbMUeLEoTb/AMb9S0smoWCfHWcClG8K1cSe92K2Wxf0RvNANG978W9DBD/gUVEQI6pOkcLygG880rEdoR5ey+CMfmwjJiHboWtn7TRPmwnDW5Ac+XW2pF5B6buORY+/D19j4gl00cUhSY4uO3vr3nhM1HM0ByynxoOR7wdGpkCG43NhfbnZjFRWDWDiopOPeiguMT0wY0omu6NMunLJ+pcJanHmY0nVuUwH3Jbf+NCNNT2F36+Ankhxaqvw9BFNYZ3L+08XT/IzOKbhrw9Tus4WOLA8fFNDS2p+0lyOACbcJ8JVD4eaxs7ski6Jw91BIpZt0bPbNaE2RVZiQ6vTC32lzuz1AWIg0pgSQ34+F3Hhe80nnLjHjijgJyOuog027tPlonQhOLXh83Agz7OPYbC980wDbDEtUQifONdD12PtCwX6RM5pDbri0fKB8WOjSu5rDtUGLCVxtTd2hslIXPmGh6aGwjYoPujeOls/YG9fT1zg1zO07Zob4es62OyDuyLTbH685olM5SY02DLRCw81E0HNVc9ZyDWcSo6ABDMaizhI4cKBulUPLPuR1NViVcbaWrjtAr4sYj9HW7UrZovLJQrJKUMt9jV4SHGJoEb93wkM16ULqFUguEokzgk/OzBrTNaxFAiQsgg4EGGb0IZAS2XQi+PohpFi7J5gqicR85lhAeMTaqQc6GUnLocNTTQ1nl2WQ40wzgWp6zLF2kVFVrWgBeFSzjjCb6PkXTbEkSD50xsHI00US25a2Ta0aW7v8jxS/e0pwsIw8i9BuHsU7cft0H9N9jS/g5eldS0nKbNjFSH9LgRGvP4HOtzFExeaWXKm6Z7YW1ZBXsya1ced7cSon3n014DMgDsY6vgby87qiYgL3KRPxWk2bM+QbWyOk9FyOt0EaH2DpF6leQM9jD7kw0PIwBy9hmpU75QE1G+tdM/I58TTteDdTO0rAlxKRKRH4P62MiaJq+p/sR79TnfuLZUS5sEFlhqqLPrdUsLqFCL6ipFgytrVw/s9+p/6BKGogw+MR7BOsyPOt3RtnHHYefGrZGhMRwzjfBPfJyIjQVPB9BwDP6qEgkRCydX4lTf6b0MUXEuq9CXs2ndsJAQW6Wfje+tArTwkiSt/14qXzjJOKXBDH8qomdU0ANEl7HVXfT6HptgpjMuRpUpej4lKqvev7UakhzZe/T5KGaRyRhKGQ8z6PXRDmQhCd3rM21xf2BhKY92ERb8cwX/tzW21DqgzP92CjBrHK0Z4oXar0CTp1IDoyAiaFqAbWLTd3+5UbadrPmA4aqM84uG61LF6oNJJAFcG+WyDLMdLLDQdkeh15fJKhlcCaYU97E/Grobc2Lm24tiDVqOBXqK/JRLdBe/ZHlVgb5aNfz5a9FnPxUWRvYhCBYU/hj82MCCG6ZrFpk272wcVD9h7zhWfTpHrE+Cf4TRp32h1qpQYR6gTeY1nhKjmr6vxOqlaBkzN2pULt1YmB8BjvmLgiYELXgDaXTo0nbBR1K5uWp8F2mZstokCEcwh+eLeAnJ1z2Jzl2pzHv43RrfQ/xM6GZ0KTMJr8IR0HTK/ZYeiRcByv2ecyHUrkemaR7ZBkxmn+3pd7eGLNL/vJ7aKAPjIP/Z/OaXDj+EjN6NOC7mYCC51WeazJzA1KDh2Hia3ZPLCvscK3ePYf4B4aSFsgTZxY6W+7dj4WmxZQMaYcmIgKaAJM05eOJWqD2upxyVYWUjJJyeH2bbtMgP71HLuE0cxTo2Qy/ZR1sKgZRy0x2u4MsvXDstZz/CtVPr4VJ5Nnoncsv2LO19ebXlblH+E2yxiu8dxZ6hbH+O52KD7gcMVvI6XF+e+arsUBU90aYrU3QSvw6snw75Ct9gK0/GDMeFfD5gnNjRqofYi8speWACkVC2haTLpCHf1rpKchdKOG1js2Cl02omZhafmocOkVrShFAhAU/LTt2fmEvadkPfUy2YXWtQXWPyd1wnNfGG54r2W3gSt+yGJasVVczmEggnk32jTaiJnUskrzXYmwl2g17q6phSWVfbBdbEvEfICKTKJRqp0KijoE/aonr9k22vGlZ1yzvuApQtBspiYogy6vSWJEbfWt2d7qY99sQiaNfTpoCBCBojR7RCj+18QtI79c3I/ket+QtRbylhcqW+unDxHkZRdmQthYTBXVilihaLPPxxMWqcO2H7A3jKdQ5Sb1OkhLM5Rydhvi7TyO7RThyITnTGqSKxYewJiiE2uIh+GjIGbeZiE1ssRb9RDawf7p4SZfW9lxctAaN4AUHeeLjaGrIXnWH41LwIwyTcOozDQLNRArVKumfqUF2TfmN914NGUSOf/UrzTjEOlXSKTZ7Igj0GV6d24s7r3vQu8loIXy+RLKzrakPweOP9UZYr7JvAI8k60c5YUF8focHOeYS6i1z+Elycazg1HGQze0Z+4he0Lf3GUmRJes80tabyPMuCvEFitUa6+ZIRqnvlX4rjk8agl7wjC8L/iP5Wg8vkz4Hjbzv2yzyIXFBoJpzJJjImZS9v/81ciT+M0Zfnni1BBHvwd/8Q00HFHTe/Ui6/ncqorYVl0vcKQPdAlKC4+hMVe2WS0SM5WAMx9FovOAzsv979B4Wxe2KqW8xb4r+wRXVAw4kXBKFJILpHD2RD6N2Qq9M6BYLGnzuMEhtD3EZw6GFqW5CaONOBDDJVTOVZ+AXv2n3e+uwwGFrW/3XfgmfH8iqfTza37vd7LazP0g/Q20T5wwuWm2+pZcvWcl32ANmmyWf+U6GUN9R8ExbAqZpMvRk/pGJYOcl7CFStjhk1oS4uBBJtseG9tWusFixYqvqJ1RhcMo0dlJs2G6ekh77wzc84OJjMA6QAIakZQXXVX3rSlMsOfP0pPqw2IvZa5vyYAy5vPmYStVoq/PWvw3F3S18FwJgxoGPR/VbNr4S+IRSWNwkftzS+Hezgo8g+e/MdzUlwSK6UrgLGtXrKzC+fQznKe8nOXEilQ67/nPZ54Ji3x1QZt80oZaUuP+337sT/KXAKEnVA1w5aEq/Km4f+0AiJ9DvnTUgW1AdDP53/sc2s1phTFoI6glWvtMK4XDAsrT6R20m2xINbadXs/MLOwnialCi2WxkLYy7wnJUfNJL8eBc8c/6S18dWJnEMvd5heLYTZkvDik8VM3+t4T/KGUiOEpjqBA48dtIYuqFjlZZlcE4sKTVjHqBmdCDrrTtmbU5JdJ8uwYlvf7fuPMZG2BLoeckJCCsPNiPujEKUqpCH4LnlTBRZTW+lvUggQRpcgHfry1pCnxiPA/iv0WUniXQLWy8oTdSGPOYwm2Ib881QGrPSJuJSINxl+u0bXlLYBctGUBDBXPAjjiFUt4zk8633Y0azOpOu4c8/CVIkbTYYadJnNCplJlB/misQJVGF8MvEq+7YQpF4J9+fXAefMZnBmDWznILi6BggWR0PfsDRA2ceIVW1cvp3u5ImCFCv/c1NgBC7Z3Vhl7j/aUbN/TnprRY85eA0XhVadQo1Vt20mSmtEq9wcnxvR0BGStHRZKEsrPex0uluLDoGGk19lLATBWGD8HerYQElouGP6MQqSJQ4hGJSbcMuHYYE+FYUMgw+EO/5L4lk5l2EeKzliQ3+r64OsVJGEx9Boq/hOByhfoDRU/TiHKr0OM4dZnOLjSLqTTSDMaqDMg18fjNxgdtvRvwKQAhvTpZz+VaXArLpO+RZWxcldm+uQk3Wkh57MrRKom+Ab78vFu1wQzYA2U7WXxbUzNSAaxn1G4txUAqdhlJCQ/r+c3WsDwwGWMBswnup9PvojX4UfZplwNEmYRwOHukqdoccmTjKlRmnuCat3xTAyXxpidDLZXsS9VnoPj5eVtT2wq9vqOuoUmdW/JTsaqzeynTlrS+K+zSQdf1CEbuR3v9e5hR4GKLGwBtshpBM68Clcvd8zbA1oU6olOy5t0PIIyvAtibTbwwRBAi7IrtM99iZ+F1nOM0nLAIYEnR5zEJH09glEfDQT+tlq8C44eALmsIu38bkGIvtzPfippVAnFDM5hapeh4n6D5bHsbg0qSIlqKb1qzAdmSeJfGaX3OsMVg8lfBGwZlje8zCPWctZ2DMM94r8lBLzN+6sgr4hFSWHFvFoy2Kqb7ETOiltZBm99eg74M+N2kxgm6NzgevB7YQ8Kb/zd6z2G4Vx0Y8S494j77GO3aTDzp92JZZN5RofbwpOe15omkOQQ7Dygu277i659F7L/0RYOb+eb0o2isYUisVtAjfslJ5PBJ1C27t6O1nnhJBz5oVAN8uFaekJgUe1+XiEBIhGVz5IR/Z3yuA+TtQK8eQNNioI6CuBY3sn0eKEqGTLL2aTUzjHvHYk8DVw4kJVdsWQBqxRvOweJ2wmCqlfvmjEC1ZSDKAMBiaJCQLb75ReoywVGtNq3CwTqkQdnQ6buxRLSG/QVJdou+lPDfBWwD/ZHqBl/vhR/jLhK0d0VMSS6HegT26VBZ4RlHrvUsJypglvVZDeHXe+FVrgrfHu+B4lGo9h69hwtC9vs+1Ahjj0Ljgw7FOlyqZP8XlE/ySQ36NRP4/ByV+AXTCB0UlnZuoNDPYpIQFMp1V8tIE567zp4/32RkiSksxJi728BvIXzlUldI9nvaDHzekqxFWjLmR/dKOA2OabUUpe3a0DXxcMM/rV/RolGYN8AwhkEveJFUgX4bYIlVxipe4uctT23NW4MvIakZITFXnHejosJj+9GjLN90+FANcdt+JhQm/3ZSgRufpMSEVSTLWeVQWIZlRautcPu830JJTjg/GRH78guBvjl9A0mxyCNWyN7emkCdburO9vZLeOUQP1zD/AzYCztoiHD20rmXFM2lYuAPgxf4MuXG9tQyAGZlfwuNsiRgkt9MWztFWaH9YUx3G6Hxq+lcdPMUxec1aXvGLmFYkEF7/K2VBo3kuEn8baU/W4o7XePfUdp9x77Sx0oqnQew/DtiPwJzodzPX3MUu+LCn8jmeo96hQRSi062FEvENnu1DJn9iLxvRNFPwp6wYzoIyyKZT/9PXZghap6DH7mCWk/KclEx/44lI/hBhOIo1QJiTKVOqUO31XXOFVaqCvkVXtHd7T900YGMrJSlEIVXdpSonpgQD6+oSSWqoBKJXFdDKXqpRsnOP1wZddh4Da0d7H95MISFga/wz6xZM9QM4unURE6pL1KKJLnogiQNpe9fHyRTsx3PMqddNzMkdgVToqnjj63Dal9JAB++I7mNR6ftMiUGXHD8TF8LupbRcYXqrl9qKGJeXKiEFwXB+kewVVdQ1biDyoQ78rm0L0t6digbKtCTGtw0p5xOjcGrd7fUy32B2ekmXgfBg4P2IjRJwzRZHuZjywohGPQ2ChHzxHo9Za6ORFVN+dy2FFUrGQJAilQWilUGq58QVSk7SX9jbLEZaMg2cfsTJsv7gqAj1rmtLTearrsfLiA0num+ZPqHjYCcfFCWSEvN3FDKTFpepok3WZiuZotFGX/GwInK4vIJq/vfN2YNTpBYFRCfkB/g3PaTBjABYcm4KoVtZKh1uY9g9M0Iq7I+LlZH5hTFO84uigIdzJw7vlGALDiFV5D6N5b1AM6ysl9CaUzeCWgmh4fXEl8YzSee7iQN5D/AL50tkFzqowuMubHAhQQ+ODxVlTd9SunYoJezmyv73+HV+DAvAIufMzTccceHSbFMo2lmhyu5w/cBF1w2n78vjm8LYKqU9MTJvavtmwD/zvfxnQoVwTMD3rjSqBrT+XsM7MVgoZn9ev9Zjro5SKpRMyJyH0qZsXglsfifDZQp+Qh0ut0Uquq2yOAZ0SRmiAqT+QGwDTA7wMRCBYqHp0ifPHKckXDphLhuCKj0vt7DQXiEHUiZdBdPJ8VPMtvs3zvhEk6Jn9ZNht5N06y9qlAOO1RvjQRc46V4jIrInaYmvpOG1HChVk4fmSnyiDjfWRTc4OOu4yKTVERn4Sf+v/aCvZHYm7oIX3+Rolhq0Uj6ruInEy67JOtSje8jYH0WEiaEio9v/cGn07z53ji5DoFiEK17YFZgqAkd3j1ICRok6y4MP0A4/06Caegjq8OZHYN1OFBVnqEUYi7OApUabmYD7CNu0Hqa1joEoxHVagYtrcNMnE6F7NABnjvoVxLYTF0zeV9iadQjqjeRRpC3rwI1LwxkIxU1DrrV4vJcSoZ+PorzOwcHm/qpBbhriOIcvAv4Bk8I6z5DqcHY9OjHNx9QHMDqRp/H2BYvHQ9jhCY7M16otXkQxP7f9MBkQVol+3bGAnCk8hX8CwOhB+hoUGK4dHqrUgGqeoQ/Gq4FQytUGS3fH8lr8tkvHKBWk0SUkrakWWMO+y8GX9YKF92O4u2Yp1Ij2mPrqsqxLYdUJe46IZCOoJu2Am3P+DuiQgVCy5MBsIqMmvZgvjt/hDdKXuVutgMpSjp2hZf/3smI="/>
  <p:tag name="MEKKOXMLTAGS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1h9D1Z5GDtPW+wuCTrU5cbsTyeRnoM7v2+KYfNB8pPDHY3/N/nQDLg73FVUjs5JX80ZEMdZ5aXYVE2SrM7ljDixtoKhF4R5tzsuuZUVsHATy29DYNDjn1XMd6/m5Yc8DYhIfglVBu8fMLOlFrzJz/GfHZxBQYkAZMGSL0rVFKRait4YpZ/0Vi3QJcKrRgyrGQp+2+X2rFQFvK1qr8xT0P1VGEMiCo6KLvRxPp/SifOFlOIXBbI6Ca4sydaAZT24icAS7PGsDkpqZ1HJBy9vFqd5EsWa+UWFxlb+ltkb1gUh+fXmYxXpqcaobl31PsWUhBrtTAcMSn2nx1tFZqfvfg1vCfjHTBFb0/OUyyfm7aDUlnsK3bEC6IRePMMOlyFZYHV3raDLHpTjxmcRmWJ7rXH18glg3wZFn1nWiA+MjRYOL5w7JTHJDzzcJ0F3Xe2Z7y4nEkygOLNTKIABtHmztqMrECKJlmHtgmfaBPMccK0XK5aUMlbNEcBB6Xz49d27ErZuaJhvaNIDuc4JU3nUFI/moJ4XoEUChWZPkwJYOZFRMeUPk7BY964nH2MF0BeO2XBYWoUU59LxIhaZe/G8+gU6YIVFeVJ4R50dnt4omzhXF5MvpliqL/CRmK6N3NKx+ztShQsULpmjecAnTYn1bP0TwQ6HQQ40EQmwGN2r5vve93Q/8W9qoOLybYtnTQnt0iv2oZlYAI2ubKZVerHMUdDh7Gy+0wJmYbQrL8ed4cm3lZtSDVyNEGngI2hgDFDmWOlC/oz0hJrBC7S2zEog9WsKkdfQCddKJJuaDe7arGZJmoy1p/m9ZnozK2bNur5iFwpkce/aD91MG+pHIkg1h9C1EucY5WEkN0hyXoD4pGL6OfquPyyKhIAAYC7nsisqaMLfXtyF36VPxdCxUtCWQXgP97zHsbwAhTqZsNm8HG243PIkA2AWxiizu8M6oClWdNxAXlAhFdGMEB77olSJVQu3SVABsWHsgJhiPGzcLlJ1xCrYWV4CaeBu+6fcQdseNVB5y4EmY6VodS0HHSejJoWNgeeSDl4IvFDAI7gY+0fS3BtVNYdNquMC15uxQrxyJzwKOKA9HePF4YudktRSwZqzR2n1QW29yvV3qoa5AxTLxgaTrIfnnPLiSyx1R6bD+1quj2p1f4lbZXXmlS5h98OeIKQHMYHNNlio7R5V6u3Rp5ZKNU6CO/yTKaoW0rwjp2IgtroCKr6d1xGiK7IbouS1zm/8OkLmCgpsmPnesOYBuY7iitL0sQjCT1EpFTOGK8SoBT+CWxABk+ntVd7jVy0JxUgHjHkc4XRZBvBd6LHOz/Ne7i99XDBP6kqXCpJ8NF8peq3BBf7POTfhk9hnmObTQbBCZC7LbmsPRDeISLYMHCXBlNxNKMb3a+MtrGK19k/46f2Yyoh7RnBfW+OZIIAFImCndD5pwfUrvOLwK8OKXyJZQB5s2OWl7T9Cx7wGYRmp8LUNGZg1rL4hs5BFVShSi9cljFmzGhj9SED//u8ZXwVSzU/SFqgICi5c9sUkzof+oil1UCWRT6FFuwDeUEkMsTQBrs6sSeyBOGhSlWF3699r54o9UzwAmoo1rXqfjlFCL+fK+EDLj0Atv7+UGZ4Y335OncNLnkNEJfNGncKpYGEmMh1YBC25BO4sj5pcsqyhgJ5zG+cVaYEGcvbLXvwFpwsjyhhwGwzLTH7Sx+gejgEk5DjbCHb7WsgeMw0v5KnIodLFNZ3ZebDL6DNa1DhWbwaEYig3CESkPAZehbzrcbk3WqOjwmyI1821bGGSJQk5be3ibGUnKw9sx157rDBdBpsd5Rok3RpdmprZY9+4vDby6FHOLZuU8nOc5SFJezMixvGNHJwwkAu3U5awSxQ9yTIkyp5AwmNnCanQQxrP3vqJkb/SWD3ZcmIiCoj3A1zmqFeyFfuLaTQQ9ABp0UlVb3g/agyCCKSb4KCuFZx9HPAOayNXwdVxQZd7ikmmsUL4fkiJh0vWRmZgcmoQ5DSLn4Rsc0tD4QpbVMOTHzDpdROtCeaTP/Foo01a5vJyXrRkHRk54xghHF9Dh5dy/k7Rmbiwu0vp1Pvuy8DIBKVbiKhVEptSriMVPyq4KVuwulrip9AOGgOOjPZIaHzC/xQrINEQV9QvtQEWd79yShDvTVktXjNp9dpnE00ksysHfrKK8BlTKyMXI8+3kuGI9JZnlYVbmOmLhlX6966fTaCtWlyFSGfgPjHFqaYZecVMsncMxnl/BCVia43zuTdWUPAW+NMemWJbBGyScFkg29TILWPBfT+efvQV2oMMhOjwmuU9wwFI5/+WdIgmnP7HWX890cgbnpwU3MBM0CJou2QpjtUNWf8pCwFJV88ZTSJLDcXRUSSptNc2zkkUmT5PJ+8QW7GtORCMZhz1/1w5COP+/SNWXKni49hPjoQwzRGUfyqZqEgh5OthV2p6xYhm0Saenw/TGks7tuJqGDisvlXegzrkFCHyxOZ5pWupcOAWfcs6dxBGmMH4qWJtnlffJD6bEogTRK5H0GB/69nPBuj75kzeY825pAPr53GRXXo4v183wwynV3kezECdS/kQGhVOW7MPgIgWHrw4usnZROYM65+Y7mUyNzyUPMKPrvLfUDT0tEzXGFyYrDNhs0lMenLoWLh3lIRnKw4nVYGXqNrcRRdanOxRFQa1RGnn4or0KyK5EifcD52EBNdl1WeU3WqIWLJkt9BZhS6JmDXoh/r0miAq53WraTVqYGEsm72/o/jokCPIavWDrSrY3XkRyucgoOdViTKNbc0TTq36kJW4a6bLRIzP1FcMcdMCZQR9GP48ZFId5ocMhy27+QBRnjrAsSTxs6naoI/SiBpSWePW4qyl8Qzo6mOyCoW6y48vD+3daZHWThWYF+NFRkMBS6NP+oyzar6VGZ2ho2QvP5nOFFNwUssKLID4KabCTJRgfodmaCMyf121HI/4AE+duSwFg7FQ5Xi78YI0KnB+p+AJIZUH7w+0oT3CcnabBd5hE8/L6qtBwE+eQKFhTIcFzmAe/z9rBmriYHJVEfIrVo1FnD182LfItCP4ar/CsLKl/rky9IxfKnQxmvH5nB9FN92WDZS5x8V+CLJGuigvEMh7fXm6QbkURuErDkRXvL14LZaFe3lbhvVwjFzU9r3tuLhSeHyxTwmysCQRNi9SaBeg/oLmLp0lomT9/KH6VyOnzxNMV0FPHkmUmztZ+rTqpAGW5shiF9epQh5Qi7+PGO79OYk79fh41ZCG9FlEgbK+Jv9LFRRjnbfMok2Wkr2htBobJb9H4zsaJfZM+J1A6DnGa2r/ILEsAnbc8wctFoW4PgPwTfOCEtkxXe0jkDCcqt4hbZVjnzj3Z0LibszyNKuGbUQREz11GZNDla3dMc+pRMUK9x6/+HT3qW7XMBrwitifANoaj40H/y2Kmpnnd/If43JyqvPDgpDdztin7C8y9+jE+iG+9IcauAidZ5ScG+mABFp6XXoFBZ4fZrZfhXO/xqyppna8WRqcW3oCFdzNLj8i6FJNMKcHOb1piE32BaeaoAlV+LodcKdY8gDgCgK76MzENNfedWw0jLRo3b1djSUCoZbxN0CyxDRJdcitmR+rvjKwMe2sc6RZsbVWhM53NNWlK7mJ16JhTynG7WT42/nE6NoDFnfgY/Kv+mhbiclekMaU3E9HDlP2E9tCqOLT97VSQERHoSm3Ovgz/PDWSXjpxoQs31O81+upS3O+h/8Q8/DsqtmOXSTMlboEG8/PBRulLcnUOclHboGj1y7KUPjBIbAoTN8zmh+kH1t6h3OfzZ2OkKKGZgFUF0GyXMNp/y9IJ2iGK3Z0YuSSmlux/Qevd9KAiBoTG52gkEPcvyVrU3R83KbwfTGn2broxNScEoy+r7PJnXHrcwaWov21iR9uBhFFwqG7tkhNbdlqRFwY/Qf+FGGE0YKgeRF34OwAFVZwvVpYKq1I7Cpe9X3pYrbzTS1QeS58Wvu7i/oe4jYGuBGCs0rO338m6IB3bGq/jdxiNLcQatURWRO8c1oS0KEux7/Wt9efTA2oJvdaxHgWw8LLEGBTLNqpWYmNMEtuE5TxK5uTIZo35269oXkueVUdcNRhx2YX3U5bexsKwWdC8B8ynWLWhS5xF6zETqQzqnfowgSNcOkQqWOKGioT3OlGg62sec3WD+AmzbmiAWmQMSlICUH2MUvipuaLMoJtJgpJUcuFrB8cSer/dmW465/wDRCNWcyz4MeiVor4ksMbGzM0CIepfAqnpnNg2ML9dcqcCYfrvNpv1E036ffWwz/z2zdo1NuNFg1aetjFFwSuvVz5EwEPEbFsjeypKiM2IV9b/uTUD0N7XmSEKCmzurxX/4BQq8iziE1eP2u50RpC1IeUG9vTgN2V3vYU6pAcy8SLv1b0ic89Q99qrDiMuA/8P0Hs1pzC4Cht7C4uNfRdXTHl68dtpl9suMMTOGTJf34BbjWLadW13ubJ6WkYAinHVociNkI2mEAbUwge6xxP+ZXzPiP9GcuR9zLhnZmvBenTA8+Xvn4Tou/XSdsb557pf4DZPWmhfjXzU+2Hga214UcfAODx0HGnhodGKcFqihtPcPiyfxDebfEQk35jIJsOy5qZMfGE1QOcjLiBTcVabj+c2imOpsWAdysKi2rIs6Wnu68FEWz1Q+ULG2Q6qsChMYjzHiFoJ9zSxg/9/vUpyO50jCZIvfadkvs1HOCKAsfRD60D6AJy1M9tVMjrzO+mojWMO/fQ9veCajipsJgQiRcjR25D5/GC83k53KvyYHGpMLiaYiIx9EWhgb6Aptw8Vx+WZCxaGL5KebuCKQs19cP5U8I3n7wFwdUJ2HnUYIwv4RnFgP5ETvS1CsznDgWXmklpDlk4XaF/epAPkBW/Ffb2MoQOmgYos3YDydHbLM4ix0UIxbnnwxm8OVC47jFwgLYAQzXXoo4znUJQoIkLicy49dIFPievPq9GAxaQA3J1X6FbyWBtA98ENOIlpNkW30KX+G9iJYiUAXhm5kD3yPKIhsY/7hii0Xu6ULBV5qCGA6M/YUq3i2g7VPodS0QfKJqz9ntmTROvTAZBvd/5i86Fv+hCuSdGhYbeGwLXeGIL60Y6DjmXkV7EV8guQFwBjL+AcQ2bliumzUWW6DzqOe16Ak01icNji/2lPjoaBO2YFWRtMLnFEuj60WBtLDFXhT+cSXP20Cr8Smt0VxG0C83bd4tG+orvBnkJNJxysP905G9T68o4vVvAZJTMa9+NJ0ABxnFeRCkE5zw2JC6PmtE3HaRTlPWs97iL4G6HGogXHdVCVy78jIB9U3/e6c+71H+1S36IjZpKHOa8RnU+CrtgszLLPY8l1lBKqeKYKcIeK5ZJM8bpjmaiii5nqLwQ6CcPTIfr5oa4lM1h6222HOWbq31q3K9JQQsbRG8bhCiqExaiHDr5yDgeL0L/LTPdQGkMZfCcY0kwTmFfiqntEzFPAFB8Brbd+igvRmDIP/N5C8AKD9efdJBzrMe+C5xAzUA9EQFEh5iuUhTj4g2E7sp+bUnETDW3s4XcPYcaqB5bf1bFSRdiRZHKzdoKqoSEzP8JP9H95d623yByplQ6D1zqcW5W2SHi4k+yrLS6OvjsQ46fcPduidnbq7EJWKklgVWL6CGXHPOJuYUn/agUEAnq9qrPKN8VMaHxuvuDo7knMJ9LjuNjISxkzK4SfXyJep/2xzKRRMt7A4vIkGFVVxMRtt1z5t9VKXP0CP0zXid6jmLE9lUFMwKfMGw3n8wlcVbLCmHRXTil1Uo6toeN2Ump4lyJaolNqqwol9hm0q7VbahM5gTPAifQSafTcm6no3D+Lqi7pRSYaywrpDfbA+hQZbTQBvhjtsqxnUvc+fZYWJHHde19THQwXvOwr2KE/G2K4fmpDZaMUa8nRnDgud3yVIwzPHiUC1o0xJyzz31oMv5ME1FLTPU7yoRKzNVf4NS3Z4gxWrqXboMK2bGUBgeqZjda6wxzCU/QeRYSDgbPtrWNVKEDV/wlGHZKdH0dIDgqtDD4qp1gTOyIOwmog4hvKGYmub10PuBhMNtnQn/tZZDV1yxLhCbfFArTVjcxJnQDExA5NCCHiVW7zXk5ep0yZGig/lkeYirDmQwoZDvFEbjQBx1mv/4nnIgLYefids7Cr/dJCIAVHqQg6nLQrEfZI0iQvLinLa+qT0JigwkoPfDJVphzc6Hl9MLxRnN0A92JSQlnNs1IWFeHC9eYrF22m76mOI+xtFAzqM4MdcKWeznGms9ntgPVRO3ewmoP3fzEn3PSA3JcEu9B3NFED1d8djwtHMYCDYFepcFop1UgQlzuHdYk3Q2Gmg8qnF2HbjmWL0Bib0O2qaZwnlAh7Lc6yOQIHOnodfGqnvzBglJDlR+/q1CD8+/4E5VchopsAYxKpBFcPfClJ0dhvCm1rwyoU3UAnp+DTxtpWLBx4Ep4U6jsvW5wDxlMv3hLrQmKa81//nnSJPwJsvtp4RtFrNq9VA83JJUn2vLlOrTSOGZHn9jEqAl9OyLLM5WwLKQwyaiO2ZBR3uRBWE14L1kFZ+9Xw78HAPGO4GwK6PikVcvIRF+HwmHBn+rYMhF9vAqs0cudj1vutAs3UEwyUFaz0q/vgJ5YijbD/RMRpmYTWc2tO34uHkiWh5Eju7alv2O9ISMh+NkRhnHr+wsXeNHghhqGRQ8wBy8h005JzqW3VzGJ1/IJv4gMq3E+owGLrJ8T+zrOVxQIrLLPOwjhrIj0RvC0RSEN1USIbl8yvNR03Mq2A3jjv/noGev3/n5d2tFvXvk9pOOMleBftTI/eWOMafMS8ySaPj2/33LmSrtu2sebdjzDPEVxo/44S0luYf57tMZTUbwuwYkwTj1r0iYIkkAkYyvJrSAFZIlrhXJjQ5LkCdAnJjtDP/rTljEV50ETj35QQRqGxXPXIK5GbnZuJQ0TjHxKeT874ZOdZ/CY1uaF6YjboGFDbSTuf75j4/ujDmp82n+NuKAUjIrey01W07TvgYKPT9BvZ/ICg3MNHd6IZTBwH4X5GfhbS+cCeqjyV4e4+yfaCqpsfu0ypRB99Mp0iKaL9qwpzkKkMcuCOMfKfgTFphh61SFEUKl76yf0A3Wa7HdbPilOb9UzNB3rcUMkLL02w3qriSyMerXo1mzrDRuRC95yLRxunhNhbJorsbDyWP2snOaWpVU+Kg+j3ODO7bqmAv43p9+Szbdu3FDi+zSRjpt46eeyG5EOEU75xM4K76lDT0Eaw8UBleVyzMDp7/RFQ6yWhzUBCASMRBz5RHknFWRdfSX+W6bLqg6QyhzAL6Qjfq8PJ16KmY7hrHYSrKYDHQWgdsL0gGQ1U4nJj6xJZ5cUXQKSSBR2GOt0B0dxJE6yyEpZjAK1qKEuoCEToEQ06mVqVvczJgSCTUmdJ5490b0WJUxxwzo6FgAFp/BbbiCogmiLIXQ/QF9Gy3x/toypBbXNWNoDLj/U61BxdtsLgwMZjxjTOcLb+WUJwtycYjuWJzo3GNjGWEcdUcwLHMXmPWr6WqaJnU5G5ioQNEThxha8dtbLD3gC5e1kFigDamXizyyJOi9Kr99GR2FrUSdohGsmGerdjse2/q56wLJkUXLzq90PWBh7PD/cF7jmvg13WFI0N6FERqcjvlySisSBsansGv3xuEPywJY9bIglaxrAk5S3rC96MK24XSrNz0W2jvQ1bFJ67hRlqyLmzdRpuWQ7RAwWMjKUYYHzOLqBgSSZKUkXQi4FV+sPKiGcVIjRZkAU4vCHMXnKb9GiTj1XJ7P4ro4ZtM9CMLU3ZsaiJNHX0P3D0B+WbW1gaAweyMt0zgK0aWO13MIpFyS8Lo/fm5s4W1F01x2lnU2GPALWLAuJdF972yunKi54O5qWAPjsVjTEHodlxe9EvOCrgakz+Cp4Ah8bw8n5w+Sg6BKmQoYgUKgschG66Fl2mFO2kP1H9rjEM+HYb3BMU21PjGPg3uz0HPdMrOaBGxMxeChmopZh87ldPl/tViOo2oueTuuHJo0+NScc+O0/X2t3SsgNMJRKgeN9FUsla6KM6bYKaqIB4LOk0yuVYAPmQJw1ZnlsCLkhXXDiyIyXendTS5s3pfArgnQ6o1ll7YHwD8/nqqJkJdRaq2qeq1SDub1+mwhykifL2ZYRzAB1XYDb5YXww/xLNja/VBoVkCs0diqtEq8a9qvuQdNmbAFbULsGoMLpMr3xz5uYV1IlxPC/9RbZ9/wHy9JPLS8RM153FUKmrrBGImk2152JJgz7PHxX8DAU55xdOBaVcyHCf9wYXcil+isi8Z+ZSQqhjQCjoiNZyxsbh0WtPlI2WuBwrtrZRK1SPqhw0EcJvT2Y1lcbGe2eOmkAVp+sVZzT/r6BXxsdtOEOsGQLAbk5TLSSHxicD7BLPVsWXJomYihRNZyYAoB7z8ZRirpKePG2OfYySWCXxL6dIXwEldGHcYGaL2EgHULOWvi1BtuTSUKQCJPQxC8GL87tUc4eYpucYJltdJTy3Juc/U4OpkLqgMFhxZfVHuYLotnQYRKhL44E3SkqcVbc6f+9KM9nwIgc9K9sgAEdWQ7jzfz36+zs+QDGuwluRaxCm4zNLCp70/PWUh9TL4wjnjlPzuSRAxIZ2eh/QCwjSGIygafe0r0hMX2bFozXV/XlTq+53/Qh5QvbNUCskhaG2vm4+GlCIzJ4rvhZ/4XfKKRmMhFo0eutvqOcKRnrx9sooXGGAtOUonXr+0dUFDw24DR0YaPOWYXbfCoFo4fVQlm0Ea2sgL6li9VrpSHq82m+ydT9B/LDclF7C2jmnKcRhNyB34aFBm5/ZlbKSwHFDQVH/G97Li6CBTBVhLVFX0gI4+xd/+mp/WDK0F8HBrdrWM3w87WpE+Iyne71k9eIInTzxe3QVck941OX2nmSc0vSrIO1lzxkAlDzSddKnCVDMGDLWPnLzH13zEMGFRWCeu4plKAfKSDAQOD8oMYJ+LLlXS+0rIH1AsPFYbJA2dDGgOPvGcw03tF0M3Ic2NVLFyCZMI23j/XIepMtWMfn48VHMwVjVy2/m6tV7j4wBm9nhVT/xWyEItRnncuB+xahWwN7q7iWXSOFkKsouugKBApbeWQ4S+I1peXq+NUL0FA5tEF2MV/oHJVqiH6MpSN1nCoObBGimxb7AzfK/qxGCDkxAjjORaoM/RgSgNviHdCBRPQE08JPc+OHRNIEUiIwMEoVAvhP+0y4XJECnmm3VbESpAovCq4tgDYKex/DpioKlAW9Qj0+VOEOxrTO5UejxH58Q7PjTxZiaN3CEJMteAqJ/83jH/aONj4X0vt7icngf8lqQrM2j633zVL77GMEBHbyd1nl6vG12i8DgcdtI37rOUQixVo8i7YnHwJg/TfKJT2sHtJYKqIMCBqB3Te8My9YikWcZuauZ0Qlc0GwjmU3VX+bj2UGmGHeujz7x7Otm6iA+FKTCYYoO5Hp92sejCo1iF7oDb3of/dWJNlUWQsoNBDOWYmePcNNiY/Gg9JoaBroGctPqVDrcekJPkyJ68pLmdAtlsaVm0c0TgB9T/3PG186dq2v7pdQBG8mgQr5wS7ujaSo1OECVXQny5SE2XppBo+467dj2FD1GR1WoldR9Eg55PtB+5OqGxI/vPWNSVwZDpRM/197o2Y0WZykbKSq2fWUPUrX7QMsbFZA9LVzql6IWEzV5oQwYM0qavmNHAxr6znMsTbqWeFlXN2kohdBVOLEC4i0bt/NBuiycNZ+yzfl2e4/ErjN9hrg03F7kZmqZaRDb4910AFuydqt9zwYHtErIf/WPpLmEpPGha/6Tz+55VvxrHjvivrZgHGkUJYKOz9LApPaVmn37NUYVtMXutvFyPX6Tl/e4zRph9V1ZhT6XHsEdHCBln1BcFyTI6v/U0orwVINwEeZAN+NlO3Q1ki/QbdD6XC8MVP+ScCpeqmao5NVLwbYGubH2z0HBNJ2NUacu/J8+jWU1Qcu3X3cfwb5ueK5pODESkPX8bCHMshOVDXqJh8kScwNRQqsXEY+2T4jeS1uIe4yn/jU3CFxiBWOP83BSdNoYyfIqfikpxW8Z1DJJ9pFybfwKzm0LWGhKgT3SAsKUCxf1XGxnjFGW0e0UY0gTxWjO3tMM2BSNVv91y2MrSDiclXZlPin1xMb8U278tRhN/gk1WbW6VOo6fgxND0D8qS4DOmIfoWDv722pwqYRX3J3b6SFKpPas8TwYO9ztEAZrxifNyxRdvJVuxvwpVTHXEEw1jW+OqwhyKRGzQ47DPMZpA8X2esHKaDtMcT48tbO8dq36lGwqSX7gqzgXKeBIsHY6Ve/E3t1b+SB69WrtbFT8W/qwY4//Ur4DkLKMf63WzAgL3VnURo076stZYQf+0VjIz1/EfwtVbuDnEnVQw3alTuNdphc0/ZuADqvjUgN/bGTbj2te/AY3JSDYHSUEwKy/ot/cSciiIl81o9GioOY4LIFqpbfa21b+P+PB56uppMAfvZ+0dRTz7ZdjEe+RLwGXObq3YamJ4DXnUSt1xy98LWJnixcnHtweJtejbdK6/4lGdcmr9ODDxaOrF0y6//nOSlDMx+5ozxEQWkLDZy0c9LA+mJGz2JiSI4EElXBujhL13r1U1bdHs1gJMekxaCsvkKe2CRGRorP26RnekViP+xSqqLT13fbefGKDjQddW0lh/dBU2i4BPxKZEWVMI593TZVP4Pnl/jSQbmdY7R2DqxDSnbiaNr1obzwoOl3WmbYiRh/OdEL28ohG4gWLoW9UkD/cVmQsZBmUKktcHM8Nj1b99cN3bC3RGPCR3NfD8jJPAtBorXhMzYyKiK5QrYILNbkXEU/vmuhQ6OKrWvP/FLacA8AdXlD151n+lgwJ+s6iTjUlyaa3IZAxRs9126XtsdlF6P7cQpWFO9FL3bEwYoqUmbilLsJNhKkqdiTm43sf92j6ioXMkOgBnFEuT2xlh1nWykBMyghQZ3UPg58bOvSwgjy5GXSaHI/ZxMKrPlgywFvblWcO5iqd0FH9A+EU25+Y4lGUbcGBJIrnvui1lbUTLqCS14/1O7m1VTXCsH1axI1feinrPriB3Ita6icdUD9b1ffbcua1ISNIYMyUQxXw8nPAUuyRxR8tfLQmnRibkJWy7kmdgBZUtalHXDQqZFadtM/enDzR/TBOW3lxmxEhnM7ZQ+KAP1kIR/V4TpjfbefmV3t9XHCkigGqtyMeBnvFv3zxL/+1Sj+1iBcSY9SmEwp6mpR1FBb3OXGm6JySnlNC2vfBGGJV7mjt3FfwLfILH5IV56ChnQIJhEAJVl4uBdHK3qMNXFzK8Vy0c9m8dwlU3lel7qCDFmG3GfXGySWgymoS83EagZOCgNDJv6fbya5noWNLrc2AMjMuPx3UGwDkyhhHgHMXkGLLVTt7MqwYKbpp/m6ka+Mpf6dnpcaMhwMKFfs45wbOgTLwySZVFaUh2uYut3MKGczxl/gYXel3AnbO0qYwMGRaZ/T5BeXcqZ7MT9hqiPuaQMymerkWbyPJtR9OYCRs78AV1mUvXQ/O8EPr1+F3XRQZXSkAjKDajTueZ5pHAO5JMhnGZf1np9XOOXrdh5uSbo/G7NXaGG8teqpEA6TZ5UiIIPU08m4BvjYr1LMZdhgC0GbM+4EPfnjP+QHBmDwFNWNI0CiYDDXlLCp7MVzf2V5pdrR7VJmBD6jexbLNZT4aJ8RmKc2w+8+xTDTF//pI+yL/2Jb1tIgIERopLL/a/S3ao3x8oQvrRukwU9BQxGENW/S7sFU0NSLBQVE+K/H91NA9zxtRhXaXuN3ekdnpeuwq2GEdbD4QnttjUluLvZedaXZRBNqMuENLI4YkZqnXtMmqeC4mcuyJHoP4fh/K8soANkcnHdDIQg1aKYtaPkwof7yGjxG37gMPiE0edMzNnxexsseZpvf67YBT/zwtWfMVdFP4ytsVPACt1t3buzbiHVn9OdHp37owGsnhM8veNPJG42RybY29HjaDhD7wGr0a18EEoTiUZtn/d47p5TPWTlW7sJzkUiTwA0crMkR2tQeEhstLZaJYSZxV295jq5StueC4qPDrEl5AMMiH6roSH1OhqmvPoqjabgKrgxOHEk7pbOzz5FpI6fJ8CvYjVGf1+jg3pfxH0VyhN8nwUHqCmJZHaTHcKZT7o1J6CrYEPr8wwQRGE/DG5jDJhyjbDfCaMTZ51sF5I0MqvApLahmi5VVrTPR1yEYkdo7fSbF3O9HMBNkL6Cgq/X/DaJsi/DPuZBqQnBMpr5dZRRL2/DNx3xs6a5KgCKQrFzzB1A38UJ7uBAV/UW6Rsiz6wEhsd6u1bwEqY2M4SmoYvyu9l78yj+eFAhBkLa/YNZz4k9Vy3pl9FN/Gd4qVWzRR2C3/kkKZcG+5fFL+x4y9xudORWpdj4841eyjKpAJx7wOnEPBrHcLJ49+xXsrGMDNEXLdd1LIo8oqDA9c5csxp/Jd9FIcemIQuxE44ynzaX7BHp+XqZN56P2JKTdh1/bdira7bTs9pnaju7VmIy3qIbfJlQ2wwpNIzy4FH759uOaftnaWYTah9AjYlY2HP1JRliOFkhJlLR4TQs0DuJpx2C51BepRkrvhLGVJOhSHvu6gINamSohiKHGLmfvhiDUN1WnCKVv3/qdFSW78VOm2V9rPNHLNIfk8Q7G8DgZiopFzouhEwSNsZXnxsHkYh4gUW9+kivsB/zVGyCnLXrqRc22WqxLv6d3AXI7BI1UXRuQPfQzECeSu+9kgXSthIeV2kT/Hh8widj4l4HHQox67Y0BzQLtWy3yGCHVU6DtAdCask2JSSVMspeITIOIhW5obWX5F0qqzuwAoAZytrP65hIXXhfBaDvuF8IcsQbQz8ksIwP2n63TLt9ntHFazkGep+cciY+fbNOWavJTOM+EU/bukiVws/3CBh+bbmuKw+lGDEFjoFmkUSc2wgf7WEbFJgLHA/G8uF0UZwBuLa6yQIQG1v5BoN53/+Ir0wOPD3J+U5d3bELn+M7HHEtAbuKa62iMTBR/Ncq608K3MZwQeRMldsxfaMh5Kb+JqrORCNcXiaEx0Pk3MTB4pyNMo6SBF+oso9IfgouO518S/aj1UeKoQ7QG5bqITb8OzjMFcPbGk+zxt92ljK5nNnfHwrZtfRI/Rwr61qvMc1ohZUG/xhGrFU0s7gkmDVsONKo6pSjEJKQs4a3JFzHH2VfhqQLT6ksxMdr1ATlkfV18YGykzwmECOREV2krf3fornQhMjB82E0HnR224R35m9Fx2imVwI9NWeNx1rXZmmxi6fWkqEuExWnHx5i/wXz6gSdw261n1LSU36VW+vf+TyO/JUjQefYbib54FUwpR3v5vfc7dIJRhtwY75JxmzOeG01hYFGwEqqo090leCUj6j6QdxSzQcWHZrw0Y2VauuMBLsKMKb4PjLZso+lnyXSHeeelRFBcb6KOIGOfUm2blQRzd6f5MdPh86QZbscEI+UxPcV4fnujthVOpoVnz5NLYPPRQbTx9/kGAGn4fevMdQuFo7GkS7GDFRkIxw//NoHT2kOmgM+45sU7gcy8QMhQyDSaOdfz1COmzu5ALiUOmuaqnn2roj+1wbvK2BGbwnIGjBK18gTKWPboCY159yNd8u1PtpAT3nDS6mVTpLyy43o6bAHENfXl33b/5RUWJXpjLxUg7oscxDbIf51nG4Qd02VYdZPNKojMm5isykdVuuKqNnGhXJrG3NzX6Ihry77ri4aabtsOIggH+CNKmzGoCaDxBmH9PRc5tnpb8SlcLiTkJpWf7lL1ovlxzJOExlzsn1f2wEx41z1OvY8aKSGgEH9K++/D4DY3gekC/ZusAbbsAwAUX8cWDROe94unPUkqrrh0yyeFWGSOqdlK1OAhyu+fDbw9UBo0MCXIr2BJzPb/rzCiWqtJPdH4wxDczKWP7TUD77710sGalTuUKTWa8vjtZFwGPvsxxhoHDcK1HgaP9yKtTkfXkpl1Kn9YIAnZJcW52AIBJDqh2xAYAH9C9VBbvJd4vlzw207Y7MR1GyGGbPQ10eMgp2kuoE9UgsLDU4cgx2zx0RXrC/7LXEoXDJN0ruyGPeqjwQQw5psQKU56wxXYGvOztSTMOc9vhVlLhBNNcmW6tJDEBOnE3owMwn8d9/5QbR7z+5VmEfTVxy5HOZhbDaKXUTEnYk3m5wMQyp2K+iebq6offejUXD1uXfoP56vc2TqAUmySkhNte5/Be7yyCHBSkamUNr4xD9Wh+d8Buz/BqVYwsnFyJVg4ciYpuGDXv8NuXrgycHkUHFfNcNdAoVi608nP6TsjztoztBPw+KU7AQn3zpkfLacs9X8KkcRZRVeN+j+xXQ6mHwObjjvVtKQVBcmqwOqPX0EveHI8lhLDTNqNj5I6TGbreZPTtTcUdf2g1iK4F6zFK0QDnnA1n+adrA75D+BI4qk2Z/rONd8bmW2Q84+zF6rTUdeFsiY1F0MCG2eTVyre1nAMPRphiHZK+7IjQxnG1Yp30b5myAR0UnCwF/SWDXS5ikUU4wP1iN14P1ByBxezyRJqg+mcUoU87LV5ejUfzWas7N5rKbFy4Z2Fg2qdWI4QRUjbYF4jwWTNueX6Wf5ZVjWJXqhQoCX834XmC/2+wTYIJ2ZW+B2XHgya9r4crLD70kqivca6OGkV9FJFTY+gk9wwT1ZE9tS5CHW3w8BSPRdLG4U3PmK0HCjG9zWpepk05rSAoFplYSnieFQ0fXun2tUBnjzazC81kGo0DfSGq+hzlvER1keWXNXxL/qGAOL5HC3pCgMhX3GDqfOjVX44prrKWOWpZYoECKFZJi4tusmXtSf8lisTImPHZUIZV+rYkDK+4Zykl46QelItokzkjH8fzVtbshkSb5dJzLhOsnz9DikoAeYHzo+Di1rEgFlXasgiRJWW3iG3J+R6yib1XXtHZjp2XrpbREwrJpU/k0m5iYW+bCXcOg7aBcntpnqt3CC54Iy2df11hItm8569Nm3dzD5GuFjDrlHBWA3uheSgrARRlHf3qSKMmQP2k4u626dNwXh2GIiYeggsVTmIoSVdKxK7G+01VA/Q9ztYoJSEZvp+haldo7HRcdKd/ahprfmsPJG7AgfJXmoxK9f0pbHWRChUUjq1MbtgNQtla5MU0EPExvRHfzyilimtrzqKKA+s3YB6ROBXpJDjUf8LeTv9RF+gQJJyH5w0R4DU5uLiZhtVL2u4AX/hwGQ5q0kKRrspwNY7//1IEXFo5UFjE2nz8ZZzsHvSVwYLZWbFWcR46k6o0v4vXhpqfKn2UxGQaX2/q9QXNTtKc+blcOAAuD/qkhqHAUQmHg0IhAZc8OxkaIbUcKf99pVe8viKDFMjRyTsuiNTOx1vt4hynCULGrj2lViD0INGoKCr3OP6epFMdBgCKsOvtNDiLC4jS63N++SV4Rm/UrG9SRmd1IeQiHz9SaIIdQjHVEz8+wmBDri8nOVnHPSHIPxChSVsN1nbA1bGwFS4rSbe6459flWC/RsgsnIjWActhpQ4LMOaNsR2tFRUkqzZnHdnC5ykUbHBknB52LJGjRxn/ZtLTUJv01tDsIUjxr6d1noqnpulhB5dMIndqCCXJFvRRu4vA8z7biUOb0MOiT3v+RQtqqUDRIAK3fwNRs7sOpItgDhAJC3l1v8FguejQTTbkSEOLoUR+3yyTRA3jKPxppO67JR5KCcRiS4pj6mCvDXgZ7S25s63X8lL9/DuqMFgVdgsTM6SlLyjU77bvBMFn5deDeTUmRZT6jNvkqC9mE41yrYvvu5PTnxeM8Dk/l5J99kQaA00WV5M0dQYUgWnpR9BP2Os0rwc/tAayaWmX50RhemsJCSQzABAov+1NY+Bj4G+FbQzDyskaVnnL2XR2KGnGWxQDqGKdB7YMgCegSWsvnWcf0+3HLPcxUDlR/WvRuiZ+ZRgdnVQMJNAhHdXmpbwCS6LlLQK2SBrepe8zlE1PPbqenLOfy2GDdBWh1loy0s9WCu9JMmMPc4kkIYOHIForYDMG7qqHK9nYR5J3AQsVROaEpYnSOA9QY1eREtiYHZOjvTh6NEzTit2xkrwBrcOMH5lNxfVpiaH9ASg2c09nerjxREd/NlRiZA4+UCqjLDkQWxMeC4ra43HMif0VvJpBq11e4wJkdooyrMihnSMkKHRFJJHSB3p8jKeyWism927617q00YGlI9wwsGaShU5bBmnU0K8nDw0q0yjGPH2GpAFVi1Tj5wED8SP068pp2UegRYOfSf6xsgwsj37mN2fIOnsbOwujAFbArpHkijo7KpSHMiRSQybOfgwMIciFlXSGKHAiX1fzpESLTIYZtNHB2QHiP85//ZhnAYCpJnNxBd/SVevaFGw6F0Kxt9tCiF8IWRswj78DHoo/QffGRe5/8rm8H1+AoY163VCn8owk9dDEMzd/Y3Z/2iUnJyQsqr8Pyj4LalKfACu+LLRC8oSAGl3i+jidlMxq0xlrpy5kBDGkb8o0ituDto1sCsNKgO1FWWqftIOZzH2BMLyPgE2nvFcswuPftlQ6v+vTdX80kOnwcEcIsQdOLz4NNRgeJc8SBjv8tNRhYhhxwC8Eq2fxpXdWmdHMu95HjZyIApPDFRPt3YoA82j+wAwAODmyDwCv6qkb4xkrpNNT/tvqtyvWbyMEXhFGvfnfy5F67WycpNGCibgwZbzEvFJNvkbwAPa7tawjupkvl0A2Bz23fVLZ806APpAejjcJkRM8wAp1lPft9vNVAe4AEhlhKefq0N5YqmeLwsfDbs7fepoy0xSX7RdkKmIurKbhQgpiQRJoKP86RiuZFeqiWJhlfCjQpMhaLnQxR2y+F9WkG0vuLcaOwizetR0SnEEQXzadTIkVHLVTL/R/rB9jabBtdlhghxqrvV6KsfDOEpmPfgI5TQrwwWIJmkQzm84l117MHVHYu7MyQLQQpYCiCSGLf439x8zZEi44iue2y2wNFB7MwCpduO0UW8MGIKUA/ipz2VSzabzsDtdPYwLGVaXDaQLYDG4KtImP1z6M6nklyORWklSQlXLB5KnuRg7thyZSk/18MZijlYwsxaohlAXsPrxWyvenSWKNrxwH+bJMkAPHZUiHZkl+Hzo3M6i3OTPY/7ZBhU121C+VjXQloEQ2OaPMsgt0iyfl1n0zTW1MC9sF9tXLSjjkcHdWfVe9aTImOcPGkuiiWKl1vyjrKiUtTgnxk0EBUL7VCobbShgjk9DnnDflSekuWPq9BzwU3KYJ8jxcEGzo8UVp0GLqsv6yvOa/v6ihwNX+dka8EwbiA7FH59SUtLb3nO6mYjRQkS6vPbwmADwmuz1zAyCqqmg5oBFO46j7O7+oPDj5RLWT/1uZQdeljPjj7iemnR2Tp+PCMu75R9urL6jurk2pM8BccUjRibk5kIDgq05tJmBFYZcdmxH8HzHaQslqKi1qTu/vfKTSVl0UuyDdPJ0fT5Vo/f6XjGiuBqsV3f1cJp0tUjR4g3E3y8eaXfC2AYux6CN0i25SSp6GlNOIaZM+pMrOpuLpJC1BjW6/XjklWDyMx0LT09KJ2mvwPjLBDdxNEEswp/e27//NX+PSqyChJNfiljJEmPZI8emnT+U4bWdwnSgjLeOtoodnNlCGJWKn3Ch/f0EpWdjgCSW1KAY/HwGzqakUTYl8W3pzaKsMf6lKbDKMIVp5/Ch67KgBBUJKlgMtQiSrORKUq7hQc4sUJcLZRJwi4eIsalDH7fFuqXzaXrv8ctkSUpcsgLfpdJRsD60qCaK6ZOyfy+G6f1pu3CqvFBXgfE476ZN4Lf2ZK8VSrZ8G3nDrsxA4+3/eEuOKiWMaydx/nSFi3oVecw+g/kDo+v5fWPGy1HUt+vsKuCNCCzsUI3rk0NajC+hiPjjzbdCHoAdhL5pFiIZdRetFsvJ6BGNaBxBtAs9yeCZzXGF7X2Yip1CWDp7vRIL1NZH188qe8D0qKRh7iHo9mAbrkD5uBMTicegu2ILwMM25oLwb3OSsQLAxNH7x5BfPPqJ4F4hlkDCa0WfQmvyGveROwx8ZTkT6CTihny9XuIsKDrgb4KaJKwEHVeC/ZGWMWjSfVliZmlh/xRboMe78y5VShZFr+Z7klsG2Y/BBhtJvHeCoZSGN6BwxRcXZewGeuJjhGI1xjwYEs1GBM8w1b8dvRR8/tURTLLh31VRo8HtiG8sMc5WZQGutXjfiy8y1THJBidy9j2DIlySGCLCZdon9uMMzNJk11pDM9q4x02oShiEr3skNrB6N8uPZVHkicZsKcEphUY4QuX+VU+4AAlKo0LghZuGNGcsMT2k19eJKAAwD3p3Co5SKjjsUgLcqVbYIz6zSuLfQ5E7rocTrm75gGX431Z6M9BOFYOx0cY6Cwc2pr75degpjtWBjS4Pg8sya2qoqZ0opdTP8AWoFefwHxlOap0bP2q5Mo1597Yiwwau8ymEDsrAs9Z49frDhVSjoBXE6qLwRYairbbNC0wjlQzg4usuM2ZqVpIYsBxbtM70uxIp9MT1FmQ9oucz32R6jqiPVViTAi2VYxr/xGn2qSemAGqEe/BlDCdCO/E+jW1fWv0Dkwdd6DvcVCt2d37t+3txipBuvVodv7ggSQB+2xtYsCLMi8tAEB7wx3CBY+YZWMV0mor98gLECdXei56el9iFM5zQmAdn6wYl+5M/XqdHkJXDSM6P7b0lhjlDZNUUFZo+fGuqUPbssqlXjoQ/w7xtwfJ32z/G/ZpK+xAT2bcotE6EhqDaqJkyrhDg/o68VN/mOW3IDbcOVghrK3zA7oYmYHDdYXPI28NfxnVGRghDMo4PSGV28MdXODeiF37ru8xBehcj6Q97ClieFYMCIi58K1bDpUE0AoKaPO8/+2c+tdyq0I5gAzPHen6mK60dQWzdAhgM5ou63Unw6nXixmRnjr7daqJNdhUsUv0g7+9wu76cHoVMjBNF3+/0KtSA/UPjUZ4O9UA/Gvs4WB0AOtqg4mCOMoqVlZi844f1csy/Z9ffvD6Y75p0DDElw2F052MAiq3a02svbz49Q8rL1WvZMjWE4JVSdAa4eR1698U0M6rIjd1pWE/vtQZbN4f0M7X0WiXdO8mv4NCPwf8bPuJTYGmWg/zqH9oHtOtuPeYJGnAmssVI42mOm666p1LrXIeBPrC/R4F87gRwHbO82O4QuYJJyegcGiCiFN+mlxMfeNbuU20GQsKMTElWaisiNc4xtmxbYc3dYqPLuAMpVZU1SqmJUBj2/eIdSsKaIg920amGWQVnLbjNucm2KqnkOvz2SIcgaXZrljbiGpmLUhzkDYH7HgnMTAzgANkqYdNkYP5qUYdmjK//B21pMKe0+xqPbRUMd4XaCFUzjU7AaFAPruYv554nd7O2L+RVYk4xKcNRdyosTdp7hmTMmG31b9201pwLccuD4b5TkoUj8MnDZVLxtGGEbvSZpNY/6IAyW/VX1FaTqbxTsK9m/qX3Ts1Emd/WPin+b4sy6pHzDhtVjMB4smcpjWHgPeW8vxDj3LU+xj+VOmmCdHpExhauKgMiqa9XvZfOGzCxN7pQGcgPw3ugRPZrQmczSsr/8h5Rw0943BD9PLmX4kVmvi33QnzM0LNITWyAtsDtMkHwvAeIC3WWmR3yEXUb9rYB5SMY/Y77djOobuyrwLvYgCR1rJeD7lPn17MiU6/5q4+AinNaTXT0gKjWvel85rqZpYdqmSTv9txUcBAy2itasn1gwc9eUdINzCs842nThAew4JSoenJltHsknMwqgrnisDP0J9yrLSVRugaynH99v5REahPwlZchJjGU34UyrMtTSGlW9wOdE6CkE6QbfDDFWb+kVoG0Hu8mdqMvj78VJZQcsjqzM7G09i/eSXGErbFLRgvxR35yn8wICxWr8pG+VHAUrl1P2dScHBK7A8Bpzn0JPhI989Ok5WLuUBWv4/1hPpMEwJE31AaM6PMB0uqg4OFOtKgdIKhcFTo1+j3Q3qYe1H9McQjTNJfikYz7K1Ee1n2bVimLbu7RC4UlMIo6Qe1y2We+O3Eo5emNe51vWnHUP6uhjFuSWrC5Eyz6YsJMJqwpIvAoC0qOdeDq2rEIfns1yOcaYic6wSzzT6D6s/lU6wp68n1K8GZK+G0qN3Pt8DWqq+dQsjMmElWEjnGuHHVPtnmBFSIQMLznIsuqgaXYfGQYHTFLP6V/uAOU06iHUTcmq8Lmye32zm40OO1jj1H/YceEXAo9ukNZrIrKwTVckV8fHC5pc0y+wUTFUlmaM3J+1jsgu5ufid/TyYqJM24vMml/IvtaFojwJiM15bTXDW02T6txM2dAk3wqwJobDVFtpZQW4/leCJDSSpyE+M9FamBK50TnLPjxZSzh5FvzLRdwKpkp2cBZQ2rJ4I2Fgj690MuxaanTYaZ0rpOdF4EybJaucF9yYupcDleKlEId+Z1kxyzxN7sE15c0Akr92KXGepyxa3ZfbG7xGP8XRYG8G7fzYNAR035Q3NLZ5D2ghFgsrmxLlmBHs4kkxoMw1fbv8fmPV57+WcR1QDeLRmlfUTBVAwuwSL1EnxMzu2EVRi4bzOZ4hb4LL8zWy3ZWjJPotiH1NINyl8L5ZI6YsvXeGmRjnjHOk3qjoJacMX6k4SndtqVkS03lFMPbpLHSQlud580t+z4ymcz3154KTdiSezOs4SWSNo3vraFEGFc+vJw1FZu8QUVjwTDki9S6PKL4I6bbA/4MgxdyKQ/5jHbWCY6YWewz+YqjAWYv1IxxgCU86C1yEV/1RtivF3vjW3cMWRLSeU5vsAAdBcLYHdVbHG0RTzfdDFqgujz7ArfNl1fu0fDRZ+VJ/WiCnf5fFxyIqOyV48TIe46Z/2VJsz/X2fSGZm9icBGpC01jR/hVwexHiClETkg8AsuOQXEwTTw+Mac5OiNr3BMX3SZcGlj7p9BszZSFAShwIeTj+ChgqUAF9ZOoOeihiSMA6WVY2D8Z+dLRutAYSCEq2WTRtH6Ksz9b33g1Fvxe2zUNkOKXOcGOD2gASKosAgZUBFef8rWQFi2Gmz1V3qjSyNtEChl7l4SzUrQWa7Ge0dItZkVg2UN/vjBL/FWI7zmbLODkjWutzDLSEjIYqjYrIpUsALLq8Vd+nil/zZ8CKg9xbYQd8g0CSfeItjACRXeBRde2iRV3+jaqQord7TdkEu5+lG9tlbhFbuUMqUNjDgKHIL5T3q6a8cj1PqVolBg6H3fjjj40n68AS8iQr4hbbAOxyOB/ChKF95DPvpWz3u/r6pmwBk0umCfc0uxQCOORJjlEDx8qpfgWWCHyyydu8QhvOuOzuJ/mro2cyi4ATm4Q7Z1V8VoF3WN3UUCOxq3X6T/MGekGFUqR1DM9maqLnFDPVAqpdThazFNQfc8mdbJZD2kxJ7QtSCEULKdgXiaMAP7cUrl47WMHk6U6Q2Rp8IHcQsLvQo4+kMvvIaEU1q0266/kmYZRuUq8D4JNf3/rVIQiTvkJ0HLSZJ9WTweFYa8Fwqf3oV+nclakYNLIGLcUvGdoJEGXfFIor+t24oz+Tx3wLhqUcLEtkoDYThM7Xi4C1aDcMZ9L/V9NAJ64wUz4UQyl4/MhhXcB9Xs/xH1iFIGOKWIBsI684l80J7G7WdZhny0HerkBPnVbFXuhLtA+27gM37751BgskBV/C4git8ZSFyP3HJMVPuCI43/8vIMopBmaKkCzfE+B8WeZfSCbYFuTWd6xKi8a/qyok6U1ENmGrl5RHsu8pXGLRIepLTXdo5SIaLwo+Jyh5Lq0CP8M8PTAp4VMz39PhAc01i40XKJ+1Lg8XV0qR4Nxk8keX2lrgpJENJnQRkUTtFEdQMpNI2y8Fm44sKlVtrTd2SLQkHZXWG0bOfrdD0GKgT9NYcnx9NNfOrayy1QkOgBSJW/PdSwsiMuyDvfphXTXmdY4wNV81RgxoS7x2q18Vf1TELYBJlwrNjH3jXpcKL4aRW8DN7OTRrnBVJtOVIXCMWSfrabTf/yCp0aOfdP7jsLmwesPE6wGWqbLlpeK0fPiI5jZSCWJDnWdmLw5ttNTebjgYusIzPLg2mKsJ4duvbGAOpFhZ4XVlniJC9dgqYm7SokSYIdXs/OAhutfpxBmHeFmHQknB4JoUA6beigtfp+HwTsmlJrL6OO6/8xT+W6QLWX2is+DjWo5slocOrYgap0eNqCO1bf1e0zfZCQUouu6/cWb6Chrf0e5DgsbRy1VOAuf6If7WWqo40heAz0fl529/RbaoV+gJFqEJEYKFjGoCFJ/uhevXVeG6bfJP4fAUycKRKd4PGJMlo599xVikFtFwOqcCEH2Q0G+AYPqbpK9ygfwcXP4YHa/X6ZSKX1gEKgUnb+8nB8J6yniidbjNYt6GTMMxcM8vuVzzHVILb6hoIZGnHO3iTSPeSFBzTYy7dIR4C25V/ItvnpcH2Gl7jM/Q8pQPGaB3hS29wSU8csDtWPiX2gcg/fpQVfJY349M9ykf4VJVvObyJ1lF7lldQS3K+wG1pK+wWMUTCWUlso9G2It7mu8jYALhgtPpIgXUK2QYeIFhST5LkBBhEiLjduvOlnWlqWIIdePW0W33mb4G2C4zFv6/c4W9jsEdHF57s9gjiiOAn5mdslVRUDpEwfFMGiAoaCjuhfWkRbyf4q3IcidBalGPtRoMN0tEVP03+MEmGO59WbHqr6Xl6H6E3Fc57YwiJ1VQc4zChG4AFsugbZJNZk9sxez7T0+xr9OpCo8gSwEqxQ7g/9g9UmPktpJnfvTI/duPQ9h68bXRvXzuJlgBzAR9AU4JTZ2Ia3btdVjnEZoRWtYHSqta/vrsVw7EwLKL7E4YmRXlVfYw7ny8E8KhFLky1uzrEinPWDShoF4heobioCbMt0sqFfVHscBmoVOigndYWpcD2hsdX9X+Gh04LCZcGjqNPrQW0QeZXQNTMTTdIAC4gVgKN6Bw8L2cV39W1gs/HBvWAjW5DY9JAEFThzQeqje0qRYfsRZJojNhd5p5g7dkOn/aZQX79AbA1eYQr4ukNaI0JYj0zjOWaRp/Ln1hni+fxFNJPgdFmfkLVcMDYZmr/UElAntuc40eSafIBnohUA3gWy+AQAgXL3MVqsF65vGp34xFqsQxuA33bEB3njBMoTzMhEZSAbrZ1j1KnPsICWuPT1w6IGvWKd9UVSPOeR+2BEpSKf24BoQW2Vlq9b3NqCc6u/iOgzOYV63DVSVV8TwQcrAQqlCUL6KyFH5AEX3rFCQ5sCv7+qwqHMJmnD1GwpZw2qX87+o8HcI+ogs4dPTHeG+qVH+KwZssUm9Xv4HwSBDXkVREo0t0W694M1ZHweF19UVZpMQ8YBv5Iv9nvKcaihg8m21V94/amwlxdmsgLaA0UopI4LkO2BUinNIEr2gwqqbm54nmU5ubUKeC6PKZqjsoSmaXo4D85kmsUJwAlSXeAReubYD7xhdJtbXQGZp0KVp3tEFVEwbNforZvo+kgZYb3YDI1XOQFA2z5jSDPNt9OD9q/3LIUPxaYQiNq+kWcjmJVCAOZ/S2g3dVJvbkvlabsBcf6A22SOa9PYMa3M2alL28tyYzdhZruMMaRBnN4hAC5vWYI6Y8UP/jYLu/g4TY4zNLxKcEdsIaPKPIeOPSMvjRj5sWiEmKDCDA+aiDfhJcv4ze8Z8xUM79I4HpPeCt+KGiDSN1/aN8UPwfrYFZCPvZJ6ewXVKuDqElgteo3Ofg9i8KjBA5+q7Xhsizp4pOpi16uHPJyvoBX7x7JXnoYN6POm+tPOw8V3djQVtNoXV4AxM8Su7KKDkS1TQeFRDPyLjaQ8vGLSNrsuvN8iQ9dcBb0UzJOaRGCpcag+RMhYA7qXmDqBmUgQ+VgBJlEBICjwDpwuiHiF7CSJvLtKiSuSgFDBBKCVquRALmJgiBx7i9XyysFHQCpVCHROQCotA9OqPHlAT1sxtXJRzkqb2wdStr6J7akrv7qOWF14L1Q9d3q43atXBlAwEVe/nLviINFZpaDZq/46BtYlAcSk6FluRe0tY/QaCrOjWVUt8wD/aiPdFIRikxuEfFR6XD8n+Llw9fd+k9ADGg5B/8PSkB26dvB31HrKnWfV6sHHd15OeLfC7Fcec3erWzCdx2jerVzb45K672vPmWqmaq0v3FDbWT/9tgVzNGxNsBkoToX+0bHTnsKJQ4JuSUszkhxlufNsTpX2Hr/ENx0pKcXt7qrPKSPQHWHw/nKKYX6O4NCfK91aUIX/YVFHYlT6u2MwdBZ0l6sWV/7TabcUbNa0SP1Yf8TTdUb/HZ8NHJvFysfXLClHzW88auVbzvhxIFMDZomP5dssKOL/oV+Yv5FrAz+bH3ESeOZ5q0wcAL4f7jekYwgAuP5VKlYxjXwB82jASvgJ3maNdTiKlZVXZHoX99nrKVDk0S9guOVRtukS05KBEGxpXWpHt9cns0i/+Gep3Dtqjnpai1PzbbWM24J8tM0b5leyi5h58ytLxAp3ISgmPYtSU+JeqnMOe+vs0TwYsnXPn9esRBlnaL3ul/gEm9WDf1SSZRdKFyz/8p6LjntBKmZz1s1W+cpha1BW7Io/PANLjpvtMFyqgKwY0AH3x8a68DmcV8rW0Il/QPFNUmG/rVU0mD6h0oP2WWS5tOl0rENb6d/cnPa9P8OBf+9OZc+fx7ssUpPBUvFHieY1KtrWyyMPrf2MFpPiOpFRJaapGW6H/FAQYaWi1IGALkcvi+xK5il5BE7hayzZE3K10GS/r2OhAO7tou/qK3jYrzAzInTkG2IeqjViv5ODxnLGkP0Y0wUazjexKTPmL436IjdA4zNAQEKcUi04fF8kDmxUUiC8Dy29s7RXO26ehGVbxahTL+ksPrpcl4M2jSuJcu8tv84RMnU3K10L4qx+HceVhfca3egtKx/b4c3dGyroUvsSa5VmHmAzXzqce3f8P0jGuUz21JaT2Gnyh9bK7ML8OSQQYEFlZNJNHg2BkFAP98OXjUlbNNc3XowE9dkvSF1zWRscQ+3wRAQGo6nd9PKPfnNWk0eAzu5OH9i94t2+hzoueLbBQQjIuZCJtfCL7KO8/gGYhaGy0x48ZesAvkowan1+FPlq+Mq5dlodj9PgmziojT+pkOq+ucjcUzEW8tNGUlm3nDlxniMWp2+xp3LOh/j6Pc3lUJthf+/N6cQjAPzWxAuEv1wyLPtRtHzVWfba4w9BykjQn1H6n5rwGA0o51svgH1aL6UWY4pZDx9v0L5AFFZKbKp+2BOP8qL4fDy5owwuLrtr3WeR+OY8pueFNdMVSqbwYVgSdQFSokDOAKdm5xHitZrKyRZmtH+DajHsWjDirYZlzQIxHT89rvud1KG++7Y5AKB8mK+L0Dnd9DZnUGnf3hq44M780MfLgUpu3nyiTbIHQNFhUbSCAyID520OMn9HJZPLv3Q+3PuCI7WQwXf4fNUHS4gA/LJS0EjSA1+pudqhpv0ISOqNds4hwam1ZvrX5naf3tGVZdyJAk327XQxTyB3ox8XBszFFc5A8VcSeZosG73qaIOpDMZitXRCIKIfy9g15K7hJdMTXN+VkdtcoMlyjQpSDo+QTuUU0nI2E6ipvwYBNTELvHhcfjXxJURfOjy7D8q6AL4FIJrVojm/wer2ML/Bm/e1xvf2/az1SJ06VUWgxMzqPoZoWMGwywo1Of2ALBGGh+jkOdIoc7rx06rnX6Zjor9TX9ZClaEk5ESehSaoCWz8pr0HbtpYRyFDNWzZnmAncfbjhlveagxirrQE41y11tJPom4QppgYnMC3+oho+RHVwhRbPhSzZVljVD4BnGGJuMc4Juz7FTRZ0FxN2hStM5GMP8bDi5Jys3N3bXohxoOLF6ckDrwxAitC+zIBcqlhKSyjnMioB/mymz5vCrLKgE1AI3ruexqMLT85uKaxf9UlYtITflN0iRoGqMcVP/LVe8Hy1+1R7d7EUi6pNr1YB8rU4EPYlfAK2ltJFDMUH9pqyBGtgb81nFUnJcxZd9AuSkraCdPHf4BSxQJU4bzGXzVgkyliku2+r/JsPtKr+StH9krCqulGyLjLU1tk1wjOPWQ+ZE6yHWSWK7X64AEKMCr+sa8gjINIW0SVNOT4A/I7366f4qweoGMGho0lfcJf1hbwV3at9ZKoynPLJKbnuXuR4tKuixVYVRZlF6ITvfjStI1ZIHCrgAOJB0f2giqrrAwKnGedq2tMqrOMHENnC+sn8wEay3czC2VMsnCSy1xamlz+VJFvepWr4AnpL0b5QXnWvfhZAVPsD1AtzNftbBpzfbRKfNuKbiI1bsjgcmqx/sGEY0UG+sreJxYESjqrHfFUF9Hhx8TYywLcrj9YLOFHCtANDZ5N6H+XkTDHelWPd4eSrNcbKTwoXtiihXzf3hwCe/TcVLNpexgnAdI0JLaTBmQdPyaOICQCycZ7K8FyQNJPkx1jYmtEgPZ8edb3QtSoXTiiW/ZV1pAK9zZsHGzjTOAg0IdzbmY0S33a/V7GBhAEBLagD+GXZAYpkk7qJR7NMabdGu0BpRrLBcgA+cEM0HQluLOPcDT0RqAKB1oi9Bqu1HCxvrJPHlhl+qLMjPA+2SfZpJxDh0aDJXekWPiFpuNW3FEOBffkjg7C4GJGWTJJ9xNcr/rzheCZvu3WXeibuEu5bx9zoJTVVPtmQIarBYW6Wjv7rahGJz8dQ2uW+zU/arexHr7tR44Etiqr4MCE1izwJOo4Me6BtN+7k/lCYN1XKQNQ0kZ6YjyThQALySImn/pGwdk5B09trl5eGTIfhMzhAtCmeybdcmIu1PIBOynKBV+WNPVJDDYFclnrtHjTukoO7VRTn1X2rUQYDCJLcMUR5SYqIGZs+2J/r5t+kh0veuRMpORUBiDdXF7r6SiLNp18824whopDfhrdAkq9w6SK557j6VQuXaaUSz5Y61R4vCVThvmzgEKQczr5CAJcCfPb/QzPowqZmIgJzml7EtdtmrBZgzoXi+PiFGQNAu8e0GmihU0BDe7IGgwRyGtgmKW0MwssUgyKl7FPvElBnN5ft6Nnq9xnbUrpkT3Hho57vFwaTPZdIieG+4jPySoYJw+WHwi+k/1S1VoDRabZigDATBU36gw6bXC7RZF1Bpn0NOMsdGCI8c0qIRAHUB2dDMTyMuPr/X0FpjpteMA1z4SljEQ0dhUWkOya8387+8N0pm1WMSwOo2V17FWwesxHtWaW8gec+t0VDwbRJYfSGby1j8LyLfp0OB/HS4uzY2Lem+eRAfq8qzyEtcq8oRaoyg83O9EW6dHbqbDaI568v4+rA5HyatfZ4yHDlM4Sv0VB8JEn1u61fsdbzufBmkvoTpq6V04z27to1cYlpAMGSmlFFi6irHLxx10yrTuv+k8SprjDH2ccucsuA8fE3RW6VVGIV5ZwRHV8pHsHqfcfuI936mGKHoSKs51d34C90z0S84x02wTcuM4ajfJp61fteue7WjEpTmWjM/tqigDiFJy14G5BNLeWjS7lMxYbizpmjPn6QZRoawI3SHQy9XQHGIfv8mEuYeGfGN3ZQmDpd6RIJeTOsLFTIRONjhpVOD9IX1DPzAeX2+uth3jJfZc3rF7Qkmw3c/d2vDp9lOlEOJdoC3COPqshNF5BBc0S0wVq43uyTX3i5O2vxXAQbbM++rTnXXwNzpg8GFDVWDe/GX3VXcqA9rnH2j7h3m4oHV3W+vaalAK3fM0Hxz38FrhMH0rmmCHvj/kZjkv1ssm8KMSOee9isPn9cIGqlrCCfDz4q9+AZdvYXW4LdDIOGdfm3YLadBajNwajK/ZG9jwwPD/uf6wP3c8tb2+q0XLSxRFYciAhtMap4e9MLSWYgtLITG5UAK5+g5hwjBWtgQC1REXXH/4iZRj7TNz4OTNgaELINggcuRLCj5jWQLNauLgRttJ+Uy+KAhYavAoJxBXjF6fvPyCrDufnJ5r0/ixxXztQl0YTJZXVO2AGYFzN5Hjh4tNzzvnh4ouaT3WVmNfVfhSAOwO2SRp9LUsSyaovrABkAMmF2ejmr3sSgL5UuI8rwKrb08NTywx0JaJt3XAi/nbD+S1lXAv4fYjkvzOM66ORyccgxBegTNSbnUOf4MrbDPomdixDKTFF5j6ZBjtmVvV2btmEIC+E+bXtBmd0fWLeYj9XT8Lyphx1KoenpvJSFde25YzU33HPDGwO2P1rsaIUl7JVP9JLuXdf79hRMLQC1uyusq1Rc3bXVgVadb5+Cx9J07a0jVMN4QIEaCauhAk4gcQFLLL1gE2WLPbltem5HwXYA7TY75wZdEDc3PZIp7q/sykCr6P+51juSa8cIuxzvSPDwEYyF1OXitw4kdySx51OKeKMjbN85cZVtnwxZy1VCAuxXRs3os6692HcCAq17QAzIK+laPljmjkcfcNC7LISNLCBavV5mpuR7OYE4MW81Cnp73EcufavIgMEzm1PoSGpnoIAr41FLVWbX/z5GPs8dGFioXc/tuEKUbHCPoNSm2EwDZ7ERC/O0ch1GvI5JgHqYSTh+AK/H5ht7je915aWJSXghxwZlEDgMXxaF7XWRefpDDE8x2n1er71Q5k9+8VTTgIw9tlcoDkgVVuXddreOPXn4oQMaMWoVRrn0fXbqbR9qRr/mhOWOdTxSn79aYzWFOpXj+rP1Peugm5ma13FARIcJSPH9gXNT6n+KHd7T7aGnhhSBJAqFvIgNMnjVg7PNyRYqlKreZipk6K8E0+RO/PvPV1mLXrDSNGyTBvO4r/6FS2WRBt3s5TKzhZF5y6Z3GK9lawFdoLwx+zNbezb4ArzbkExq29gRxoSJYLfx6LeJszGQww1GIz3Pdbz5mXfxgzkzWSZPBcyPq9oDILcYd5MbTc8lS0gTifYrelmjQp+gv+iy8lGjF9Ymdancgsr6ay2pe0088M9IPsA4W1v67cyFxQzZxXF8WbeF4dHuazH/cfIwIWEWnPjA711XZYjZ1T0sBwFjezO+V00546jTmod1AyOcqogwOELsIoWgoves0Q7C8sNm8WvO+WSmBXyIN4A+2XrM/j380eVIDHRek7vIuN5EHNpm4CkJnqGjIYiDQiW4m2C4TQemGMwq3MycDRVVgkka7uwSs2QTRLkOwwyGbjrpEHLDeiRFwwFm4R92BWcfR+bX6/QcR4SJeagkrDwCS+46ifMYu/oAKXaXRhUY53PlWoF/w+3xVNffqtVD5b/7soQbi95bLU2iOoqa6/Y++6Fuze5SAv4YRHoa0qWBa6oAYJYyuHrjG8BV8B8BR78/IS02WXZgNJ44g7Ccr0y+t0yLb8oI4WM7LAAcAcqLA4c7A3Fb4PKgRBojx1CCrfd1E++5ogLLbofqp1Qgq2e+xT1NIp03Kv9nh8bJdijPiWIYK9lBdYwy+JwP9XLRPUmmDOYPJyK5QV3fL5qTBYPOX0/CrIgaegRmg3vsOOag7Y1we1393uhVpv8NzAVTyAo4q32H0ZN7as/b2S6oDs3N/oefIahlRtvQgUwXpMndNIiIQmY32W7++wdl6FFAYPzDITH2o+TofJDBI/IOygO+SN1iVPMGDuGc1wjW/5x5Yyo3g/7awwkWsVOFvGVn4FgqEm0Pcz2BDTdrobTgXe/j5cLxlNsXwjdPRYwSYkDEfoJZ15g0MJVzNm/7GsORT4Mb/Tt3349fi8oayjaGRWunr/jTZA5yjqYVZqGd/taGJfp3g2prpS0c5N97Kvi3Iadad5lb9GMZoMZ0Qfuz1aPCsxOf4JYFf+4N2JiEpdc8FFdhgPb28gqveD79/TVZNBP+mm9PeYAxTtfepmPN/LEEj3PL6IusDtir1C7LHIwoxMHf/zklcCin47sDZGvHjrzt8RH8yVVOi6jCxNt1zT+32PeDTr3QHlPyKnEwd6AoIKVTXU8V1Y1/ESAwVTTtiAQj1I2jtZBalpnrFclEfEvMi8BSEoAYJZmn9kp34dr9mG+W+1epfjmovpKqOtBV9XHoxrcxsCgGxpug4aj1KudteC5fW9ct1oxhfxarCUDHKUP9pIeHufeA+57CPGnoho2L3yyVe9v8MHQWXM0iNVFsZmSDGJJymLX7+oh32+vJVCc9cKl6jE77bAQtFDEs4t0OM5jeSe+noOauGaHf66IEPMVgp7brnkHrD5zScEbf+jomW0a6ijTEYidLodM0CRsRcu+fdLIcDud41lkF2Zj+M5snoP3SMpU8h+tlRGEMndoZxJ2izSXZu4E5qE99lAFAD+Q1RPLWxc//EhvOnGRjhEfi8IULAE7R5vmeI/qVK+KRTEa2DoG+BPCM7afpooXg2+VmaZSwPpWNrQT/g3FJT7GClGqm2YPFDHHG0b7L1MsUc36D4WSXkGRayTOtklXgc1B8+5k0NBz8+Q6IdREtlVs/jj1we7VsdGE/TGJAIqybVxJoweG/Kvnq+x0wW8NMdGvDqIKVDOgcTcGTrO3EojY2W6nCUcrm6z+oOe9Q3SUrGjptOR7rD+ul8aRDFPy/mHVIjCrJ+ehw/HR9/28yInDtitRuF+2MmndQgCopRD9lepV2XWPcw1KSpLrvfeskFNdWrWk4OgBPWlkb0XQexfVJfUr+tEm694l6ygzIBYVBkq8xR3UtovTtqQ1UMGljUdADGOcD/piYVNsu8U2Y6HceUBinhfQ0fhWsXELxhOk4vTGfd42ykTWo0bhyA/s7hT961g9ejLa8/mj7u7QRZZxQU02SwtuEayh7yyu6Cy1MnIWIoEUKE8leXn7z3BIPiHSygDoNn56b+nlHTxYB6vlkGkQW6spQWYihaIQL2EWP5xKb8bNoictikAEqTi1YuH5j7NkBGVUWM50aPA6AOzLbhHZY1ILmx8Qf9dTIc7oFhTQbaGQnH8RJI3QyrQENPkdBwI5uHanlH/OoC2yZlC18uFfZs5BonUydUuE3+4Oly2xFE4cAjJoIOZ5s7pX6S0XscWLNixcBUQXkkmmFgKo8yLOHpVREWXkT+1hC3LNRYDBhEeRVJukWY+G8RrYHwTSDFCMwWkXnoMfCkFeYNAB6o/zk6PdM+wt4ba87G43x5KFLN91prH2DieNPNdpdae4a34ep4BC+jsf3Feqb4JrCY2FZUVaKtzKTWfctt0XeXHapiW2ze2bet6f/uKE1JDYYbQiQQWoXjrJ6QvbvX9BrD2HO9fkxZu3fjMTBhRWDn55XHjiB2NWC4TNNr6jTLdwFXtFXQhcaWEoAjKJ3wsKH1QdbZ1wuoFNDViAmvfJcqaDD/nAd5rGN4upi1Xr5T6CsqybshyZZVtj1BJp32YAD4E3iEQTZbwOUWKtWSuRLZ730In4o47R54LVLOSMSJiP9E6uFZ6DSPxqWY4UMvA7lJpKfZJ5mp/OJp9V8fu3KRDwQm1GNILRQrmuK6FUGglZGIhb3nGH7q4+SsYNWAKMVCnoOX5TVLkw9tSJduBgAN4l/4ZFxmDuIisJYF42GoTBHC4I40IPt7TK7L40eP5gw/bVi+zB6Eeh1F2DMk8YRlPc6dKqkr3ZrIuQ7rk48ArMflJmzk1nS2Duv+LlCigCGQpEjVg+ap3HsPXAtB+AOjbljjCQR9X4n4QJikxJNnnqaWsQQD7TWc2ZzRXGYPleYkPh9V+ljrJCte9u+rpLkd735T+Bf30JmJ8+9/OVOJQTrf0PUd2lUXdmgC5AbJ5x7rfQN7LZO8JLvohcMRGOGZx4e5UUfHikz7iDBaeA/hCATh42y3zr0CM4SJ51KlDwHykGjNQZXG1hPYFhNxcvJ5+/sZ1L+p/GVdYcfi2olhGNKZEwbcli3jBwaJd3nBelEeoVc+IIKjnyYrmWB/T7tKVZ8p/1klpRshf6wqJxovWVYUDRK3TLKLkuGVk/R7HPhY1OsVW+ZmtW4oPnl4wUkzKpMbs6fsrfwIXwcfw0eQ2gpKAEp8WyRc+t7Uwpys58e7tuqkYSGKnVASUkysXx+Rp5QavxunJUCdB7SHTR0nxCVpBsJrdphTwCAgg8M4uDdNL8nu+SF7OStQPAl2Es7LvwzoIoSQaRe6envUtaViseIEOTPvCtOO6ZoUpvR6TBR30SaEvCd4HVAFcWi1UbXwTEFgBByscdxv42v1stgUvz4qBecEjHq6CvBaDivctAkq4O7lkEfTbqW+PmtPOrrwS1wBMQxJX2Jdo6ML+Lmv35Z3I8zV6A9H8ki6OgVgzjIIyfeZi7v1/8eykg9eBtgGpowYQNS50ke1BNm78afPxyBvgicPrRDGg45h0k2093AgLdli1ZMNJ67tASrONhvDFwapgpqM9jmy6tRqGsHoXU8CFMwBbZDOOu9FQsM+suqT913kEy0Mu5lyVheqVGl8q1jl1GTc2NLd237qob18zyDjZNqY8uLt7QpIdcTFveHxtugDg+3UyzLRHRSykS2i7A/obLJxh0jwHT3ayLYVP6AEV/LoY2GmBLyLqZA+8c5wUfrR4YUBdid49dt1MC1ckjhOaUH5lNy7/zA6U5j/79w8+ouFJMNjNkIh5d3YnX3rR1F0sZ1/cQ32FaG1CTQN8r4TfjRYd8Mi9eEYDX9CF70i17bEnZnUrPypnrgwd3wOq7L3Izk7rZ86NEgnWSashT7Sc0e0UgQxKwTaEqj7IsNzUkmteIu2KmFwO+FBx5K8jgkznUS3xMbMJjtWIT2S0xvYMY8WYi99ld4YpttVTfe3YBQUqB1L5Jt9SAn7R0zQ55oWBoaleZgg97GkvTlvMZW/tdF0L/n8yjo3oruudoUYr14J/1H5Qs11wlSqj2ewtd1J56yUknQc0mLpftgrsiJBSZmNUWvvtIznOGaG7LCvqEr9LN/16zLf4ZxMYgjADlYI0s7Rhg88BkI3jA1r7JaEMHpUP+LTbgtqOGnrvide8EcMsrvYxR1ntEWyXlVF350zpe50erm68RXwJ0wnAcoqag9mwZKue+28mklNtm4B7FWJIzJMEt6MBshmMAK/Rp4yAcwMa2oqwst7Gl5ET47gpOoEzJ77u5+vGlJ6YVZE9UeuckFkxNfBZnVRhRa3GyA1VSdCLgjmnLVJ8A8uEnhClcYXh+yvtblbzP7xMTrEdLXRx8cxq9fwGu991DIcck9vQlf+lK1S8tYSXNeWwrUW55K52dhaALxXWcuuuaPWewhaIAKejMn48BPaTXnipe+COBQD5VLLQCT4A2O6aGZLz+ysowqBN2XkmVLp5KKyAWs7XLkZ+UJxmk65UHCkxoGSeRp9C/nyI3KW+iV8W43JSbOwn8EX6V0/A8dTQgDlbAckrZRKqJAoGcEbd8T3MAEuT6QQtq99ohwWYgKkFkLI7UwQzbltrrV5EGVsD6fDTU+rmofj/YooTmJuXRqM91drtiVf4QDIQrZikU90qktjNhOUe+playM5GASHiC51wbRbXDNtOY0mA6elWApRt3IoUjTfdR8yG3B55GhcEClTevdI6eIi54SzsxaEb59xYscNtUAzA0PNX6X4uKkyQI4qFcasHsDuN3yRCAmxtWTAkWlwIYpVTr+0E8BL0royaFpRb+evtZmtoSZaB6l/1FLXgpzZ/+6rdYeKoIZf8JzcUpo96gcPPhr9r3qmmRdX0smLdMvSJDUECL4n92O/QZ0hQGc43glyTMxUTL6B4R7ILT+XnDlMU2JFfVQuKv8/E5lc19ColsyU1dkvwhqyqp8Agms34WQXfBLW5V/QwronDPFYaXBSL8F4Q/yXexYZ+1Aahl/zAtczMoY3MoI5bdtVbDOsTfP45sUoXxJdxyRsLmtIuU6giE27LnOFw3pjpyD5hlAO4XSVtB5hGofRloGJkvg/FpL4o23Nt/bq+NeionRJ36SuPhcveDLl0IshL5QipOvuTp9LfAumgqvP9+jjT6XrmP6vFAR6yZEtZj6acy3sBBo7ObWkJJ4fuw5JF/pLEGGzgrSFjkuK76Qy4ub+deSdPpWWtNGqjX5isC5fy73G3tlrST/5q4MtmjhZ5NGEgaJp+UJwjdJypkyW7y1sBbnH92nlhJounylMepvw4vHPf70T/jO2aRLazZnPUlo0RaKg+qyHhFLdSaeQBxU84V1wGE5GakzLKhmuBAHuHv12Ev9k1FFC4LWkDkcmd7ogle060MlZFUqkK9eV0YDSDOu3QbqV9T6HKSzD/v9YWBwuZ2P2rDxJmI0QiCnR6iIGNBTP95Bp3fcYm1yxuOL9XwfedWtsrFM2DwkswLxgoAuYrqvcQtofoznmZQDO+y/k5KLnJ5Q9N9oN/Yyyl20AQj+f5U02hF/PGCiw+O2IeLEkQ6dN9J8ruht/ah1Zaik2fh53gbO4tjgi4eafKO0y7kDphnSAq+7QRj50JnHhiWHx9PJVcFlAjXOd5yk+sZHoDpyvl6FIG71lQyfsVfIuGFNKzCCCVOO8RHqlHQLJTHioaC4oWxFVrDnr4U0Tdu/ibSL3VVT7SpD1XgpKzAyRZ/32dfNY0vZDLAkhb45pP3jcEMVRehubMCltbvaF/JcbsdDTOjsEPM9q/aAfQEyWC9zdwOR24J+wR4qoPOj7Dmj3VeL50NuN+h3NklIt8ndTQKgt2T1gkTvdRf+n0UCsqyhSmr9f/I0/MzRusKZyUnJC1P6P+ALEJ5P6Kbl5tvyf7MUmoW46RXX1z+rQQ2WpXySexDZZuGy9ZL/Hd5G3GKVkED2BZPqWVLiDYSq0/556UQ2nC5vazqqJ32ikxvXZ8oxn8KqKYKn3myiOv01gE5TyxNmsLE0dAhzkbJUhKOO3bR/9Vki5tfgdDWSX10aEX5bPb8NGfEXEbN5ClOnOw+qQRQrlV/vwv7pkdo439XLMlbaqNbudR6Zh7RsdF41naQc4CYMRRoNutufJ4Czmb50/esN4ONgMk1/jRzYkKmhQ/Lpk5qJMfWrESx8Xf6tElDYxciqbT6rD+8GSGsXkCS8F0onJPHfbJOoqkcvAPBI+ijgE1peH3Sd6ue6cNAMrEgrEf+eUTL7gffg+AASrS59TG44qA0U5r7bJyhH+yY3IsqHVnjOgN7J7XIJTuZpr9BWF60lMyjFhTQ76yqE9ZAh9IUuX3Yahnf/do3yVf8Ae68q3jIm4UgzVWkq9dM+Q9xC8AzHwjfOn0pDM4+QyR3MmINdsrNAoyQJ/ZPsuE4mNVErnY7GBhs9+6pdy5vM/RxYEB/kbZlDGK4g+MGvQUKtLA7dqis96cSqNCmAXo3/6WBDQ+n6qGyq1Gkv5fwMXpw442AqgyRK+nhIP01sVN8goGt7C3ujLKL5/FUd5qjZeC6b28XMLw6/vukujU8MHX6+5mMKVu858IKuVQGiBMszfTTHDdN5L7X3mlBLYvQQNC5q2nluEFdP2vAHV4jFtx2d+kN07qA24ohLJMs7T4k3CP41F68jGAaFfAl8+YPxBMVXchWvW8VWigsC4f8CVMskCMhP7XgiK8Dl98gN9+yEGUS7PhVPcHWGJjG471Pl6P/q8V+w2nzaFhwxkekaSPwiR3PN6rXLZJ/1QtnA00dApRek2Wj8RvovpSDuj7bBMxT2gRnd/t2XhQl2nR04JxRCrVwPxQN8QnUmokgR+dreZiwjSEUNE4j6TsqSSALQpOFtllSFpEnuuzFsrCOEphqlZLNh61CvGQKmwppn03VBs7eBXSMWZDGcm7iC29PO+OpepxbYGfzOIxZK9NtkSB5hIzlVgPCRTSkuWeySykXv7ri4Q9NO1TxGZjD1LjfbqedGsIEejyQPpQz/Ea+EJ/5GVTZXSSwGTbUMY5aySqfSK7bgz78b03Yv42W1VYosbRc3ifkEQcl+Bxl3sw/ZcVZECfZJkX5ypy67TDVOBuqCPz0ZhZHoT0U+w8HY9vYoXfbr2mlpctoPAKQ9M7bQutaEV2weVEypFW9SRJMijfW3dMrDrNLubPWSfFyTJDkdGe/ChfnSom/KH4CJEAyZq8cjE4tJXTimYjzqhKYvfD6kCYnMMyjVv8qwS82pO7gIcIkQmGcvLdwTJwr+g8i8cE8Qn6DYuAzHToAD3dlbIrgHyG+uXKSE/6O5096vX9WpTFKoL4EVDHyrknDaS0Ai2i4c1EE/Bqkr04Q6C1MAmzYHPNaz2YZS+hY5eqS9Vib6JRkEaXBBlPs/5DeMwAJx90T4orHwmjet/GALHrBt42dcRFdm7bkSQJB+B7KFwqu4AEvJKMuhZhIkYA+QMbexUkLJSfharDVbOSw7oIMEhKaVpGdo+80nS+Xu8VkE+h4mdc2H6Xc9i5bNiYHUxTzfefddOSXP75tXN+/IHRmmoe7zuKZXQV2N5X90gunjEIkRV9CYDZetx0AvWYauZEkVa1GRg1LCGU+bTKi/IW14WX7a5+V0eCMEAOtOMYhdnjgDmpZfyXvgeEsF3Ptl8NaS3okA0xZOuYU6faWBxrJxbs5wErebUbAypZR/wrVTvgGB8t+9y1MPseV9ouEv5pjuUb9hAXFQ2XEeQdPfrkbP9fqMNgJt/IQj1Uq4nAfsa1bjXX2t5bKTmpcjc1sfxzWkcr5K3DRAhSbqmJhikQz0BLshChi7xLRGB2AVZI+jqCP+g/ug8ozL2795lCtHED+K6oj6AiP5gQFY0Bp0dgripcnwif/q3iie+z+u4OTSKE1I7zGygJiIoAqDAqSdoL6o+EX+Jq8NOchq7qoBcYIsO33E9vGXBqYRAQrWVaYEmQxIVSpCIEGVpl3fSDNqkEZYZU5ZH2fOEHov7Yg5CqJtpeWRfgCmlbtauXmuHAhu6FpEEqAHuFzmd0bvAvVUjK468xxdokP+CT0xBG85/1o7lkOXW0xibVcJC/EEYOfkNRTKtLEItL4Nx4GlhSnMdrktL+qKL+NnHc59/5xcifncxm+U6RPgJXam4FO0PE/Q7ygDYPkjjtSoJ+UkRIIf82H+K7LCOkPBDnH0PL6LWUbQHTEO6Nkg/mnuKWCkSNF+N76yPI2aL94QqlyZVLbdKJQTCwYMh+b1MeYgAsW4WFky/Ec/7iQ4rMOJbh4NpIFGoLXsna5HbEutKsvjnoVH/EylBYoIpeNvj4IAgwspEZGNactDGhMkYcT3Tp01d+07TR0DZVZJiNF7iBEW9fXX/GBLyJV9spSrfaT/t7PEMPJBq76LD7SS/5TW7oDBQfNbABHX89LEg3GiPAXZfAGFvwfr6GactH/wqWV13g+CBJ89+A8O3/wH4PMy2ZKt4twLQKWc9221/Ls85cAIZ3qxxC7H9kgq1RWRO0WNELVE/MLGf9kahLydwp2oMzcfBEydNGyYgVmxKLbnnBXR7kCl1qy2PsD7bOpCivdhFO6t/oztvKOh2n/PVqRIbm7SwFaUhOD5nZqZAfjifMdmh+TzRDcsc6XwjmE7T1ZNXUlOuhJHFDfbFuHzIzGsPCeA4PuwD/QvNyIt8vY5UA4cW8jq34nEaO/ZvOKiIBhVwMklhAxrEccOowm7vG56/FqMF3RofydzKUDHP3bzv9QUuZPdFt1AJ5yTy9jAXdqSBrGmmYKRr0qQSeFuLHmUgN9k6lJRfoKv4HN4D5NFW1zlbmN0cWgo1o6YbggYEgwmF+UYmVqxRhuHr9WlX8FO0cAFtZf6n51sjILaUnjXLgHpByp74ISlNdf57dMRFoV2W6IIRaHfWAzzd4TqSzwiyQlwJWGx8ZSyMWMMuUU2P5I7lDMCWVeEePieYgkEMnCtCr/ypNIttdhXWolrrIucl9JAXO5rgUn8GmhJ9l8SKECxbq83To3G2eI/PbNc2VGVbGfElvLz8HsnwGeJnRzRmNJpyt23q8Yc0Fpi3dj0+F+Evl2LcR7WR75BgwjL6tu1aC/4atN1fpDT6f4tWCSRGxphC6nr1sAYnTGZbtVa+MR+MrT0R1dRgXCCippoyG37RiWlT/RxXS6kGA6fzLCuvXHk3Y1h3EbeBv9gXwJGbDnO0IOXQu7ZWZlpsS5mqhNAlAD9dAnT3ZwSnyz6rQ1hvOkeSJnRHYkyYaFolCbcHOZ4SRoVBSCcfYVUl7Ph//0S+lnswc9ZC2T8g91OwfKT8UWqW5vpSpvNYbILo60fjRu4Pifme7HY2QZGHX/JHc/3loM1H+O5Q1eXtZP0JI9S1BGP57oeCbmv6dd5NHBpxh8cfumQK8iiLjcgmCNbiSqJMux2UvbUGN/IJ/p2XkVM9SJt2wXzQioSbDL8xZDaPWXZS9jHT2ifkORSDtb4cXVNibpQymHboYP9oOdr5H8MXfG7p0gHXXftjKkyHAlNNi8i258YtiDZowR/v89eqPaazTejmNr6w2xasQ9TFJa9zWbtfaPnalIB9tszXPm5FiIX9GbRpKKEWzjkTRnwY4e5xO63pv6PH0M63/0hQChcavUlGy7Cc97abYwt9x1iYxuP4+wc9nw3+mjvlF/1/bQxtg3uu/I7spiOW/VhTrn4bxnpAii//bRfEExxnaWKPiLbe6P2mWOeXWc7eebf5I8jA10k7vXurUy+ZJdb2XJ4V2NxkUj6meKqRcOiUyTFF0yATp6TpHMDNj5iGfuoaRsJbpYEvpXGX36fL1jGHS7BwnzhTzDGA1ULHRjMF/krgtyGpuoz3IFZF8BYCBWkDhqE5+qNe37xnPZc9Lc5bzh45ZN3poK626SUZXmUpwc5d/tsoXAehcrwE/xTzu2oZnnJiguGmH8I7jU/DEI5/85YRgZ4Kmz4BieVHuM1VMvVF5sEwG5ePxJRdBfc5cuCkZtw6xDnU6PrSGC6R3nWjtLvFc/W7bzhAttzMq3z148Lwq0RhAdCOvs9UHOVAlB6Ty/wzDePqwf60oNLxnAicKluSQk70sXiv7QQ1bIzstl34W4nKyRqW0DS22cTNJ6NXPYappiSnmMLwr3Cjjp/HGhKZcWUbgBq9B6+qxiPGefU6F098HLCKKyqWJO6sEhAsngdnK/i8M/5g+ewRtP9qhvgVSb9dJ+V7hBnjFVkFonRTRp4iYTFKUuYulKKQOIuDJdX5H3/cQb8k+Pv0jKs67oiv69e7Vmn9YIqWe2zeRPrRA6kaohqa9VhsgqbhrPLkDoybbTWFO+zrUXo1KyHC6yVaV0eS+ExhZRF25qRd11m1tlnwfnJO0eEJ8vDSs/ATQtxgXy+JvluBonNY4v8TT4Wioa+Y3H2H+0kSRWvt2iGe3QQyI9JufQtpEyRJGc5+uQfgD+2FYsTO/0Ew9MfKxtt3cZmYgUw1oDZKQyAdKQHaInELq/PY4Vkik5y3ML2hJD9+4T5m9n8pw0BMHOZPV8cAguHZOEFVo/JRHAAUYKqEOE6ZMEdP90rGDEYKZLc3/ZfRuEXyKD+NBIEQ2HVom/QU6i3E0dUuQXYnbsKZO3lFJxco9ZfvMjtJE75bQ0SFaub4Y5l6FQYyxWW9uC4Ogt2KVTEFcnyW5uwifoGQ+az0ossk00NexpH2NEB1E+Sg1OWxSuzMMLi5SCoZc9na5lSJjO8JA7YSk+LllakpwWKW0/Bzpbp0Ei8lRnbWw15LGljaVw8477ZoVRf5n2/g/W9Nql4hJTjzM2jsFxfP+i1Fd38TBaWieJ+R6TDm/hBOibalmesvyoAd8Opz1FdS0VdvExt8pPSu/7sOzZ8QQHlzzP01UAgNrWEBIjhiYzvSx1eoABshQtIEgV6LzHuQLFdZsjnYYMDeiD8yAFjSCpOabhcVUT8e+gV0PyPS8QhuRIzLez2yA537YYuk3kDk3FbFhsnRxyJvFMCBq3YYA+o9Z8PIOpFo4psQGE9RcEzoqOX17qsx9dr+SH1IXD3Kvvf/SVV7+XFbIBRNee2HwhuFee4aHTFEinF0BgizDhYw5vugMo8Fd9u31afgrMVaMAOlY/eCAGiHCcp7uc2bJ8BvSpIXMJSxlIWtZa/3yEEIv0o03RUVPM+kcmWPxwmasVzk0tIZCQcS4gnrwo5GiRLLh5Z1uDyNPRGuMfknMTB+lC7C1RlrWLi1nHYB4Jy3YcXNBjQYCaAdrZZ9BxmJxaT6yF9+a9Q/YgxxErOPd/6Tux19qnX93F7EiMX9SwEoVm+d9+7iElUaFVT8hU/VRe4e0yOd53d1W0aWq3L+Pd+1Z3ujqrkct1f+TuuMmIRtbxv83jaxlhPDWaaJtcYtB2bc7dF51VmQ8IJaASMsAAT8wIdSk+kUBWGPzhq9fzVlHTX6RRLg0XDHruohLOqEO5ErGZzggFPGjT6HPqy88BTur2rwk6LsSccMR0xWYayMUkjRpbxfdjOtNENlNXMKBKMvs50szK1QTog/YOke2CDjWRqdRMUcNWZl6XxYDJHBMajo7Do1LK0yW8KIHGkwv3fXjsk0SoW9m7K4+7g0k3oAN48cPnw5L9pORVjDUZKCPB5jj5v8mx1lX8r2NFTUMRE6QQzp1vVknAyzww9Jir3UCc7rHVgT/FU8aEiYwzPoZXIGZb8XjkZ8uwu7YEzgDdg578tVvGdxihl0XlbAZSmXlFnRTjRc0wR0HRgeJHUYlSJV0a+NPFOMmVJ22yku/eF6/vTg3iSRS4ok2l6lR/DJ/tk9c7t0Jux6vCHvimR6iNkN+TYFzQDrWaFibSabUNnXNnaI0P1RuyyrM+X7shfEqtDZ4zeoiI1mZCk+tOg17FZWivgFXkj4gAtfG7ZXux2J7DLObWNfPAPGqMbwGDy+kJpS5pJdYGIcyjtKyO1LG0aQRlxnrIe4dF6xkktu/LesLC8X+1Xb4HuW+DgquyddSkA9T08p7WDdeBjCJY4t/sYvTLdA5yP20HbBGwVWgQP/2+EHdYvmbzohcq2tqFEa/I3xBbpuZR23UlpCDDV2OY+GDgEi7283GA+2C9BS1e83xC9jZZgg3AnSMwtpHmUllHkxN0s7C80Abqs/V4y9EUzMFo9jPYyOsUxkypqL/Mhw37M/rxC72Td2QoRWjUiup7Pim6ot2Cy+40AA9mT2ElIhMpofIbNcGxMZzEOfdXmL/OA6a0IAm2zmAQ9QlLAfuMWABSr9DzOgzWYtICmUHhgZXh6ZCl5/plNiCi1kP9w8aXnw5rKvsjEgnOzHcNq8n0go3tV8JvNH03CSTtH+zQGfDxt8GQxvuBthSzsHti81ND+PYp3qpAGRzbIqiGdOeux0i+3Lid8NM2HwYex86vUBCVFKVB8SZIi1fuhXky31VjyYRb0JBykk0/tYDQvvY7yARniLadFME+9FjP025mHt0Xe6WaJlZjqof7FLVXa7Yb2+VqklT6dNfE3ripNZ1kkXLgnhsqX+I8fUzP5ji/F+8JVywfTH7SNKS15QLe2yl476RxOUAzhGbeVn6kWTVr+54u7zDm5SROPOLcnwPsAMZEaFW7hxzxsDZ260v+YreEeCv/DM4nu92u2y3gmcbm1qK/D2p1YB0AVTLdCLG0lX7xNJbOLTlYtgaEfIAf+K7p3MLwqrFj2nZrfz1S9XN9GsAHStKv3alYyAsJPuiqiKYFgkAj08qDGYFDmYO0i4te4ulZ/GAaZZXE7pmim8f1v454wU8C+UAXtYJUg7mf7U1mAsBatwbMOKc7YFdOabtewW8eCDXuPrhYMFOl3nrzt/toUsD1rCqiw9w8Aqq6gWv+usWa6Z9ylOD36gQ5oZ5mvVOSqnyhN69tsOwcH/NOySORGTcbzCaCifrcOj1hEQezS/yvOA+0FfyUrQVcWmVazaMVyybXFZd3QnAXIPbXdq6hg+GAdkdFHSBHXLgGY/semm/8cChKGEhA6QXAgiVh6GQ54ruvZxjhF3WyP4gx2ic2OZND47NHCMcZpw9N0AASN01jOWQsXose9WeE6Vy9+gU91TMyVvaiDYofnbWRwmxgfD1MQEWJNX4YVT6iSlZ/LK8gou4y7t5Uo0w4nt7ILcki6jcdIbK/fEYlo6O9E0KY4WkpbDRG0k4DNYS7x5ypV/N5OE7sTsE83Qgcl+S8/h6oVIEkeLmYn8FfcB0Z7YNJ4g37DDcPcYOA/2t+A55NcMqNzfu+M+oZUWBM0J22UEVp6xiCINxXA17zfWF3/GDm2RFScltMl/kQSbNyEVinsQNcFhUoht2oVTdWfL+e4qM14S+pnfIb1V+1W1HUtXW6nnRHqS4VFM4JWqncngBW6Wpun1Z/bcqXX9Hc7X1fLv1nY5TfU7wKGcoZ4P1CujBQT4R9FA7x+mUWeH84F9XMLB2RhtohiboAjdH62KnPYJEDrq6D5nk3blZ83zJjamxYhltLUoZqzvKwj3RWNbTL1tTcDcn0QETUbIe73vfUc/dpJGhEXKMWvKyblpMu3rUJpHgFDsxCPvf/sBZV3Ma5Krpjf7W7CZpsAqpSfFGQiFzIYbHcbX6atPV5i8XrIZ0YiodM0RRi93LMESEzTbT1LJRZO2dxcC4jf42XwRIGmrBETsnNYJwfcZh8u04qM+BDU6B9/YqhO6k236bOdv3jn9Z8i7O31Ivm+u5jOFMUFnKVSc7cCTux/rMtawCD+Q67v0S0e3gptOR2TM1pYdZ8fiWz/CZaEgz1mk5oohl3N6LmeKVlKthRCYL5I3qeT/vWav4WORBCfQZYh0nTECS8AQyIudJnJt9mau/7xvtkGnSlA4t28w2hYjfL1bC0JfjboW8+seqkCYQnRJy3RY8U9PaRWcACvEaWuagduAjBX0e+HiQWA25jcElDxuOZc0s8epvytm+/LfZkHKkuwf+MX8inQwF0Hm1TEZ76e/YbL/V8L6LQRpKMWvCQ/tDe1MZYuEx8BO2KsH4x3wdQh0eGXxmNgVlaroA+0Y3PReys4UHWXYURdhKii2xyN0v9KRPfUBV9Y0B6sNouyKRvyg8gNKrQAhPi7BJYTDwHig8us1XikEwDps+5mZEUVyoowgTCf5A4HexseV3mSS4rCubSYGmEDfsF45YQb3rwhXxzkbal0f3FIagYNpCLxZlfk/4iKC4v/Fg3WhmcY6KfW7LmM/mNsFbDPK4AUXKL5IGqu9qQV8+TcCVoXwClhMSt7MSQHFgHBgTkq1mOw7PqlXBpZe0wOjwh2NQ/iRoPdsh6GnBw/0Ej/do9qi48iez/UtIDFj7+xOarPUhTxiolok+xGK+R3n1aDLVwSJf7M2ewgw0Rss9WAgInoKiqZ4FZhkWsTTSbm8em8NDrYQPqNz45TBrJWnqcG9aQ2BWAsHH6tCQ1lrx9KZ/jN+1AlVEQAP8BeHeoXFy71aVpr5Gz/ApOsnlqWrykCoQ74tcRfjPU+Mf0l95j1KYuUl9sr3gq2Fbey8CC5HrmdNrX7GdfH96ZaApGIBkgDr+lK8Lc2AI0D0SaYL/bGZg7EMvR4/899NDCN6m+wrNfqQ/fkW80xReOYvCx8+4WxdUeGHkYdKgmuK+WkFtGXjP/7XHIRaGtTKmrzw9hEupfUDMylrBa1M1T/CR9c1GK3cIosj2RCWhKl6aqCcYtwuRPeRbpx3b128+A8XSAN6Oekw339VwqQgqMOaYDia0//1UiU8n4+PBFvRoZzpRitkIgKjqPIl0Z+b/MrG1cYnBeNT74uLwDhCKacJHR7K20mMf4xQyupIEcCGGoe6icx5g+8+b0iEZs1l1BL4CFMnc6kSf6MZDKlUJPkTc7KjaD808bUN49vSqXjOFVmVWqxPU5X0grX0wd3JshuvnxxK0PVMvtTCtC8QeLbMifOFKXjd5s6BOGglrrGr+I4QZz/smdOoQEH/rAHcGjx2AMgOoaMXSqRWjirFShll2g+dl3Wc1PVrZRK5qLLjeymY44U8RDvvwSjJYVO6lKSa/PpSPFdD++bnVZKupIOhfL3JUje44DwhesyIwq8jOWtmEQY7SK0gGyOSLKsUEEY/OaKE7Q/LfEL0vXntRAaeWUb6r1Hlj6lE1VJTwrHQfxIvIHdHNOEDd+0gVUcq/CR1YLvkp3DpJ1C/srD87TgJz0AW7Jzbb9G982CyvuUU0gPTV/G2zSmC6jjIVZdFznOBhwKO18cqymj3Y8rGgh5S9N3DL/t97CwZoiMg+f2Ek5MNb99MQOqU3Ykc+bPX1l8JITWDSKqnGBXP8xNFkvoI2sF01pZ/UHIHvTccZyfxwaQhIfu4bCXwAgSz1iCTYwJ1YcQUSmQeq8eBrzh/sNO1rhGVdsu7ovrd/Sv9GhCMWGUo5ULXiM2MJ/aDHlcAt40sTc+qa/rAvQQKVoqAZ6rDd09JcIWR5E8JQ9gfAZ6F2mYcndQ19p/cawt1EsGGhdPlP+TyoANZ+scytH6VTgAP7hNISfVYBc+whZr7O9nnP2hh2OYQcwmye3rc3r1ZJfI6nY/3YvZw0+buYG9EhBl6560wtMsm/HxLL51yf6rHgs9MoUbvhc1fIQdnbZJ7fMZtcerHJ/wNU8CvP2nFclnC1ZNFw6xTbzG9yGk6mH7bheHhOenKuhw7cuTx6sIqacwC1zHfqbotDHfPQYsAsyxAmhUv+WiwqMpLTVc8fve/H3qRfn8qzlvEnI4lzOE4qKKNOKVyudyIXCKPgno62Ciye2at71VT8o7VDVYK2J99LUnRpno8QeQxJtyhQq5qXVihnK/YbpJkfNyGiKOZnhXC4AMtcyEp/QucyTCTQJPZWtMFcUTT0wdVD1MQW6ZYZRo08hWE57GrP9GMtO/7Ub9CgtRgCCjfeiySM8YtkYQaiqEc4zsYTIWVxmwYDKZHYBOhnUxRuF9A7YHIAHiI/yDHhcfSqQEiIttxiRyaVnh1aYF2g80dgw28DEgwk7eMZtgejkEOuITIJbEOUzS0oFFPANc+I2INqiCiQaApxlEA95Fn/Xh+V/sAttd4bR1CFC/Ii9uhG+mgI1uZaab6Mvpa2WuAcJ+Db/X3LeBB2mqy0dbPMlvnyy5+3jCFsjWdpbAnpLsjA+OOkadQv+ACfnjh82gJvcIUwKOJM1Go1s3ds+NUcrNbPjtvSb4QkJlBdGqtmHDGAZ6yNvNnyq/G7W6kUzlCNC9GEgD3ZeGf7yKsLzWNhJr+1hojOpiZTKOTELHShZZJC4HNtkTpi3eReT66N+jDoRyXZ4taXGpjxPNHmwr5oTMDARhfA3O7Aw/FRfuc59TjK9pbN/IQwAl9zkMFk9WQsjQfJe51CqcK15Vp2kOhjN31CzBlNs143ag34BRxyQ3XpByPHjkmcVonK2R2/LAftGOTjc/YYIwSaMp5sS3eRkHFhLulKaGekdpeTF+4vaa3DUru0YHEbY4GQYdGzp9RABtaBUo2e/e4VmqL6qAgWgo7YeQv3GNLsXd9jfiztOFlUs3wyIhgdO2cP3gUz1h7zP6hYMmQ0cBZGfLGcreybv6ExS4JIQOKw59d0vSedbSN4ScmxC1UCkbOaKUZ0gbHggbcDjNFF1wrLmFJvolPv3pfteXa9i21Q3BVJIAdUhfr2PbYdUJNBO2xomGaLSWhwjeiJRU7/wy8Lb4DA47Ueeq8NjY3fVS0JwzIhvxtBFUEo2hNILNSBRQfmEbrj0VASHLN91ZYDTbwmLhONjOnp4QBZWaO19sF6NJeVecjC0WBEEZM0zGsoD8/Ch50vcyyYYSIIAJYvxWNhiAMOSrYK/VLFXJlVYkSK/4bUJWHqSXrIHwNbDiUJpnWb5KJGwqoYBQZWfxcIu3ez9n3aD7Ku3dvSWtJsTuvgDVVe8H6816PyvuLhiBAT0vSOeqrkkJA1NggH+knOtmf+7nWX1PiBJEF8/58RhJW53gN53Jmu/8Eq7IoYfqmcPNJlgqj+99ps71O8inY1jW4J9v6tduLjiHMMUme8gTbr8/Wsu5nb1nz5vBkA7ATDX5aH03ez279E4SAKPuCMimmqukYuo293Q5vOuGaS3bAsVFkT4lR8Yz6RUMhLtcbF3xasHi9sKWc9aCqK7G07kSYwbcBrVh+qidbS5kDAg1ZOZLz2ZgXrunTbjKJpCqPOKESeSBMlnASy/cF7OQ+Ny1iVTkNRkzM2hNsXNFjSK5QQRzPnq+JBxBo9+KfkN4N8jjmzqHTha5gmg3RF73wDlnL8Ia2NRz5avsB0aTlB4MNyL+wmy5LMQSZNdr3c8npZ0uJbGPGNKF1yy1si1LlOHZPAOKvVMN2Oo6F33eUcdI7D4/KEjJMlyhxLfxUoghehyQmckB/pVJ/X1PgQT7lrexrLqG3HIaF+k4Aj3oi48hNSBm5KFuDvuy/1RprM29B/TCkiyP2ibrId2JqaIPPov/GKBXXz1WcIKy7Ur6GvqaENjm3rYTOy2l9NewpVCB0enfTn55zv+HD/MFEB25e1F8F5EqI/7yL8JW0kjDmdIpkG0Ov+LgiurHFcmSNga15EPRn6TV0stGdqjdv9xFnWTq+VW4/OqrY3NbdmUt7tAFM9AFsvGlLaa3cPXf85V49Isy7uvpvwgiX/z16r0W/zKJz6kuuNFknUwDw5YuZd+OQ9Ffsrkev9IdWgeKDLyEEnGjJxrXC44qwbKWL7tSN2yRqAdVj7wV4I1mbS14nUikaWd0D3+1I/oYhFCK7MX2y+kWpx/pLJfPOh+Ur65eLUgSmIuniefPTI5r90sLLYBRuG/1NymO9E3nccM0BekbRWXIdijuySRCcf2rIKN0gLCsazm8QaouKpQq7H98/QI4hpVzB6MfTaLEq1EG6awPR2HIjebtwAZqSYzydvO1HdS5ip2TXVjGbSdiAIT+jYQt16bYT6CczflhTtsCMnJbWYPtYNFvdALdf8PZRNwpQ8+sSBsfA+VOrdDfgMhkze99U3rqLMn3jtYyBFYd8r4+On2AtBqtP2M/ny5vPjUy6XtiVF6/+wYgCLG9raEJLwWqKfhNybWrmV59jqhaCr2HQY0b0dQ0wnGpmekPXs+dktpj2yjgtaW06L184GrQJ/kEm4P97RAdvpPeLL1Vye5u3d25xNzHzheFSuZ2lzs9JKUubTBcgEkb9wcekj9uPbk3VDiuuQ4cEjtDBxiXygOdDQajveGlRVR/1qVJIhOoChwd5wSfOv9TVPRanXNifA/kvfSaED4J5pDZR1gKF2PiPStMPha5T91zX4xadE21EPH3JGiNAjb2oolREwQ0hTyE71Ae5064Z1ivi0ioIuwdmoWKSnkHp0gELRst40wYQNrUp9cjvEAIzTLOh4EwUQZDbU2JCwG68VxVROD+8kWHQA9jswZXbj1/sx3TumXtRpMR8IOjW0CfxGAA4drb1fJuOF7D/BkBM9Uw4MnyjO71kBmGLfU3vKa65ZclBdp3cE8NN2qZMlsLI3WAYVQzllRNsfb6/KnnjF1CH4MLkY9k2Sww9mQs8oqYel65ONiDm++myK+g2hruITwcD2ELw6SBjoO6FpNNE7zZxAOZeUfwJs56xwDX1XbaE6/UnT4XNh14U204reXuEMLj7JOx5NK1JeXCJWvmnppZ7abiNLqsSf5WvzYUGt0KFHjNco3mwF9iX5DFZjRQAVJE4Fw6BsENRWxkCxfJ5GA2ob4L28hAUE3vowXcs4xJvJI8ZdQW4CQGdxMlcEOUU1LsU27pgG6Od3UcQiWUcUsqj0M3v0ByJrx0zvIlEtn9gIh42Akc1T0ddLJIPLmgv6IYFstUdTsUrjhKr1OIVKsqNC5Vgv6ICa15dxOdJeQXqoPCi7XTCxpeET7xgMz8M/G72Hspu+8QLfXFduGD4F3kHVd2wR2X/uzHrTrv+ljhAV3A/Uk8uNIGLPJ8RWIPxFgmSJ0eQH0/ykZZ8pqd9sU43X5MkoGi9ii2IVwnmajBGRYhWR9jsiHAiunk0GfiVC2RtxiiIOFjUzelIBwkZamrQ6Zqeucix2/iYbiwPRjN0KmTiwSZoexZZtGABVKbY6j91COIyAiKVAYmHp/Qw+/JZiD7mHJ5GqLSw7FVbgDShS6FMuM1IescCTTdhqiI8ADUV0npzh22zW51xPH36Y2FHrwd5bT0a+8gZxbSEZ9OxVm2z9aA4SPr1M3iWkzA4DbYhiYnjXX2dAe/2QOhSG0c+6RhA/q04jNEILCuvMsZxww=="/>
  <p:tag name="MEKKOXMLTAGS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1h9D1Z5GDtPW+wuCTrU5cbsTyeRnoM7v2+KYfNB8pPDHY3/N/nQDLg73FVUjs5JX80ZEMdZ5aXYVE2SrM7ljDixtoKhF4R5tzsuuZUVsHAcuNRg/S6dWV3/DsdPNt0wsSzx5+btAwE1f6R6FQ/Jl2dB3wwdlgH4xZ9qIGhNmoO9NxvfQ0A++rrVltUHy5so8SRD+ORZkdpXSsmGGIG9OmShgqvoYjnbExqaQVBTuYYt/kn3nyJzDm/4DWRmF7l3GSelCoMWygFWAi02v8kYrK9cKXkvNX3//4nHhroDXL5UESKcn0BJGvsZggPvLGgg2HcM6X34dvzhgkxxXqNziLPE3/Fd6MxWYsLVYw/SJwbG/cgtR0djVNSq1WNsi3IGGgmy29d5R3f8G2FHPZPqhBInZ1nPbtvRSZMzf0rZc2z8OGrfuLOMbXK+waKqbZOjYeQw4XJXoXhP1LjzgGOnfXO3rTDkeCtBD2SgUEEdlBsqJW8tThTJwal+P+MGMLkqa071qJKKJ1KlAxDmYOA5RUoEh0g76i8TZkqvQzxaEwQ2L2mnQlwDuWQBuUiIqjW8i7JMZ/TYvG1d/KMhroOxAJPDFg+NWpgvIAQKrQlQCIvEHPiTSraGeHE8UHSei7SotzZ5h6GgRznfg8U766XkLqbTD0dJIJUlGvoeVofooKcbhG6HgFr1RAYDKpNTRRiLzN+nDvZHoVitiB6OTvlG70bPtEjWfMskrj3tBFqvsjZ1uRv0hfZPpSxgLaiDx1p9y+VzrA3Bpr60KStfgMY+q3GvT+I33pz1gsacZWqDHm/FVa43Z9QcyIRjE8hsc6CoeXC6ksc5/SFXeh/6x/m2BVKY1+NiSliFhBtgLehGCgS1H2O8ay2VRcNwY+uNeqJl4J0Y/qKwC5xt77YqZD7pmWGUknjGadOS4IC82/ICZsOfZhRWbsWJKYX0roV2ZEJTeE2BsblblqHN39LMooOvJq99mgIaFZN8qSTdod8xq0fgmEyhPldm1vUb0INj1II5wa3mKQPPxy4d5NwMqxJJ5XNDPmw142DOpWfmHdwY4OkkWcT4d6iH04kynERpUU7M78vWvkUWa//UZBp5A8hQ4uYhw+CnU2JdojebyRTuguaO6/rwTBrkjd7yOxz2rBOi/ZzHFwSHrC9mmn9r6VMKbkPGvIy47FZjajyrSOKVr4U6UbwTH88mL2iHvE9MZce1MNBDoeKN6WcNMOpgVNMdNbbEUh+67uq/XRFCJaPWx3Hv+2rLQ/ALOm6wjXzbuNz2XD5aki3dUVQgL888bid3rYB6bEaSksEowVIUoAvPZ62CMeFyTajS0SWWrvXHdq0z/WP095hjZs6PrylzQXw0NA1qLfYNjOpp79siF+dnxETq3Ha+k1P3u4xVp+eJQIPXAaQ5gkeqQyo/tgmD38um85WAcl0CqMjDlSJ1kDmIWYlSXYgFLIPTvTRP9Y6QzBqr4NbeoGWFsTlTcH3/Jq5JECyatKXX16yAQLgFaJRBqBBlkF7vRjNx072XKYKWDadWA+ZBz4ofZwl2zxix6fDNoXIcG4Jvxy/1viMol2fNEnhInxV4lAAPCB2gjsHxbeMzpd3Zfy4RFzYoI9n1rmAqv6nE64cZ1K9kA5EjPVz7w1OQm0FXIMJIOCZOQdKlwWB7jgQCiA79+1iicDTuBnVwGShgOkGxrpxw6D2rJNqvCB4kLrNQBjq2PygvQEbxMpu8J6whlJQTkyhhx+EolcD5HStzQjXjcXkWeVclM3/bRrm6aKGKdv3MMtQ3/H0A0wN3bQSq9Vpkngo+T9gqR+ZVHo5g5du110AgVafSrgflLLtBQOY/kfdQ9aSYV2D0XQ2tN01xMhtswRSmo1IuVwrISQryvHtSbNnpWmy6XKopwmeWAsHH3B5eXuuWnvhcFlSL3MkvMM5Z/kB2hywE5dn1sYMRwJE5UdeFxXxmZdbcJVXmUDisR1a0D62E7kWH8hN+yKfQnW4guBcjKisS+UJajNjzAc1sraKNUx1w307d/MTQJhHP2Y2bc9b041RoTAr70X8Fdlo7bUl+ua08avT0OkDOv8zsXDaXLAHtRelq1+LbymQrDAAWPu6jn5/KFhvZpRCnWwYcpCfOhrAYRVp7fwwD5EH2fGR5IZ0xeW9xbu0iX3jaqo5cwp/6bt5VzPj3q+356fORPRYVwDXAw2hG/JV1bRN/TLwV8hEN8gTpcby9dy8WiMPDFvbBnNBpbAGVGTA2tdHkF/v3xiq6dvSfyH8EnVANh/Jebys6VX4taUiSz5G0JnlRm4e3c5bCzcJxALPZC2KSlUnPnqKwC47NaHOniIDERX8W1olPMAFcdtBnLurwatNJDUksH5cA4P6msmusPV8td7WCsRHQlbF1u9LDEL3U98hlBCOWcw7FG6YTViH2J/hd49oOjRb+KiYjwg+wMvN1ZlHtT9jtNQAFwC6UDzNkd/EBZ9TdcXT8LY301ppRf2Pjktbgp3fZJpm7ppoPseUFLXHN4wgQ+V5YXuoYGmqlfzdIknlEu1rK6gCZjGbnbTqcOgwZPXADzL8dG3jEhfp1mA7+QwrllQwF9JQgz5HQBbyHdCy7CgVXGz9KzG2AjPC8Eb4MxqsSgXANZPcngVXp8aIGPI2Os4WIgnla57Gr2VRqJ6awUwp3PLewrMtQ28Zg5XywR742NhJdoj2aHDhN0I2yCPaTUQcYFLmHTaNyxI+fKH6QmxL+VFWobqWml+HPD5OxaEVgYFWSNaxbmKIrKAtgnUe19oFGWATCgeoqFwT//agr+qW8GEcCnxoExvbqxHydK1Sy8HwBAIKQ2JRYbn4/Mo16w6UON9XxLQwUBcc/kZD1xXTRZ4FtM6t6RDUf3HBbZEk/8yeTwcc3jesYi+dU12aezK1p7ti4K+zaNNnKQoOBYM9qmvR9tQZU2aeBg/0D90EpoILxN04edZqFXVuPqY+5aYzXpSeKpxaeRmzCprJyMXH5qr0nFBsGiJlpnK2cddiSpEnPd/hTSr8naeiXSGZkhQf8NyQEmlThWVQqaTxsZ5/PQKXJmOx2jiWGh7TJyN5TSVIEgxhkYhnVH1ZfvNeLm+ZuM5zPPKMD0zqEDyqgIGQ568skoLywtKTM+yN0MeEP18MVdwkyz7kGN0mysy02r0uUaxDDmm0ZZCdE5DibHL63Qm2tKy/2WnG+i0IphqxBbvSIMnfnZdjudaHl9TtoDjAPinLWcLhvHZ9Cjqjk0qQBoap/kPC9lQNVEb1X0FMAI4pUSaDU6dA1KvQL8/dBa+UTDfhKq1Dw00Lxu6M1AF40cRz5LdH0E6V7hC+tgdVXe3qDVaI6iltIhmJ8AJ4x7/dsf0HEZwtQvPyVXyeoGUFnew5GC6AFQAuu33CAfIJjPMTdjF2H+g5wcZj4sERSnwVBOrxgdmNAFI1QGUpAeD744UScZbr1fe45GeoIK2xY/rvKxts823FqpYgeh9xHCnfwFr8c4+MTM/IFm9nQCxi2DGqNIivcabKSP1wvkast/uMSRm8MnZsxU9tqHXIG3g0wFJ00zP1nSzt5Bm2Q0scXXL5fnUtbb3KHJ9/fFni2PsCM2/u0LEe/qsq+wqKL6sscOL5TZV3/z8XUvlMkhDzwxYvRwketugydP7mQxL28caepBlKSzKX7G1woCOBb+EnB+xBxqz5cNzHMRlJW86GBPXyhtncaW6fryxVg2alVAHC32tdO770slg5btiD1tB+KkB/aZHPM/IiDZdRwbcuf5NoVtbSed6w9sGOFkLjO+J5+ww7e+C2UDcXKnagHrVnpt3BWRazkqzYT0+4EzeFJwYl5/V97qdc/rk+3tC52AnVH3S4iXKpITrNHOUYbIA6R0ciCNzMTs0QP11WcV/x+43QlfY2/MbgcdSxy/h+I48SD/ntFySNxogrPChKSed/caM5QlqzG+I0VDYWv4mutmMJzuX8YPFgfcj5DelOpe8NUFwX3U4xiwPE8JMOS7qINIPzq6f4sjle1h75nPqKL/CWNJ5obBdYqMO4RtoJ2jxankD5+trmfVvDLSrW4oEifer0z54N08oYBk9wnbzSxaF8mXPOV8dSvDWIHg4UJEevozKg1DAqX8KcUsblLCRtcZ4rCdRnu8qE9n08CiYmbXZigZ2e+gpQhXuqHILW3R36/R5+OGLOBo6EP0qxOFuCB5vUnfidIDUW+w245zK6YAQy6Ickew2q8D7QzL1UIvWXdGxcvC0xzMUvNvXq5ywgUV+P/zyDeztriMT+b6hZ5HYx+SuG9PDWR9aMlHDhNwWBULTcabNPQEuJ2PuyFW9WycUIMEKmAQDsjlCfeKVhjliIDNRNe2wbAMVcC2x2NrBhzklyOA7616IjkXwCPspLKyNoxitN+bhwmce+LSVsp/Xsfb4trB0ZL32PAXmOIgKCvqaQzGOq90iSjSoiehEb4mnFUXxTuNTz1kH1QzYH642ytrIx20MpR6ieDoN3DGwEchWJeC15EVWbj6QRF2F1cCvkPqVqi1V5PpuVlpsbfB0ofpWzzCTTDekBTUQTbYuIbua8jKfeTQ7oBriJeMC9buwRpbreNgUfrYRwqfzeuiWxp2IkgIGYCz5qId5T3x9dddYXbQoZtXS2PAib+1QGa8YcszfwEedsRP1AhS2U6u9aMZd2fFIH2w9bx2lGulWYHJCtHGEiOstMOuatme7l4fCHQd7SvawZRqhDaq2YKgJ5SynZoUurvwf/QkcSmyIyBBbKNUepAKKVd1/d0RLjsqEY+ZLBj5JL8/LogDmdbmW+QzLlxNbV/85ShhfyTDPGUcCKw5rOqJ3o8VOvAialFb0Ui7Qq0KKribr8uJje8zSTL019UqwHBrHBau06QiRcW8rM39ssq9c4yT1tOQBGZIPLg7KvmQKoniE5WZSmkrz94E0UMPM4kEwwmZNRDnFyqBqtBDpdXZRbFfhSogOHVYv/fAy9dvHW8rycfPhJnn6ipulMpCpfwOh6xnkID4Vv2lrlQEb6Fa/JWU7XWRq/i7mqjTBocyl6JQeCCF3yNUfXkCXPuneX1UgzpoSGfPKJOe6Oe7IfeMs4rpWiDKm6CONmAJLaJ1T3RxNj+o6h1oR0Z8a6hr4+7FcUgCmJwCucKS0AVY97dsVDBnvVbJNydBpsLW3vYdfFgcT1HX3eE3oxBLGDNORPXKRyVmiY08BTo190FUEbECHpQY8fe1tZuw7lLjvmv5YTuqyW6IobqUf1OSuARf0/Py2PC71xEXKV71N+BAlehoLzCD+vP4zwAKvvoTPgtEm1RgVigKce4EL3XfwopPGPK7bq1JTzei37N81lFOZqiYM+02FN94gDRJPhPepCKNw9fizB6os3/GKOhDgtaArGnhbMCVXQ4qUZhXHG0guODNTsPM0iIkKj/Zp2B1HbvJ0LaTDdrBfUQDH1Q5oOMYu8Mi3ZV9kx1DDt3yt/jNsdaWRuxM+FIA7zV0laGMTKx+dtNwXQFU6QIwzBDZ/2LmT4f5fS0oc1TLcPtsu9b+vsTQVPGWnYovQvEazjNPb/swS61X9hJlqfVc0xPM6OHEuDH9kvuA5ycpYRwaJ9g6/W+Yz7KOu/PUzAginZ4QeSRbQ7mLgH7GE/6QuKxnrRvYGrA5bR0JIO5IyFQklCo48DihgF2Z3VcrEmugivIoPbfdolzfxd5wSpquZzsyeLDZgqpdUN2ZJ1KiRByF031hOCJGuGc6pJglwAZB3+bzQbjAvC7D3iIRNjUgAyRThF7bu5U4uIWQqmsJGOCC5I9vdlv72lG4BU1u+ah2zTVQ2Sz6jbiFuYi9GE38S/2eR40ztQpc3jzfDFNTbGtI+tLQaLh4pHSvFL1hADog/4BtVW5ff6ZchVQXUMSK3R+8Cf8kMlhHOVT4RAQl0OpzeFzQ/JtovLgmVqSvha65f1o54TA69tFc/WBsOrylE90S7YoHeb4dwm8AxrbXo7nQxzgIcz9Xfhx2slQ6n2jtAXLBjRz1a70G4MxEK18BPgf5F/EPg75PtP/wwZBcLj8Tm/j1ICDqgjhRRWCCH8cvqn8JaaelKkw7eczu3VmtBWhNFUlyJKIuZO++JO+2xn6yDqXXLALbK0ufJYQ9PhGZxlCSp6CYr7eTilN/TTobUJ5G0Qer4hU9uJmhWlwGdbOyk5rimprx6NtZL03zFrNTbpvtgfccPqIOsdXB9v5VwpY4gCgnIKQwEtUWlkL+fPtBn7J62AICzSaVSgPUK51zw3jMJl31tq/fdYKDQ8OzaPM8E88iNl7SPm1KG8S/u3xoVylt9jaaCtu0aEcB5PI4lU8ny06oKFA3kxXGEjGxPHKTyDPTwZnQKUMovLHCe5TXOW6bKiUWh5ot2cj8xU92+dYJjNnx2spJg+I+uxHAJN8E5jkFLci3x7CZJASjMC5cgupwKiIl/4nrqUWw9Ma0iGqTRcFkV7GM2SKAFwCU5OS7LcLUFiUhdUcx+bkagXHgrWcHRcJylyXL7qHpL5awZms7cSTAMHddwIAIyy1pInVM7SU7KnIOR8AotO8e/gIoikLKJ/Ki9N0Mk1yWUBn8LXW7WRyBcD4PIq1/e5SkL0xhlcl/DxwFJzqo/BtF22gDa2xZTGanDF3nVIsLWT1nBXeo9xHIPwq8fjI1BDlNpv0GGtBQk1OyEKKtcyvJOGL+sXmQ34LbXZnEe1Er0Z42v12653dcZQGQWrpyVG8c30JbPvhxmK3RlDLOUGYg/3gOMzc57MOYyzkIqT0hAxvW6YvXOa993yswA+yBZTT2musu2izXj9vs0X0Ag2HYaJcel6zKg4NELtbcbUaHJDRdtGVKX7zrNKDIYwLpTH3z0DPLaV9AxIbGZ8O3dwK1XJ6cBtIGDr3KshPXcPL4PLtBAJ8a3CycUImJPx32ADAJXKXP0UsYOupS1fBJjiibmyBcOEhW0WWjTPnkA+91T4WBWDKA02agCPthMjyn8+oCS80UIBUUNvG0cck927IvEMpWn72TY8f73KZuImVSP6Y7LIHW1KUwMKVuC72Dp6HO5/ZvWEWOCjBdOQOW/xCLQHvZ5bihTAIh+keh1Prv/uWeDxrMBN0ewa3tJIekpYrtCUZjVfk+rS6i1CJDJcL/A4am4aHLbne2id5bEvgRx0N6WoKlsnq5QcuCyugzV+rG0CaG71uc2kaoU49oPgqOROKbx04koYP8+3S6EvBO1tczIbajFQ9msQLQECDZmGW1RiPJceLGxT1LnjcS3Sw5GwCnbF//jgycmAS6nQzscZg4tYeiysfjKkp1DKM80wv6TgXQ9Scv20FhIzVL1iQCtO/AQIjCnXczznP3GO8tTrH7IYxi2SlML1MvOhzQ9kDbVMHqYYpw37WZsTWA0Wc6YeK5eFGnJrR/PHSbT5w1042Vzs5JaMjbe74ytSpe9Y8USeSwGSwl1sYiAGH6u5GdE2LIGII/8baHBu4wdY4/8h5rKXayi+aw+JdUzmnWLv4xm2DnyEbpM2r2lyyvAx190Uph8lNcwMhgWxgVfaAOiS1LODeQZ+0Mit7gmiEq9gzeUK52iGfr47aCBqHcofzBwxgRqzFxq8S3oATHOGT36FufXUsxd1bJ55sELbN+zqESJW+XOjV8NHrpAlKergMXYeORRKA1jC3cdB5n8v2lsIfxJ9WMXG2WdwgcHsqmB9+TZaNIW0KKC66bUWTJrJJSoPjHaf0yDjM4gsp50XmhnvntwJsHJgy2c+BJPTpFc17/y0mr6vQsA1ghBC7djrcWIPwhMUhw6R75s2wl0+24hip0+asOTKZ8DFReJ7GX4DHxLGLQgwl7eFgr9nEGA1oz67JIv9XaYUOow/WQXKIu+BBFRc6XHkQTaHjXAcnZ6vq0N5Bnk5bKeumZB48bETAWcDikstAbFFAmK71v28kuViAdEE0DEQKnSwbZi4/N3stcEtdOEXQCc9pnq/BKN7z4WdIQMI+JSXhdkVrVOOUUyLvIp/mitaEtqD1JfX2Tx5Vt5UQYqgWribjmFRo3Ut6kIUSVtNc7P2B0wKZTfFjYjM/MkoYHiT+Y3rKdTSLYx9MLCtHAHc0s79JcfkSKbA4+WVAv0cPDVBW3M5+htHQ7pFnX1gcf4xue3KVL6sNAxhYXxiPSMJa4FzpgYPfmnwNkg3ErWvveiKEHeRM9GL7kummNmnDDLar7EsG9XabhUIOrxlyNynMSH1rWQ3LJmDduT74WBV/DXYydcoKLpPco+ORWqWFHdhvy33yZjY6n5hAfh1u2UT9hEMOFo8I9F2rZwcihF8sZUhl8P86CKoB3kwdXaD9OYwWu4Qy6pgIqu0cG4gNvn5zU6DFKEahq2WwuKbsYhGQKr2cYlzCwhcmKKBOmRKymyhyLxxya1kZKKvhWMMCGSVh736kZk1BkorYE2BdG3rV9h1C39/jNuYt+SF+DUtlaBLg8+cALJwmQgZuTXMh3OMKkRA+adtyLt0Oxjw5FttB7Go3tO9SW0UKQgFweF90YgH2XLKDjA1xn0ueStc6hkbB5Zqh0rJ6DYwtR26SILTc4EeRcjzigLRv6d3KrYTqyYfBY5IEx3K4/E/SmM7WRS+cZT+NmGxgE2LMfN31O9hfRPwYah1l1oWbgn4cS/cOqxjsQdhzmc2EzxFvMK4pqSHYl5xo/0sIqQYcq33M/JiQXxMHxNYXds5NqC16LQfh2tY4/mblErwvWjEa6lx4RY0CshCH0hg6JQne/QyhD7vmyhKtpoCR5BXFQLYic48pujIbsFfTgVwcFY7KlIMDsmcASWmkOjJVQgKyLhtyuIR8FpkTN8Gjv8nisRjW/y4Kno8WVjwmU+btSTeRFG3Fr7p/QYTW/qRe/cg7pVkBuWL2U/eMUY9bGS7NfvkByBYkfH8fGSAAepoHZ2Uz6fXoWDnvi3pMcERIjLK+sRFmD5FtGWkzXwyoAWYRqeVoTyX+aV1ilFiRmXgAqljzQp1ZojB2PjMhrDUNAn1N46OQ/pxNHaAPYFKQxxQWWm7sl+abQujJTtMkaHfZsB6NLA0NFCxI86/8k6SriqYy5KI2tCbjc72drANrY6OshE/wD0hM0WslxvFe7bynbBT61AYyKVmNS0UrN+N+xsRa0vtysr/1GjgNzGpOWn9WQEe8O3iIpUhxRMgjyUQ0dJ1cmCf+63+51+ouUJPxJ5nV4GjsUjHKKjteUnofq3PLXajYhBKSP5X7YRe+MfnetiPcjCt/ja/+G6kG4YNkHVFoIPP5n5C5GiTv25AuYKBPh8l3YtY6ygFyR/v/RwvzrepyO2R1TqbrW30Y/iU9XSuGVLJXCe8d9W5vHVBvqzfmVkaBTBmIXS1A4W/XFOfBvslS/d3ASmE/2ka9eADcs7EuyAFdp34vQ3O66TBmp2pw0NYlGtR5jo3ZEcE23QT5NOqKVp8VXrKx/pwB0NP1aa0ZHyCVWNrvMcLMKiuxXAyoeFFmQsyeM1CsNXay+x8ZwbuRJ4Q4COvLPhiwYNtun9sivrDxUJvm9Vmnc8A0Y/X6JhrBh237IHfy4lshoipRDACrEg+v9it/nEWHGUGe7uP6qjXgBGEro/WPdOLFsSEnjNYRlL8xDyvbEG3NWmIPjxOybriJC5HJJ+64YSiMDDXNz9eXZjCgKYgnIE/4hiPY9cgeSMyZAu5xkuo1u/OTFCr/WAnmqI0+NAkZcSVetKEH1SrKf3+kpV4rTfAXNpkMbSmBOZXgA/T/Cel8hmcp6nrkOk6GAGV4Qq1J1m5vsqZmTKLrCanx/SpdsOLNOSigUyucDFMjsapWau9jlgNUVI/P6groDmjHjDg+Et6TlSsKNSI86d+Zw0B2aagkq/XCLKY8xbHGgqul9QuMm/6UIIo+q9pfXSYbhZ4hXXpG6lAPdnpHldUi5wMOhZ38Y7n60TxCn3oQMzSobYb7gKD+uad8o3T6yv6j3brnFUforr68O7+T51SOlRvaj0vcFDWZd2eC2ekKkU+PqdV3Ocvrl4t5Cx6p5SdrS7SonQHLc5drZozzFmBU3BDWxKO29zUNbMFXEm1kh7ImncqRymIQXja0AvUnzz6ENANvI/CIZoX9mxZZaf8M3QCdc+SMxT3TQ2h6QCKxfslnMMTRxT9PIoQP7tZ5bPof3CzH83hSpczRMDW7yg8OEoSbNWUgxnkENl7oj+hVOfcRbJrTz+5jTo436h3mcBEEZPBL51UXaVqduzpufmiSy1SwVRu/s/ofaWBCti3xkZ7hsifcrIDxChH2q4RtGqP8pL0dAkHNlfe2RDBcDU8PLPqYFJEqadozw+zjsDHr1vpailLvjOBfbFJFWR0FM1LPwz0cK2m8za3qoSZ0IC5vP/wv73rqmkOhBslcSXVdtm9aOGLGMEcziVdKCCGKAC5T+T+rBEXCXdHqf4L35R1rTFdb5t8OJ4gkoaNK0ngM8IlmOjJcOChsg9hdxwxZY1kYx5fa3GFmn5VA55XzjCfOGE/ZzEpmtXJK5akpdSUtmlxNOdh1RG2/Yx+9R/cwPgxxPaZHNCZ+/J9AmspTo0qQwi6GxBaMunYmeOrzkAvaqD+7cd3/M0lfEXjY7SYLBB9kxmSBPTN+FuP/cvpUytaXtn5j9UOQl9FAr1UOb9jbLFYvkJndjM/aaSZ+z/kfIt6KfMHugsasW+4lUHgYydTvod3F4xCuSwfjuIvTkH+zXpt6bEyvUmLKcCbrmjFBqqt4hJnK51NtXTVRosVwK8XJ3zwhLXehFvOMjFwv/w03iVvDKo1tOhW8Ul1XSW5+H0bGBimfu1Kqsw0eyQQF8oniZ8USugtXYQN1em+hPJUTINobrCtdrPuSKcQ9I6ifPTe+rO82n5h+4AWPTYYfZUKIOntGz4BL5UE9lE5kofcZgvpqDFafNJ0z65H2iuwfYGk2uXv2mVf+vPyL7lS9ZpbOXELyD59fiU/XixDifruVCZYuDDORq9QZyMJTEbyQb5zOjhhGDkVzjMmlKygRS9khY5swyD8PwU5HepdXUKHz0X11u7hgTPaOs/uQ5lh3PH3fGnwD3S8FoMEQEx9PM5wJGYskmhDcDziUOHQOmUOYwQlpZwlrrIQKsD2rf3oiJ46XYIprCreRtsirunHpwEwjPG56I0X44c6oU23Tg1sWTlpHmcYZCovJV06yQ8uF+HGSOxt5ZmhEOWgWPyK1OYwA2NWEwLJfsebC7UNRGLebmRM74UhQgt4WOMdtBbHufeOWgMdmpkyG51CQfosf+hX+GbiRXufavyzB1n4FCUzjbjO+40Ys5szBt2G9aUhYtBDf+KdOh/iftxMCZcwskDDkwBRHIZcM/TcZJ1E7GIaGIDveF/8OfVLzZ08qvuw2A4CjQO4BSxB7Thj20nspXwtpLvaTnQdwox2PSDxqHLmA4hEDa0WKAPyOIzRp4Ik5Ija5xTjBDkA9oKLfLaJyHvvTINHl4Q8w+wvyjE5k92VbEbC03WI4bN047Kom33c8MDkQYM1sDCX4+H2R7B6y3VKO89lWoYYbvTq3PKH/yp28w4mfOu6VbiBR7s6QSdKEf/w/+Az5OFdd1woBQirvoY2AW9cGnQFVWCmRv7SX5rzI9Yf3eM5jFnQfdhTbfmOefb+x/lkn1Gh6XnAy4AoKmGYnOb/S3BRmQ/8fOSQVbV685Kez+z1YYQZLNefjJZMXnul0DRuwV8yo9Dp/bR49nnPqvGXhxXk76CSxQBA/dqhPydhMIP2vYA5uUj1SlD448ybppUPMDCxczFi6swOI+9AURcq0NAJG01dlOd8JqSYWoVzfN0fLwrpV1YYdKTk78UaMOpmXaodYL50zTc214kAxv001Mnly1dZC3PQoxJ4zVy5jni9IzdlrVAvj2iUNt4MJ3vDK5F4AJoXOIh9Z7wwcgHXBkCRcnb7vxfcnD8UmifyMQqyVi1PcP9y1zI9lcqR7ZJDOBpo0jLTcHfyQ+K44FhLS3FRTUeA8qsRtDEFLP4Re2q4RZXNMlQAnfVbW6oL5WzKmdSLA1iy6D34tCU9CB6cMWxzR3e55l/4DRlA5ZOK6XYTv66yP6GcS7dpGiyGuqAqB17MKTl5eogvJYp9kiPbW4tPOKDwGfyRVzEGX1Zhv/6o/MlFqwzpQsl4ZwAln1DDlHBS4F5PZACq/IFTlfPphA3VMJQyPhxdY+qXsUDXJPs3x2Ijc8VrzS/PphShiUwuQqY3lYVnY7fsixiWeQRPs1tLKbsshiBRrmQLApbemC5ykscMVM7jsK8G9zfmA1tSOGHh11q49kEvgXOBy6HS/2FfA2A95X+RAC4RYrb+2ZK3ZFWmTzLyx49D9SX24A8cWLNqYmgMRgMI7Ehi08sfLK7HnRR91Ib71SHXzyDPgtSRmfRQ+BTwHmILE/MkHn7t1BCTKYPxWvRZpxaGKwbdNI5+SzWxEbUHq018Vh3HLhvqSnjadsJMgpxh8EHclkN1S3hQSOXi9WoZQ4L9qaPfEAcPpZMH3+qvUTfZHt5YUxPRfrNlIdsHe4Re8Vfhj3aeAbNxyrTLmRKvCtQC9qp5DtFuZI4cAkXoWZtFRTqbNlaU3EyLMQk0M5fuoAm4cVcyUTH4vPYXNVsLaDaEm3DdhHV+C205TrtzhQs0Mmtb18P5YMzOWVIb0+PAJjHNfnTkOLvIucw0NHsaC4XwuCFANRCxIRNqtI/dtVuFYgYRdI7d/DB4LzkeKR5gomGjvmP6wY1r9lBFRPRBvJpOw6nwrft+Mekaxst9i7oKOub5kUXx+GO4cqZkgVp+TumBjrOaiUuubQRIEPZQyZj5Kz6HJHP5m49/vuZyq6kRYLXchcmKws9S16PIpKiFU48FRt5O6WnqTDvDf8SbGDYDA3wcYcGYTa/mYnLKI0J6Yhm/mOn2HI2uwQcCaL9z73b+DymNq4VqUrNK/Pk34g78QczCnyrO+dm33wV1FIbRueV/VqivxICl5qKPaqORXz0x2yApl9gUqeAa4AcdSXTvzhAeZcmS6IiLeFugs4007sdBv1NREVy9hpuOcPKdIAPyOJeQ608gFvg3gTCAGAT99EB7YWf8PAVNKdm03ITc++McSNF1pW5yMDzkS9etPN1Qg7phA7Eq8PNN5DfjLcPVxx/I8VfsCv98lTlebpfD517gLYB0Bv/gUKSNoUhZGqaooVH2HePKiQsTNwy0kWkIc66hKZGBwZtgZ+6cc/Zbz4Tzei5QhwYRAK60vT+FrbIzbP7qChBsRAq9YLH3zBHM3Aj8+nAsN10CVwIIW6Gx+T/2NnwPO68XG3TFKxhT88O8DngqUql7+OiSqVDU2moga1CIXslPRKbeo63YFEztqSZibLMYDR0OOriNFhBCfBey8xZhc9mFxJEFP1lLs7A6I/nzgNcRw6XsUyIQSQnFNfbPs11m2hfFohVx5YjOslld8wFrIiUzNGEWYEAHalCZAmXtRB7CSASyZvHGkMMF+LzA/5wQaj9Ay74pFIyJG0ZYkL9uPZWAxUjqxiZ/9h/aGOrl3q8ky1dMKTPhqNFINGcbIGbOdQUgHR2t70oBFFTsU/RJdNP6oM876QoDwIZPKNSGBFIcwRMqCwhb6Ms8LIr5QpCZKH5QrVSxdoa0ydjFwSjYa5FnM0NgAwublW0Flwd883LNR59v4vYYPUUHvBd7ug3RWexUm2CPAQDc6yMS2IplHNxtafnqn24hqzwk3p6tOi1oH2SAQXw/as6Lg5Bp8m97dMW8ulMkhXZpwgVI2+440hePaIt8HmAVuoakY3/i5xmrNalpqxNQCaCkGovyzdcT8fmnG81YpVOpyISMr/pL2HQ7e8LVgoXtOCJlvQX7dOHu3C40StUPaA8dGzv7JvoOdbgFRIRy0zAOI80hlfkjZ2SSUzufYZP6NdvHupQ+NJeXInUawj90TXov0jeboP2+UipZH6fX9Oj6nZhJCzRClvyO4xHRc1HBKAbZvpxqTyLKoomzpopjzPnDf4niLDiFUjtwwY0+xGcx0mZXxmEsKUxHP2mRurGCmUoQYDAfKe37yVskz7BWrrQkTKY59BMfVHECTx+yeXOrZhZMS6R/DQqSDeVy+tQafJtRoL3BIf0eicuKeD6YTDtHt/2UvQTMaXnJyZHDdHpv94GagOhDkWxq5E4f94U90vUe2KDOcwzxoXVtrjK6P3yvpxU5vfUpxPjY/A22Xq0HSm2bLbBaqENEvWH13Mp2QDMFej3MEbECwpGLA9CEk997Hy5SEE7pRTcyrvoQYFXwVfKxV/Edf9JrcnXguW4HxObg3UmxNaKC+s0ONnnQoniw3hG0l2Uzfh6n6BNjAHRmM3WTb0Xm2cC2NkwyaWznjT8Um5hTCOHfW9g0akzDWPTATK8YBY+alp4o/jgOHa2Ki0Essd7aUrJ2/CVp0o62yUDoDkFgkQXNd5T1BNAywX6AjucFkr1Uhoqzmm4e+98VtCb1ul0ib4YqTJM9c7WyOKhjyfOyxJcYFHaTinKivUbX/jtYHZnXq1zjWziNNeWmX70Tia7/nGCFUQbcOIH4sbRzlG9l1HvM5k+S5If/AxIkBvn5zER2FX9nj0VgD7PHOj+Fhu8NnKXQozxmX3reYRrV86rWUJ/IKlPsGaMEoA4//rSLRUjIkxGlC94d7svy/SRNySpPHoyI3ZSS9fJlXu80p0Met6q56hFTGg4at1JcgS5tNlvKsKxe1CKdsaEEvU9MHRnoDdLCVuhQFv+8NWmrln+eQEQD+AqpzqLi7PZNVLdpt2Lv2Sn+Z9OjLENzywFhqlD6V0A9pkkNH/IAhD1uuDtgzFw8k25R9VbyY3nB/x+21jj28tc6hkUDOpc7gDlrfwtB0XFMIJbM4N070hljsuv8bEMJGrOkWY8Qe2ps8QCUfyqom+BE2GOm1ca+4NVf8+ZeeREzY1XFB17CJADYcqLDAT94Gln5k8E9IMWLNJ/l9ObbxG81xzIGsaCjCIS+JWj4t4GbrIgDcBaEKcTC4roRqIh0cJrC8/+19NcgofMZ323YcU5ehOjOnChCdao8324I8zhhdrdSVDgdiZonBOcAdCdS01+eRJj8qQvD2nRvaxBhSz+cTdgrGjd7nqEHFp7mVM+nSE10tq3OVbxWheKoR/W9Ir6qcpfNNEASywUu4ak8ooHMS6AopcjVVnpPI7dL6lRRiRBcNN46jQtBZikTy5R2NQzQpJi18ck21rlHs2MD3D1YZdk2m7EHO2irSi2mRviSoshRNggkHqa0FrImZExoeCsStwZOz8wEarV6ggFkpXmicimi/fbfIsgfhAKyiuDgo1Rtv/NvgznMJjvADzEyhMuW2z/2lzLIeJQEBFM+gKkVu1EmgIRGEhF94cOqTiu2soNFYMyqRWGNlIQszzN0RTJ+T+uXGzWHzU17dEOeQXGus0hXrv1Sai0xFl/HH8weJkohvbEBVqyzvSnXtittaw9swUNDWhmdE+VOMTSWa8EhKL5fz/ftGVETN6y/AKNHIGjwf3pA47Hi3uv0oD/wLYPF/GSvAGhVDFXRqEwVQmW/gGfkYawYsy2yJydAp9CX4wEBtHXU5HerNeZlFldvSw6uYxy1faj+51/mWqB7FppxfdELKY3Ub62IOimxY8yiiY6tcIVoYLQtx4QTnYC6kP8s2ANqB2KSdOFEpgiK5r4MKsXonVJWbDFroyOmOdhN3Jcdu1+/cPIZK/J1rheokBtgoLsO62l79jvzJJRSHPv6A/3uzrsCOQBWV6QwYwPlW0CUh7hyGfF3u/5Q1VCcBglhLlWDkwhIhhxKqG7yrHkNwumDhIJ/5PabLo5TDmNQf/emdohZ5OdREW6RTadye90ZG+xdm8Wao4LRSEUh+OPUZvUCjmHh1kK+3zqmdmZhfqQu6s7srUSmKefrxEqRkN7YGMYe1B/FifGTtXsMss5B+ssknvWXwKH1/Pmab2l/QPCys8me0jZik3qzC97QyKg4OTG50wnLr4XWqJBMHZYfMq18Xs10hQXiHhVjUKRsbKLzSOtkVapJdjLaDeGguyOsDCys9r7kt8Sc4IYK+/eLgSV9sC85PJnz/JxuXD34cpoQ0bXfbG+zXAkmYhgYa6sEJcNmVlz36uz5yAqgZ0O0G07JdKDYdcPVOWuO5+oUAsYYFJZWIeaV7yKvTfwhjHZ0jgPLE19ric4cYdYKXWszDxJ0ltWF7LqY4nMhJcvzkzXqUd7G6riR3bbOzNCg557wawgp/ZbgSO0A+W8vmmGjxe1iHE32GXkzhJqYU8LLlylVhB1sIadgGS4Pvzbck+Y5uZ604K9ScS4mF1QgujTobSl9qoiYqo211JuQVBPWR8V6Ebq56mhasgA5rpIc6AAPi1OjXop+7x0Ud34GxLP6BJKQHpzlWX7xXgA/DuvsLjjs1Vrz3qxNuJZ8o9GqTfpnD1nHMAGPX37ncIJ0bG6s/+cHsNE16w33dX7TRwYnVkjSv7GAaN5ewyiRxX0ugdDea3eIMUVXrLjtgGy/XJtLNOH/5793LwVunwaY4NcYRkwokuZYbN0YmSiLu9041MnCKpBbecHa5Ym2lPQGyRnkgTsezgPdTctAmVMOELIQtP5HHorpwxWZrff4u+laiht6/XB9VDQH0Ro0J6/XvFH9JvJeZiFGn4e/jAi3m7p0+DdtK2LXOooK7hbYw4Jc0wIiUs3I79D5bmxUWryMQqW6OzAFvJza09eXH/YeD303Rkxs3Cj2/zm+aDaMCmX5iPtpl/2Hq+yTFD96DSTAAMSedoxwn2iYyBhTjhddkr9c0rjm3dz6MH7uzFDjTx0nMvAA57dwF/geRy238IT3eUZnbnOkFIDDl53vfGjXJTxCDcXp7NNXE8lmRnLASyZm3eM6sqdO1MSV8kt9qgDerD7Bvced/kmX3OUmtHX58y//rEepItBok/ZwyJp8Rw/8qJ2SDJNfkAAKxDc4aPAXGcP6h7hqr4Q2tgkmL2edfDV0d67YdDvCTESXpIGLhFzP9uuuAtBs1OL+kkw3dWQJkzw1makDq0Fxu/DZlU/yUhHxwJoHGkVSVLUFXnZCQ0CORSdPCJ/ayyq47u7BlID8ZumyrM431gWHFeWn2cFXELV2xypoRFh8t706NEf65luDpguf9pQfzZSQFaAcu8U4qR59RGFH3Jf8bQ4PA7v/2iSzduji+wEkVUWncmXMTKLpUi7YM62G5WqN4jD98XJXm4CyfVn0Ey2C/c/vnNk6Ku8lNfsbHh3v5hgBwxgZXSMjRaTglSdZJpPOPnCDWxtm9U87idWlmK4jRwjHT0cIzQ5a/g52WicPItY3f/NqekXXA3Z1UtdWObKGiUyGClMLgKNqCVCl/lkLHqwDBsIEiyBYzF4n5IK/ERa7Mvpml0/xvqlju5uqPS7DJLuZOJTbhAUQbZpbr4REqvdRmNE9BpOGIOIkSRQLP53gS/QS1nxyaRQn2f0FSS6ksx94uruZp872VLuDL/slVdjZwgPKK16vLSBcChcOso/SBzDx0xEdis7qcozHhF7HV8tausVI87FQ4/9neA5wuVl1OIuySzlLG6ZcKSPPMNy53IFAERMIXEX0XbOWHV0lazCrWusGeYr6pPr/TxiLbN/pa3ZN7tKnYj51g4LIFoAoHfW5XefSs52WWZ68+e75XMOlSstAAdCDJ/BfY5DRqhgeKseBfRnFH5VYEAoUoAdjLmIbcm4YEHhtLcapZ9PW2Ej1oMhjll/Hbw7xTqOCVgG9XG42FY8gGJct+JBXlmALa7F1hzcBbRJRSCprsZJTENj+Y9/HHvvQjTu8F76bS/lzk7WNG4L2uDh+uflr2kppxX/O+16lFs6sV5EDh6Daj0ZuWn2dllE4rmsdoE1XfSYqDTAohDYk2D3vIn26/V/pTH4S5DSPNSKlHvI12D2/G0Os8sllo1/ttHAmmabvFUNDn/fxCoxLera8svye9iAYgi/XYkdr2qqskiH8Gfvsj1tcAn5/SsQ+1lpoaZpWBgYw+cb+fXnF3pCA3FkYSmh163WnL6oROSP4UzEOYuRCXk6A9mlttdmfNQ71OujW9suA0ZEwJqK0qzGIBksW3scRPkK2LZ5dqMJeH13nBj3vYp4kCRJpyZctIc3O86vxfp5Yv3Q1ji163Z01YP6Hy5eBKf1JQRhxYpG+unCxu1YQAzNetdahKfBnccvKxtWO3JhWR5/QGvFXgMfSmzOdzuFwGf9Q5BX2lfYwB5fSTtYqCX3IDHy/gUzlZ4oGIPKUjiGIYQkWTI1pzOBQCm+9Qr9Giv54SBIvO8oMYtcQkPUmzqksIkNJwym1EXc4hLydDJYkHnIVDrD2OVG6w0ZylI1QVMunJten4al6nHjMJjLLfsQzl3/2XFr9vMeykGXC8VKD11mFqIVpBz6uGH3e6vbkVu1jBz9SnCP9E/bOYwZ7alB6oxSb/BIUZeoAO1BZKG68tWJHObUm2BN/wEQBqbksJ4t7aKKtiprExeeqvMm7VBmKIIQDX65Sf31SwqoO4AQlqOt4otUplnzUIWxm5wqQrMZgVwbxZHA4TK1b3aaV8l7aijxaCagA6cnM6Hr7H9MUMrXYeYqrAo/ziQhIQ6w6gpf+4Kg7oJpbk9vliwJ/OEsDAsCuMHrgQEVJpMSsEmGnKGzX6UdWI0bR2GS2a7ZdtPROElaNTwj4lflsYQIfg6ZYHL54CzO+10xaTsyV3WBA+PWPLsyXx9seIDxug4z4b5stvjaHORwtDL9JTHXmwfGosASIV2HQKt3aJbkGqE15jkcv4Fxnrkx5T1Mg/iARwQPbI135wr1dSTdB4bs2qCiZZsSP2fmH+OEJwWLAgp2q/4PKTKu0rj8t+/rELXhIlXDpE+b1rxFU3Cj+fKbUFcujOQgkcwjH8mVB4Zsiyd/5IqE00RBzPn7/WRtiDhaVcRLsZJgfeo1yaHGAdl5rQK1niKU2YUTrRKRX2zzD9n0Pu/AiDBnmpCPkvQhMn5c6vzUUVLpphdFBtLF4/65eHw/LGfX5EkKFOkdR6ombiTflBisKsTS0X3uuzgR7/54MJL6tov5afS7U6imp6WCLDD+AbNsjMz1pykg7WULLEeTK2LPoOqWUyr39w/MtQfWSGfWBk7hLHySWY6zmN3B+AzMaTBxHaJYHVnEXR9l+ZXRYkUALnNQDcBoEx62ISg6DnlfCx4MlNYSvXycvDncCYO6k/69JDvKa4K881RSQgRTB4JAc5/RhR9dDqnQdqumOnrORQySgw8ipFBsntMZfADC1/rLNq8+ef96TCe6r0JQsCcpbo6bQXkEPk69fZUMdABh9+tIgUKv78vyCta8Ln+sFBwfl3PUi7jVTidxTyiVQI3ObZx7/TZuLBfWtkPcDRVGsIkvEbzNK7NeGxVLSohPdU9qmiIX14edd3K3dk6iDaB6BqBiyGi4o9CEz4ChGfotA8AGrd2qM7wco3eyrpz8IYea+Azhx9ZOApcUDFTbllaXzblAu8IgB6GHgbLuHsbkWASFFmTuEpxaEgv9AGkyuQVuRz7bY40QvyP6EXt6868SaJdnyTTP8vme0rCIFx53fLkxcUFVmtUtK3A10oQ4SHJWwDtbUqWubehlk2+qYjNIIgGU56gzUGT31qAY41eoZF/wWdn5Qi7N1pdi+cmCn1trwpWtl+ArjIatMtkp3pSOQufr3If2RYVeh48tLRc+F6Aj+kR+5EuURctO19oXVc1cubFLuDecrPJsceP8dxErWHdxEuUWulnk6pUZTAYDZxpAKNLwgvCraiRsPv1SftQwFQ+OlLznGp+4F3otWl9yatb27NlK3j/q0ytJDwdCM87WWgniGXYMcBu8u8YrrF0aE2JCRR9d2X4MVz6y7pKDIqA6c5HBABT+bTTKwAkajI/hpXoYuu7gDIeLaSzIwErSv8JUopwkC/1j/+mVrkXKAvMR8aPtkVLK32st0R+SLKKVzunpjBLNNf9m/alMBbnRB5w17o7wK0L9K8VVlYQxsOEH9Y5N9uoZVl8XOBFQ1Sx7DaD4jcVxYL0uzPk17O2tB+SY8HnbONYAoXTzmIS0mJmq7grIK7DSpx+AXHxgpunZd7dtxMs1Td6ZqdxIFDG8p5GaMTQMAbMsKsahFwz6FEQqo+2MP1KUSqtMinXgfiq/nwcPiX8Tyb9vnPMETyFnF8yjHic8VzEG4bsSdve6cSaDGKoxYJW1rdS84W8SKBNu+HKPKhqd/WE2UgR8ujeB71lx3SQjx8GneAnMBDDv03fALbMxxNA1zLHl0sS3o1SpXPvWWMj7TaAltCMZI9yxBPfVbvvCBG49ij6YeJCC3pigTLshdhn5t0PBVN9uA8/1Y5CVokvjISRwSyCAN4xFLodpkBTpS+Acmgo9pLSCREIZBYroTKClnvRZ1oInrsYLjWQVAdjKwoSJqfIcDvNVc8iXP89kI58PYwDYt3YCD8FKIBEA5/PlVw5d493Eqw4yXren1Td6i9cA+/7D2RhAzsxp3qOzke8t1aGZjXc31hoIdnAmlwVzLwBQX95Vi/azZRRVgOZepFWYlrj3Qs0C0W3eWXxcS72lUyDYAToMMklsguFNBeEHSAdMDGeX8kER81rrH8dkrXaxeH6saQrTzHrAsjRZ5N1rUaHgJXgN/96COnWENfoqfcT+EQrYm3fZKME0EsqOqz5iEQZ2y6Y6V9PZDqL4JUc7gdq6k4S0xQ99VVemqJsHunT1Uq5EGOwFF+YxbHKC0O3Q9Wvj/zqU5r/BdmwzevWojwZcGv+L+N1a6Xvmq3PFpJgpppbdJuAgrYSmo8eB4DtkJBpLN/r34G6XTRaTqTGU4dkd4Dczij5/XeARsxe68LMV8pZkUAcgB84AYrKyF0TFH98BaLcfqIkdoxD2r+JtkDaTgy0CEI8jFjeWo5Ru0CQhjL1rz2Ik/vDihsQ2YceE0GPlvRvGd5sFBJ7V6ce1od59RC2Nui+AMNNhLLbdR0nGRX2fwaO70XxduJpuIkdO4zloyxZ6gaX/6bIziw8qrz5JnyXXd+IHe+uu8hgVuP9P6lFQ6/ijkMkaIqALrNVt/E/NrlEkVv93j3lsKRCk5fM5Zmviyh2NEPB020YX8Mvdol+F8WzsxFfys7mg2aMU+jIcfaZ3s4DJs0Hvc7WUeO8Qq/tcduIR9fgyy//3MZYVnNnZM2vTWwfX7EyBIKKBIv7mWaLLPcMl9gBoLRNe1Gg7YepJKDiKRLM+ow1huJjdynKCKl0Ap+UIFBIzlN6mL0X+PPqLFl3itEx2Vl5A11bFqXn5hHMxQhEzOU7SdmAx2554YOt85Lm2JflurjeYFGlAsvkdGETxfLgFEdp9/wVi2djZRxTATRbID7yXxT6Pf5WZx3WmfRf1+REBdwHLo9tn8FUUmcGUORA1IpZ1fF+lPmKTVyc1565oLGKZeNQDjpPqPpNWHRB10lip+8/urFpfO5EpN2fmcc4qVWjb0V5WE+JVEAWK9M1rkrDAMPv77/QUriBzIssOWmzswPFeUEF3GL3wEAk9wJja9A5Oeq0zs3UPQIcvvZm0vgtxaGvQ+Oxo2zLtOqwukdAsbsrhTkJL8FbzWZoVBcyIVsYPPlSBIyg3ulEE61QXNKZ5iFXVkzwadZwgBBIbEUTAaHIyhCG8FxPRl4T5TX3ZYlaggCLkQxgoT/CgOdflNCd6FrKycTLsvdV8sdORA3Uo243esBLmlb4rm6XcuJa8Wh4VSpTXxYdW1y1CQPtMu1aUcRb/s1C28+1DRDFetBL2qJIH1nBbdGB+0klAx+JtdqnuzA8pn26ifBdWKGQW3HWSRPWF4suk7uKaF0BVNRC/T04iQ7gTuCrJ6FLcF+Bqhy1Up2ZN8lrcJW6MI9/gcIqMhy87LyBkvH3lyadOQWn+5ArqQx/eRGoYRavLKXW20HfP2OSm8ukiEFUlKLIMZpsNIThPw+3EDcmdlv83kKoe3ydDbX5xlM1QxKjcHN3otX/sS1A0zi4AqBz8FdSt1YEVmZCOdf0oet5mFtynWu1OyXwNURnV0zdUQTE065RJ9zUXE9kRSwMBk0s5+23Scjc7m6QFY/AGZCjDyjC7Grvzv7/EIIhonEQuUDmNXH3KIV8BhBymbG66d4gOg8wDF+rjCcLnfLjydH0qvGxG8yWHARzqYwPye0hGIhJTOV/VmD9YnlXymcizxdhVE764Xn8p2neO2FUR+dnur2jTVwsErLBCVoSneEJYnkHfwZ71hi0FqslflHuS/uZ2zhj9GOqRmh/KWiNrkNNXQWN4Ykw0z/2evbTcm2LHiYppbreGfX+PA2Js+hsfORZCwpspqiZIVl2HCMPD8wihYHyv1x08Zu6SrrHqnVWGSmYhNYrIPL+o4uUJ55NcgapTohBrGCELdNhrNZsMJze2MiUuJfgz/JZJFeHpRZaMLBjiVdgcHwkd9RnMyd0ulhZMsh7EfooL4KWgJYqXcYRedufoY16JmYGouxhd2tbZgH53z6dcltLmWAm/q1qH0+RJPwFE5lZJomSvXRPdXisgIct8z8djAjNcjCrEWQKO41AWsxICKPJ1H2tWDAdro/y7UOoL0VTZxuUKnKndzxNZvpyeTR8PJP7HE9mA4fLm68Xh3HWDLVics/CDcxaPmParlObjRUZLQG5LbmX32+ubzX/Nc+E6/90biyetnKSWSJ9qooxoNFNdtMnGraSfmVegXc4r8yrjFzEONWER/7s/HznkmiUhQFve3oWPtNki8mMU3EJYbfx/TaFAe0v9Zi+dDNy+fD+CeYbytBlSWKFaiir7b4pJUm4iiEGI3jaSZsMvqtTXJdDil/ZrgWDaCE4J5VvMxfd3l7Of8fBNwOdP/h5JlakLzZRDwHLYYWqTC+CG30/QwekGeZbE1D+352nCaRJ4vMwIJ2pcwL6GY9q+cL9veqQHnoBFavnB5pb/kz3M5olrxmmARirR8fwtRUOqVy/T43Cee3ubQgppGOnVtPM1MiK0guCLq0MIVd8c/gsoJrTDiiBHqSxRNp/3HgTuIXfw3c11beaI4S+tusjzSAkWooDaVR5Iok1Ot2c/EYZtjJ3ZRYmHMp11BQ1YUqB5XnEekbcoDG2JcxrlhbOglwai/eOjl5U0aXuslEqWFeudXhYvTJ37ZR+ZgItT53QW6PfwmZc93CEl6nHGCulOHxY7I97UxyoNRxec+w5DLeDL2+M3Ye/5XKA839zJgIkn0GtQ0VHo3rZrWOzBGgoojM4xI5YO3BM6l+jEHYCNp6XwvxQs2nbM3+q8986TvU3wqE3wfWJJ9Cloe2meEgruwgewLiyCrUZBOFJtmVnaNYNqrdgdpMS6fT4dQD9rjk7/oVTqnSnbRO6Y/fe+NGkrSuKUXj1bBQHn+2YfVfXzxzahIh2htFqBRvHGMV3P4hoT/Kv/PZpaQVPoXcDZFFyEqsS+VFEiOBHxKKNKGihjTejrKDAmo3wBLlyeznM7QpDyxENT21S6wo3WPMMy/UwQ0DOZ6pICDpwe5/6jAB8H+KjSBkmmBJcZLmYr5siiDn2N7Qh59APx7dJKBgCZpjjA3UYrqF6RUZj5DraE99IMDYQRrrVXwgP99VKTzx68+ssuEv0eBekzJm7J6EgHe//jtrCE0ImMgoXgxuHHfbvKhfMhDhUs3BWvGdIT2j4dplmC/O12GD5ib+s7apdqH11bpQK0qnhxyK30hfqfn52+mf8T1QQbWaDbYsIf2huEHCz7WrQM1VBQeotVbxHxi3DtFFSKx7o6P92bk04Jdtq87gx5vfwCEtXy47fmMJu1NwqcFGwd/H/JNGg0FRIEcGvISl3rZ/Iign8gedjyFQ5t0fEQkoIs3s4mNo2aEsm0R09r87/ONXSFWbixJ0GmN3SoLVKIokEammCXT979tuPlwyfJS4qnols5KPqZZ/bL5rJ/hWlu42q+NZgR/J2pAw2Iz6iExP3ZIckiDPSEWLoJktla5z1Kw2zZweoX4iCsoDPsQsF8swrOu9r6sJpFfkDrQ/DI4r4ebrcMz2Mp5Em2fMYvpkBvpbAZOb0BwEBo3V4VsDSprS5ChULSmw/1sy+tRTmzIJdxPy5Pn10+Ex3iONuZIWvy4sZuV9bASYxaOAftuMVSwJTYpe3ppTf5AdglZe3q/IT/jda4uPTVtSQyJ2rl/7YvdHLyA68VOTXo/ya22/xPne/xOAUXZuZZh0q7uWTHBOPgvj/zSZWcJPIpOaiTIMwhZoIpGjULaSdHBUFDkj9R5qklinIxe7nXS9HgMQ0/zyY640xyefL/YDGauaEWJcwOE/Sc0PGOknhaIdaqJZUUV0iIqMj+5MuTBJWOEzliGIXVWs82jYcDydi/MLFgdBlKIHpnuvvfOxBL3gENUJzTmgBzumbE9USVk2328dmL4R3U0YLK9JL+0fa3Q/t+Yk6UUz+5s/PMZB9GaPQUxus/oWCPTJEmmbeKXuXkIFCLpKNq+fL6VXUkwItxFv708PECc4Y9g7uqBs0aKIHuvvgmuxcb2eUDvE/0A/4hPGSRsw1xf+Br6kFLdZKPVS0WAu4igo0YbCPPkpxt3UpGiHvDhwAW5xRmGF6nH9+RfRluk2HAoaaEg8z8sAyV/PaAqUOJ+BApi+FnNzH0puPEkptjECBrOym2m/UtAeYZB0TBAjnhKJftv1RojNF4k4orIH9sV8Ol3asjmRuX87kkSjfuLqhiSISF/0fWli1+p8AwecJ17VwTHIkBZlOKpemkZDwZkdaqf/H+AzwkelfJh7lm8VDoJSwf0qQJ5qKNl2uTMeSfsSh4GVjWEYzD2eWagPAr+oy8be7m80D/4mZmnlNA4uG2vHN4yn5HdmrTN6P1Th+at/KF2+eId7XQOtFAiI0MazG/ZhXV6EKvx8IRd7tLg/YjFbtjsMn6jUlNSxULjc2VR83zKflTQp+Cb0sbob3lD1CtYyEf+njmbWMNO7Sqc3ddx0ti2M9j2dF27GhxoEVP9wsO+lga4BeGVCIafLqUbwhGxAjclHNlcbLZ9Jw2h1Tgww8Nb/VGvtWGQ1s6j6M9d9vEvPW2yOs4PamQt0fHHla4np2IkTQJWO2E7F2S47w0lY6QI8zDI1Y85fzcRbgrs2UjIM8ixMS/TAEPhWyYUZU/O7Sgb6ivL1wQoUNRqeVLs838AtKm6Ll0AvqjpnBMznK/ODpH1LETFJRghdc56TKXyokIlnEnLCDiwKGJT9rXwfYL1F//p9jzUYnkI0R0vbOerFCSL8Oh0MpetACSDvmkooxGZ0V9jM3TLU0VFcjac8i1U81Unr/ouGgefYCnUaJoE//6e4Xv7aMJBMi7brjb1mYmjhzWE1D6pRx+NCohwoX/6Y2ECYNbiYCtP22DODfirT2OD5dHPbpTC/sKmkilGANz22E1I3nyZ7q3Pg8LTirIZm9I1k39QTsZan2IESB+yJ3ZTXSIW1MZa1Thq2mefc8MleMZfSbFQkNclScR0vSbnJCZYv+r04rmh/vMp6tSeC/wPlkiOyAEi0qIxI4rpgnDNwJpVHFNiDI4z3FLSqV6JtpOVYkaiZidwqRR13oePcTq5wI16IkBfzKnCoWH6h3KMxD5hETFqn21HgG0GzK0B7bJIBcDbm256QRJyr4Dl5Xc+QI2kesYZK9KIkJR484PHLAmRnyi4G4ZmRPNgkMgxm8yNbpFbf9Ctw/WZxrI3FzPrSaPcqPUSvSQVhK6OY9amxp1iViftHWIRREn77RNHl4AsTOCmgEIaJ2KOcEC6EuabfARKVXVbBlhXYpu4OlLDrsvfkezNvmlBFMaCO1OaNCgw3cvKwXFuV37DQZCvQ4QYFWGTLvQvPT0iJC78Q9kX3PAXm7KjZd1fdQx7Vbw5I35bfbdVosm5z14j4TULtmqz1Li55NCBjQ15YYfyxGa97UprXPOM8obsfX/rU3wU0xRf2ZcqkQ7Tkhl58lpEQqhuSju1qyEOuMRbyB0dgkyx6vn7LQ0IdlDcpFb1ouBiCQjYrKALGwDarCHziD4z+HEWqz3o6J5STX6WH8vF10sMIWkpvn7jLnNDBuCTBKRsF6DMYO8SzTkCrOlAUDJfVhNfoqjlH/zjoz17nso9buP8H7ycO74g8/XAbZQlUD5HsoXoLiObqxoggi+nq6ATo60esKKVoCRruY5t2FFYDRkXJwgTBTzTbv7/2zkuceg0L3MWNNCAxtR+Pz0Vuz5zG0R67gJlIO97u2woDoxo/3QzzycjHNCnC1/bs4RISJz8QzHUe5L0TpTECLDpp4mjwmhKcu5i/IQEOdnXg+z5Z/ef/4ePioIPzKClW9wrr14ppmT7BD4mlH/Uhz4g8lLwjcQu47QU4pM5U++JvgIppSRSeyi2gxQQqSsEHNWWbNoXnTdPH4t2h2wqX6AUma9Z+s3/7lhmNudGCAJe8gvYBBtRdYMeNYuTRReJ/XcYstX0t95rHxd6AnY58pHp9eVO7fNorDJOSXN7pnGayeXXkV/HoFmR/Bk2MKWVN+Q5VvH/oufeaJBYoHdOZ94xKW7nyQz/9yTwQ+2I2ABCx6j3e+zatPeUUvX1DmerKTf0bAEdcnKXR88buRIpfWst/gtInSHx6fUWDATkaHK43R0Yq8HypkNbJ/ja4b2FSrJum9o4jIipTXAAOoY5orQvNG33ZRS8AIKsJG013O/peUgcxDUKyiwt4otebn02y5mKu+bNXbcVz2pLfho05F3qeJW7FYcAu8LgLehQCjz8KpKsf7g5BatOwg3fp0vqkH44ZZM585b5kHYoEvJi/eUjG5EaNDjdH09pNNFBZnvd7LbXvmMzRJxYUHLj8B1IO1D+EBTVWhKlgrSyfj/lplpbAZMjwZZClSqVI6w9HPPiKeVEiEHcv/MF9XN8bjewxIILMFLRLn/qXgwnw+AmUy9jvAxwsg3bPxY5ng/s18amw2L7fsebZ+5SpjBH4xfSvGpeHASYDZBt9+PUAsMvnbEnvAEEP4INnl7A9w+rpZvBo/Nclj2KnpOGHOsO1RK3S2KwGhz7zMIhdvbIwr/1AUaIV2gdam3JuIWEaGuJPk38CQ4hhG2nFT/adICGttrL4FKylnpF0ID5AUsKKEyhn689PdmP/hGPVtZMryrvKETSIsjDrtfYLexyiQStJ0gx9fcBwM3oq1qqsWm/+SqrEcGeu52xEFbEsJ7WRWArAQEuULIawkPlFTY/XwHPbxMe5p15DikpJKWwKpKpBzJYAEjpN+mmjqBUkrblJ8IhdxlLOmwaFHa5j5gaA1SUk/2smxLJkWbCYAzhDb5IzV06IMFHkl5uw3bNPbDG3Fm2AtAeajjHq086CVqgnyjyy5XdDkFd0hvM96MWX9cI6uUkWy+mGNuJzysu54ilGoWacrzXawGbtVpRdtPBawLnnKYyyVGOMntqbg9Gqr32j44cZKChqBOUEt+TGIkzV+L8TshlQX7qbzzGwbWk9GHU2Bi8DkFgOyKHpubIPUC+lKnCKXtPbITv9sJJYj0Z09CWD6gaYmva4azca4kJhjOkc5aQ6tsddIwzwQeBdg5nsbvhgUQ72e8KGzMREhhJkBQkYtpOZwiVh9Pdor9oBxztKpMexdt7TUJ6HgZg/Hye6xTBesz2521PXTq0cz/QI/deKkXCF4qSeTiMw6x6O24LHEUUPvfx7TyXHnSSErd/skMQPr9eks1/jzdH/Ff86xE2rU7OXAMfvgMfbL2OfzE6fqsq3dZrRMgG0AlITjasWvJrU5SOs5RRdXEhkR0CHu7IAa9BESZpiX/C/QAtbFAp6rQXvUHmpSYK+T1hkzfvPIlYYhHwg5hccbyLK4IQ+1boMqb3B/EDaryifPkSiKHxQ7UNanBFGKv8IOQwGEO5YELOFhoMXyhEG8WRy1FhCS6B5jCFpiBVvYx9z1Le+iVATSc5JDmzI9WMTEbd0EKQaRjcnLwkYZ4IGOKHxzmXW7wGNqwUXiHI3qir+hsBkmk4byh9BvMhg9NNBdzYM5OdlvN3lXm+GyTKYJvRxuXtn6K8AQOrF38aE6GojynULy8zoJLqhAfnbpjYTxdMj8nKw5lz1RZaPOZV+luMbqzU3khkL1dirMhHvQ0DyX8tOsTGfc5S0257xlYkiltlBRCsedPhAG5jGZ+mX7C9ZuMDYJ8ezkt7FsQLTRn9dbsk8rSgI0shtgz+7WVkReM8WHPW9AVcKvQ6UtoNNhyA5IfaaQQK3QvkikJzm+YgIbMUx2Y0LiWr1Frq+OWmuPazBuipoY1Uey4p5zxula8GAqr+Qw2LqzT+HTMCcpEmfA0Rdz1NWU0ac62IKhlRrkU/xQWQ13aUf97jafeGEI2cs3snKPA2AUAjQBLyFF/RtmOhi3aPuQh27GIdLwMfkV1jfzITKsIfWeSzJS0X+HjokE9cc3YX1FqCEI0WdDuc0nJI4Hz8pmpbeTEdGd4itYnC9vizUo87dXnbEHW0M+mFulqsXjML/d0ZbxJ+Z0w5VFbLntgbpDKdqfdNayaobClDyP4blDBZG3hNH/PXdMd99OWksjFIqy4QI32zGnYDHnyp/0l7SKb5Vl/ZY1/NDwZzIlaWKdBMWurM5MiFYOS41e01HUwJtOnNBDSIbT2eT7W6v86/9+P2Zm5yGmLug1SaY9kvJI+Gpzm6s7Y+/ktFJV6j3oQM8lgfkX98OCKcycu5wpixwP4gF+zV1XKbjNEHJuHDoOkPo7sOsPIeamqh73bmqjm6+7pj7pWqYaihlnCEDodGNyjE6rh0gbRuqwGxBN1bh2BxwNzVRbo1g0mimEtcda7u75rJ465i+PElfWm3lSkQBwErXPPC6SflHHR5HDd87diOJ8ag9CxS4dB24XvXQXHPpJbW+7hE6F0+pHdxqBgJQJHrtmQeC4EGN4Hpbke8Iu7V1B0nB6GKkaiExyoKazia9zsMfZ9yziCbakC2v5c0YWczi6bm6XstNqCtzdwzvEx6A1pDAsSuwfInl6g8ty6n+YGizD4TEJUEHw9veKc4HYsjLz0/GafC9U4YO4zPrLxu5jtplXAG610Hdz8wtxXkHq0k2WMpq+VuH8+Y0MLiKg7hyuq5qeLhVWp6G9ZidiqmJePbjtMpDXUYqKtPwtdQeoCQVqWO1Y7nk6cXDyiWSolnptOlxnSn/N8w//tvEewZELizoauksHTS7fi4bAvZEEugkS1g1SRwALiU9Ef7F+5KX+Q0kt9Iy/seGO1AwP+xIz+74dfIJgQkLq49s7S9KYYK2SinejTCxOrMYNa0z0YihcLDbruCgq6I4PmScNONzCma1NeV8L1P4/Yil7fC7yd386t1w+b/z0sL+3j95ji2G8OnZzKs5VZZvdIGWatjCRetcvG+KpiE6y8WtD3TP+BIDQ4Ogu6F9OmrCrBWqC2dXVZOevVaHJI9It+VAZkC0tpVjIcM8piw6XOCGDrhiS9A8hRYCHw0RjfusN8k7z8JtBMAFTBKItjwHuFQVoNP7Uw8oJNDsximtp+AQf+Wg5wWAIfY76IcH7/jbZsE98Y4zbFMobb+Bik+vsO68mmJd5ZYZIrFS9EYwSM2hzrT8Iax81VxcIuqdSgAD4ta7wfFTsChFFymagxdlmlyGIlmdLxpCymCR8wv0zt9DEiGsMXm/YS8MIe/poXHjL+RI5JbLMotaGKmiRuwzvfq5kJXTIfmQDY8bohGI1eeL1dLeePodyO0zl8jG6mN2gsAMU/tuBfHLdnhnPnkZN6gLO7U1kf7qBmiVh1eHBVHcWT80LW/Ro7tcrsg3vLqPYb170qntG/0gl4pUUCGu23jkM3WB+7o1AAf6qZRNbh3A5pFKHHIUQINQo4bA4GYOyV3gZTRl/w7qRG8gN4tYECwtB2RCD5y50m+6baeOEpsX58yJT7knT2l9s8/4jKYh+DwXbL94TXnfavhvXYZDB3lZ6KLFrtp3uGJpXCWFAVBULU4IByIzLQJiuOgWu4ufvx0vVnaUbHs2ns+Bt7CaWbAZI0dY8ZHK+x46wgQGt60jZ9sOuF+QgUdlSA8bVz8Ofp4hwtcWdU7ns0cFxR681Ahlq6WMYKAHOJjsoo7CJOu9xd2PXPthWmho9qnC/4f0ZGFjIVJgAIQby4L6XUm+cDYHMX6hG19nHcwGBv11kqFhnXeZoext6QciY9+pErqwsATR2D2JAkcBLR7zlq35ngv/VFmC6Bnzxiz1oFdkpWVezUDIIuy6FyJNIc3lqUeC/1W0+21O2Cm6BD0pzicMFx1vpX+3KPmnolcFONiE7KLlc7WupEJejw3+Rav5To97cAF8pBxrBu5sfBbE70bMq7Z0+zSqUBif0U187CIBzrs6eg/hPJpPNw99WxU34te+/QDABeCi6idGND1L66CT9aNVxve/Cnn3/X3r7gTqWhVQZrPvDLL0Rwxmf9sm1xo5OMoipQS0n59uBZ5+Pe2PsWaiu6FarGpYuth+ldQRCgCgMOg3L9yytD1lD3YnqJQ3VnoIzikGFlQ6vomVxKbW7ADadZLJ7OSaKgySBAq8EOMFcZkFjDQ3831SMG+SUwE0osgsoTke5J3ZC5OyWHCeD3B+e1JWWuHCx9EfmtgnHZeLPvyxdU0RU1r1tLJxnWEgrthG10J7gEbKjFmk2xPJmF6CDMhz1IJrNUkeSFWUo2/txfPCRlWxeTCkHGqhBdkNKnhKhGkf9mOZ8pEw8l6PrAVSceRJoosSWgOOil6aD5O6NRbj/+i4Oqdp4joQ/TuMP/IHQR3GvS06QaSz7Bg9y7F3AotZO8pVFIQ/X9nsuMO5uecksKf1o6xQ9/pzUANwCkEN02msB/1pZ5yiT3aYla36Agnnr2af/HG78XeEEV2ULoVAVZ5CTFTrjubUcLbjvuAX65jxZLuF6D6DpryOGfR8MNfMQ/nGXltGn+WDOZefXfJv9pqOmv22X3WNQXfXQuSNabyKEer++WTEJkzY7eGzkDC7uIGT2gCwB9l9tZJkMQrgp/3IJqxqbRaojGteUUILdlMbLkEbA3u1wRmzneIO68lio2PagML2EPjeNmn6uQoadTIXfPVGWHHUm3gch/vspAZ+vr/gdW43E8kowL/VLCtEQrGZiJAeDh1EdzEECuLDqLPX+Guc8l4XomWCDCLabiugxVQPhpe+FDG+j8suIdJo9CeEeo+jfvd5EM64z3cDMbkEia86V5jMd2NWl38eVOYrwJ1Sgg4fRCaX+zcFMsiAyDP3bci+CZN7EUlcHrv9zkT4ujXvUKbwW6AgsrkEs7RWBDHUszD4/wAUMvc/0gjBmDxIOipqjp9gSEZn//8HNoOrYgSMN5dodAMFw6snBswPNeLSOlZTdHOoKEj0aEYuuNE+Mm1UTNv5R96LlF1yWDb5vql5BYxwIHhm3Zl/ZLsXpXoFpl7nNByJglgCVz4qOf90XyCbet8W8O1WSvBlKaGZUxWwjPlSXPVH1DcJmfriXOkIqEZexrroj3oEe3M7pCwI1bLhv1esWmv1hGdhBiahdPSljpQquyzVfSzXELkX9c0sVU4neCMLMkERzg1dMKxoyFggMo+UNio3jeqUHH+nq1EWVKO/s/AgH6PJyOSLCOKrgyNxO55yhySKJkQPQFnk2FlaO9TNE3Zf1bEmCp0R53IOEkQ0naAp+NeyHJU/RxcMBSl3TdDjeqZU4L42jE+eyFXi+czFmu9BsvzQfgOXhFmFUqcHFkNUt9wfJqA0jao+rvYcTdGIQ+zO213oE19sb69R01JoeajvIYJ3wjR3GZnqLVOA2LGhC64epXT5dovbQBAw9dZ1Qb84n2mH06ufztCnfWXO7n+Vc19rzHDBXmwvi2weZLWHybcbIPm0AhVpKmDXhZYyseUvryU6YbCQEtxKACL+m+0bzyGE9aor0fC+vYieyOCzEb8o5eB/0hvYTrdaBaS3lW+UKApN65+P7kr7z62ihPotOIJDbQqsJ2NZJl+nuDgBUMJJoPS/keoFtAUDcURrCQRR+F7OXeyLTQGw96eVcM/oneK76Gmb3jyHpzITae6DUnOZAk4YNDHh9egcQUq+BNS2/7N7f4Jw/fbKXBmnSX2UEM40sCK14hcQkIqFtQIWSIdiOVV8urrmX/7E5mMsHxUt0qXWir67kn3ABKgBDQNn00BFD+hQf/MQ3bLvsOfPQ3nuY7s2+uOU3h+BU7TqSdJHf3f2PadkWmM1ISY2KwkEcuEBO9H/Zl36bWCUEv9JQxewVpPLGT1uVG+1LMwKnouq0ib7B4WN3/hMKGD+XV3Q7L+NLQtrM4n6L/vg7r7lKJS2jkstBHES+J56+zaon03MduPnpOp9s2ZyL/3br1C+AEYUsicpBq0gVl47RUzTUE9Gg1ExDA7WPaOHpy0FiW16dlIh2QpOYd8BJ620vmNq0jPWSHe+B1+M8i+R/g3498BlpxgN11OWGd7SyOgzoCxyJnMzZMJPv5TcxIZ+P6l8LDpaChfpLjo0lmgg2gQjIoqVfzB3FFVrn11Rpe5/8XhWe243eVViyUaPhQTwTSyop6jov37TeuF/kyTdIyBeIcB7Hut1HZJR5zK7iB50cdk7uQXjqMk7zH96MwqG3oN2opz5WwrU+qcDijqBP6W5EtpYW7OvOVv9bW1a6TO00l1nweXGVtecVXaPNGMgBl8C4PaO9a9PwCxFKZzb44JesE/4Gs1PZHGf/ekFWfPf2TDB82MyItQoOk5WTvpKv5lNOWlcMqey3mC0zFPwcfSna7OoYLJFgyx+9EBw7HNcsM2fwcfOr5q4/+tWAruFUY1q/x3nOGPkRExA4Zm9Gi8a5GUq7u0dZco2TMJm7imW93YG4c86WjkbrRYizfwvrfJNWmsWK3aW+twjV136/E2WIyppBsYg5BpeR9WYrxRrR9KcXpKJBLYIPtbsoK6KDkQLuBhrzDtRZqty77Sv33lT7C9d7O6oWVr9lH283GBy9/tA/GhyQoQdUGy/j6TYz00DGyaGe1qjdgAXvOEWd17VQqzJ9YYbhCvXpjqIb23Uu0BAedxzpw1+UbPgxXrqB42DhrSjHVjlMHhq+G0aXXcs/qHXvcL+wJ02FpftVwAikJMr8+ZBJ6CLxPr5oy+jiS/+OHuhHVDVCXLduqhUik0WMrfyw4Vlta39/C7S91W//5BN/BFp/HlgiumJk3iBFoWI3iy5owtelX59IFH0vBr7z53gWhd3aplX0m29p8TSD8sg21DjDPhA4sFhS23v9qwkaHhH1LUqD/O6LNcnSSlVokHpp/uKLUZeAnyc8zhjsjNsiXd9Z7/34W/nn0/zNN2Zh78YafeS4Q2rya7UTtSGfGx7pE11ZYc2FBwHtAXZ/ZveGmAF8DvYwdfDVG6UcRc5zet3EM9ju3d/a3TacQJ8od8MdbG5SGvuelzKysF9PO+g3jyEBzj2ShyBQULRLvsLh3Z1+EKOmtSgmV1ziMmbz6m0NBiUE7lCxxYPY867Z5DmdBWJ2WrSbB4uT7L5IS4IFadk2nCFv5ChNsWBq10vZmPmWe5qRQ5vEurIGicXy0RY78eLiMlDMcB2TSpaQp+VmB6LbtlN4cOyhnDW7Di/OjjV6J7WrjaAF9ESY0mdWU4rFJOj5pmIgeSsPK8gjc85Dnn8rtdBPNIbKvLdKCUguSycP4Df9+4oPw7YTIExRcsKqiXl5IbmK6z3WoJ1o4m7FeLK8BWGRJjzeqq2pQW9zUG9KE4ilPxKIv2XRAK1SHvOd5f/bE4KSQANvc0vLeD4NzOM8drqC3yRLZd8Df6Zkl/Cl8uzcDwtZsPCnw8fYr1ymqxeBTPSliKDPP0OiU1dEXQclS6VgN2Hgo7SpMqOY8HnynQFuCQAbKmwBq/N/dQalw/67ORTqL03sLvnesHwWZCO+zxHhBT0UtZRyYRMRcJCm0BjmOdsl3G+nTmQ1xNEUBDE9bCMKNN6erXu9JZQT91o0fVMZadwhPrMo2hCdpy3M8213366MB44HqitMuKmEGqWXKXuR34dxxwTo3r5m04/anhwlCfrbcoD9ZvTkKjmQ/nxT3G+IhqFrLRfEqk1LMeUfCzSIi5oe9c/sxF397bEusF37lxBtg0oXJ8wP+42wBJ0OOX5aI0ts3S20BCdb58TXCmD5Qx0w/fB1/h8TQeicrHzW8CslLEzyT6aN+MwC7lhFf+hJpd83b9gRW8AkmKSgKLyrEpp8VfmEHfTGowD5SNA0JMNETPZHPvgLgBlu2KTE/wRKmYxkKgjFK/7iMBvtmRmMdAXPJGf3OJoaWpoZDtcjqm2Cx/NPl0tqrsUu74yR5Qaol52u6EXemZ8zJaKBQwUBDgkRqw+XtYQ9gISIaj3vzTO9uQ1VHUNmDg9jLOwfiunU3pUobcY/uMJYOl4tjciLEe58x4nk+OPa2sn6HQyC+bN6jsaMeYtZIeEY7qyxpNbHe3UOi+L7qqGWTh2C1g4Iy7LFAcRvRcTDn+Ppyrr1/iWn9FIWBbKhWJjZZNpmTtjKVeI5BkExYsUG97bTLgUxBBUjNYmWuDHIFTRzQp4xnCRoayv63ZJteH4Lr2HtWTb2bWU+p1jXL1xgjqaqkY0M1jZAas2c1raa/mPf8OdlrzVITLI9qo3lPIgmsSwzXtG7DV+PKMRGLRuPVV+90G+jqm5D0JBMhEFffgQvAsgG6lXaC/dEJZVY1f1eZcGe5FhElLfm/PEHvd4djp8iMiMX3pbSrmweqz2IJ8a39KpUhJAP+5NDl5iY69uQV/6T5eT05vsr0amgtW6ACvdJZAzPoIEwR5QWAhbpeQHFCSyrHKCSC6bTzHnkG84Pu2huGkaHh7fDcnDbnSv7EoiQ2ehBgLdD4X1HG8t3dJFbewYesX2O/I2WoiIz2zKI70MfFYnV14UtdUh0Jr6nQtJaY70JyN/iqQQb81gYcd1dU2XJoGYaP6azms1blEbjPB/Tg65T57PNDGCRhCdet+ff8RqpF44sr2stW5RXKUSgX3oYs3bZ5Rp9/EUUrOjOOcILPn3nfQd6kYvb35GDD7IJlPSRuKJ+UXGrOKzn+uFDi5/5qQM67gt7YOd7F5vS3ju1QTkYC8ui0F8uZ6pTd3eynXF3q8LYzmGKar+nMy7ROmgaMPC6eu3BiLyhVzJyyAI0x3+84E6FrUAHXQ/3M0aqZj+wzI3gxleBoLNVOE3BjC6/84BaAqdDtIQLGdekmSTLKoF8ziIBdb39e3408hnhkNt5no1LpJntxUjxhOShxs6UFGcVdSHo0cw4aE1BYIMjM7xYNzCPUa1HR9QejZ5Hv0FrAWuGedRn5FGvwLCHzeQvVlh/ubPWZV7zhdqj5Jy7NE2cZbaE7OA4YpL4K/9AFHdoT3AIAH/+PKkG+3ISCgNz5AgUdtSZJ2g8eB9mPTsCNqEb6XXaqhVkAPW/E+JKKqs+TZT/FsmhYVMTj1OjGkIFS6L8dStbo+YCgWuMJ42jEmPLVDVIVO0rdWj1jC+V5XNl7TGOJXmCqUDTixcs9TsEmO2lq5iNv7QKVtgEaDQOQbUAmSzcEQJdouJgL/vlIX7tcn9ZJtJ94Uy/+ZpdwetNMCngqmAbUnKb83Gva13HEYvF8Q7YJg862Ot5c03vnb59QpeY60shwujkA+wyQvQPc7nWiYEZR7o4xn6vBRlaRsLrLB7aQWFwIJBb4YLFJBl+ZQKw8x9wzoVyAtvEfji4mpzqnI21bU/vA/UPUn9q6ABtv238TfL7g9fb4KYN1QGIEECC2rb6I91n3d4hvaG6n1x9+2saQOm69nu/5ap1fuaOh2SuB0u5rq2hf51ecWNlXzDxUHFB5bbaRXOFLWkIppksIeB5kkUDLvdxKYGq38fAOnwP+8EP9tLktvGfPlLcpge52mRVdA+924jKYnlypH8YIsyLcmtlRRYhue+GNtd6eS0RGxjK2NwPy3mSTPLO2+oxhTcPODMl1PpfPFHU6WlZHGezjhjt33tbIhLIZuNHy8oMVMDRE2rSVnzFdkRyUpu43o8sEyhCj/sgGcVokVw0ddIXAX+nvbHF+7ymmXPXnfmKj1aQOLUiuA8TZ/uXTzP30dOox1LZYc4aG8K/gG+QNgpS0wIUkxCb6hyJ7vy4BCS3AUtsaFFrQNljUD4FsdDLvonlJPpxHyvWzcuyA50gq9+2DpRSsO3HOHw90A9bR2fNxfZTgDB6u1LXF/CBXsfG+TLWpSv4ZYymTLjAp1vyoE2ZF3zWEJ7miHxCXlgPKza9Jds0564HEYwqChBNqAygt9mpFvV8rImFhXqkavA8jVaJ6WazqjHN1MQuqCiLig+AhIg3q33RI+STBv9ouLYPV2ARpOTBn9hF5YCB4HFOFcROrjv0DK+qGEMgJfpxdgrgUY7Abyxn49c38Z5O1LmuPmVxczxgQWrFawyoh/DSUxPSqMq+o9gKCCO2YcYFbhAe3c5kJHA8AWGPRxvjsHp80uJR8z1COAMIN7EIUWhNftgmX70TXg9mUQgwAOsS0JL3G8VfoqyCaZRoOqQkT3mAzVrL58n+A/yFKXBEmqbqF4UADnocOfEY8ltnicgIIIgMYZ3tCfRGoTdq4vMPnZVrMuVSgLdz7zSlCISJ1n/sbKFO+rl7W876s0xIcgNAlp/UwBGQXGkO9gjUc9eO5LDqudAfX6L5k1kAjlWZ3QMJgSkb3m8iRpmswwhhXg7ZxWSDR3+UBTr9JKf411iOFhgYQEOte0WaQ+v/8PLPpdnkdUhRbhfP63OnGoz5GbS3u0S3eIan+mFpQb7mV0x7AbjH4tkTuRWWwV7DQqwUNqOCvnBWN1BfVDMtQ6ZcUg0EVq4IaBbzxhPRjfsLqhGd1FMi8DHpruvhr17Q8C8DT8FppwK+tY+pjd6KdFkRvPmXTguR9c7lsug7SZ3YALA32M58MUBk+E0DO2PdyWExLrWKUEldDmwaM4c/Mz87zPRGjvK1cDNqX6rRcemMpIkbq1pwbYR5H93gkJW+pyMvQiy/2TiNMzm7yVMNN6e33C5HjPwPSd7sH2kxhO4hWLn0E2t7leuwBMHf8NR7IicJCNGbqn7g1+8lyRYglj5TXA2pt8Ntx9qUsxpA44lLitByZDOUP48CX83Bvi0n44h9qNI9cN2O81PsCJz+9CkFwvyUiJaCTeP9xO/N6KCatrlhoP9GDQqmQEZHzCo6sKTQC/6Enl5EQ4FU5RbhrztRTdES0irRvCjG7DJkWtibbBoK/8lBiyk5ZdHdA0myxZvdz9fTq/aH4WWB9Bf/rFSZCcc7BPZAwYDXwlj6fzHdgxdhM7eBMx9sotQQUI2830A24Z8A4/odxxOhcFboVfZ4GaqMHhGt+KrYCHcpcDi0rNfAOpgrBimBt78EWk61Zo7Fi+338VoYiaCCNyPk6Vpln8D2xbFjgw9JPMl6CE/8AIbXIE0cCtJK7XkJwmjOU+REmOpWRVXKxw11y/CQjV2kmz829hb8BK/hY4EVb//RER+dvb2VCVNeTxYIbywydpr7dlUBFjoMeplb7goAiCuYfTZyJG5hGneoW1oMMb2O/hBJ0F7rS8KcwQvwgGEXWpB9iua8k3B6yXb3LUOkifcyZTkVkNl8G78kr7EFDqzyLMXh9Is7bm2Lu188rAstl0UvNoHqe8s6ZeDmaPwZW1e0ZeBz6xpaP5AEqSE61NFHWCVXQkrPJxEWlBhu+wbR83nwtFE1FQj72DQ8JBLeyMod9DK1RMcA6CBzJ/eOgXBp3I3Q08llb04Th37eXmcV77TlvyqD5coLzBuxzBGALgnUcBsfYDae3Lay3MAUrxFuVMM6rXQB/WOEJrlY2ehl0JlvBI3dEXtgrPx7QyaZ0ChaAlPVcFqzYeaaYaD/VLrFPeVblEfLKBdoHGAZSBXZLds5pa/4bVlHiunVAG3dWtu1YPTvS6BeTN8Yh3qUBgSv0k5GydKkY6VA1xFkwspNLn3YS7Hwgs240M5iAI/YeSBALjjmvdwHtixecEkPwqS64He3z3e+cNaZTersQKMGZkYGK0ww4admtOaUnLLskV2AoN7eW3wRpkjNFDPU3R8pAQ2mJoGqrL5nixXFOKp6d6L1ucHjBsXAir6uCh3/cvRQ6qaOp6e+/VPPI2/W3Y7VEI2P5wbR4ErygzAk5rpDOyv1KVeySM/gZ+Jjv6NXNSa4KLkYhxkniYXYrFbLm4hTONEVoYikNGoVvXVu6G7k+sU0Xui8lUpoRxVEH54z6j5R4bCHExAJJ7PoOJWGfztqtt5iHTog5NQEkZorLWQ6MSgADFQkfqZuI2ZX8sAVxfbEvSk3D+jz0hecRyt8DrGJebZsZbEffh+rXhHcmnfJQ/YdTHA855kJy+GfGVXaevR2nG5hsWcmYAtCrZLGp4CvMQL1E69ZRAKkCN1Nq5aznuY15HcksSMktQj5N22v7+RgoLQ+owxTubIhLHr2nVH/Gad0ttsH8RPk//gRX5sxrF1G3qI1h6rLUAMXQ0GJT3tweT/Y/TbkBTt4ad3jcwQhxIXEvfkDRInHLPzR/+R9pF+6Iz/wiJCSzVgvPO/M44vVppJQRnlZ65W+WLGNyz7es3yqdnzxBF5URoKg0pIO1iDE3SChskqLqhCar6it3PY+AC8FEEbkVUg68Lh4Fnt9g+qTSVZqbkmNyV/yM3J1J57vZOoOQo2mYctwlgqbTjbMdrrvg84PO1cdLxQnesZ2GVAym/ewoQYJYSr5YR2R0+aG8t1MJJVXYJB1Cv0swnvJQmo6VrDipzGJCImWwaV5LhPuPGLtYGRgAg9bliZ1qN7YpXwbHreugQrMPiZjrriVXH9ZfZkxTTOZ3EKIW/lgIMY0QS2QT67T1mO0uxmb6ktirAJXvT3ZOBWviKbn9BZYHCtX18G8Ad3CQgxPoHriExU3ELxv8I8nAvhFQJs7AxdOZiZKcVZ+W87hEnXuxmufkmwpprAyLnbjqhQtwZ87lkYP4fQ04QI+qoUMIe4vHrt+rmg67ajmP+bpqnYoZ+pUAcd/p12yT8qcGqbGNbS8aZpDdQmoR+rGJHi9fdxu0qX3c/fOTK+rlKmMsyYxq3bTrWjNLp2vEhEspobA9zF/wPEYgVqtHjd7z8YUcyZKxfLly1SSSJaHRnEeToXhokiGVM7DoVWaxn2seCgO1Fi+kATfPuXzVh4RUSiauyt8ea1zKeE1zjmOiFZ1ogFgsiT41K+0+OzFSKUTyS8FPnvsYyLqr12XweggAJOX9kbzRUt5P4mcAPLO1HzzmnGz5poRQV2NBNUUs2jYX4jZGSbQzIzSswy4QRziPikkfDCjhl5D+YsAQJWD8rvVDZRv1yfg6l2yJHoFlmgtrcFO0ZGVVcxvh1SIq0T0egGNFp890l9FyiMTa0pS+bt8zQ0nC5uMtqbnYgFtX0kwfdmyqkOV38tgU/g21sLmeucSE1p5/9RJsFO+ftYm13C+fHrhY6mV1TemPGPtOuJnzmpMlfnjIz0OdGHvFLn9DfO5aW6GiPO4wBVINV4r+CeSVM8cdhtFQJoQ9oocBQgTiU+GW12vZzymae7RdCFUhD8DcR45YWqF5PCL9nFz5UNytx3jEvS9uOdm0GQVxvDC8BtoLdSTwhFR7+kPvYzYrSIuunf3+OLixkB7YweqX4juhzNlvzNI36NF9/cTpNbVDM2g/KogO/qwSJZxJ0YxCfV6TLcEH6IZ2Xufewl1mxpFSqp1uiiofcst9C11kQ96zuMfyxTknK1EziaItose98nwqBgBnD8V46jkWqPvfX8HKs0klYubkojumypyoBsy38Z7c+wkCCV47zFKXIJK5e1wp7ra3vm4RelU1kHQXVw0Uu+keMlCNsc6OSdByzwxbKpS8cmMXk5nR7kyiOb1z+tK6Vv1FeMuvQgT5OT7O83eHXUsVQqg35FDSVMfVMcI+ByPOQNAlp8fPEc8AwWL5hVuESmqlHi6rO5o3bow3U8A8Fsr3latGLvGS35/82s5ur7hhUZT2+FqdauZIh0BbcyxkdB79QIRJgCbi4cdX7goavWf7YahjJBTpCg9clwioBI0AM3fbi9OeLvxkoU62Da/YVA28vrnN8D5raaTxdvHvoQ1itYCnSXpzYv2S/fFrB3cfLilYm8+7za/KZSka1VTlaR7/YgPIbZ9/6G8hDKykdP07rAawLi6xU+sDQy85Hbd0W5Xl09X8wBEtwhZnMAxOFKMeOLKjxEgt2vOXPtoeO8gVv4X41Gz3wNPA0amemz5tyw8b6YUhUf13MGOolyU1b78FdLKRyGnn8Y7wI13qpfRz0QnP5RdTJPsxJZT3edjp/rch1NSq6ugarIyc3FD6bvQ1ZslVLvFZpYOFrQKw2bdRnj8H8293pYbpvxO0ibHM7EmlXnTk7a8wmezh+I3P7jVTajD0bBM/XI9EvFopLM24SyN+RaMAQoe44vvckKG8yo+hYrhlxjkrufok7kl0klBI6/SCW/eau4hJgta8IUu6OSG7BepJuAE4SCLJjqZI3HBgPpubhV70/GfSwJdqUQzzkVlluzTUxx8zGo5w+/miEVFawJtbdamZX1H6R6gxsJIDObYQHjQtCDMxBo58MIyMOIX1G2Tri0Ix7TjnI9QIZ3ctuAlCNNSulVP6bcxY73dMFQmiF96XaKYGOF9MR2E3lY6/pCy9oUUGvWsYq+UTC/CUxKpQrpbg6COq/twFuNXjuo9Wjl9WuUeaS3ALZlkSaLW9OtSx0+fxSfqvsLbRKmuuRZ7Q6d1P4+aOWp/HJobZh1ULXAHK27LN1Itzbgi3lVXz96tbV6dfrI5rfADdDLLBhHq8es59PuJkoGJfJq08EhDERTMrJ5NEEBi5oq7vNVFKHkCkw0zekueUn8upP2GxDX1gjxT+tn/x9xTZTCQNmgZckU9dhX6SPpBS/QMTbZijvfT1FddW1rB7Rpr7rgtvscQ5mKBcd70tIFIIgRaipATI+ErtzM/gd2hUapY+vl81X6boaOeZMTjbIY9X5O7PmwcID3jvX8mTdEVzrNUSAJKYUF3fsbpk37cn3MYxxb8EDbgvVOrAdfSvlwM0VaR+6n4dRTN2MrsuDcGnHZh8o/Xs3g4euXg9mmgY2z1ztS8yUU7R/a0mzMnSiLKKrke02jw5kV962ud/OGZksG3nwhrLHckFmq3Y16vu4Zo6oYW4qDtqm0GZBKTUOpZyb6013Hqre41FAIbopT3YEX+h0N6fYZTOM8QOw1nt52ba/VNo/skODCUX6u6SLAFLHlxjusOuKXWBuZeqamuqYJ+XXTV3H+gTY8XaC7n5gxHCki3diUU+jercH4QLv4i0gWlJTMehOL/nJgH7LI35ydPVujQ9Vzla1bUxN05ALEUcqAyQBxQts3nfeMM95y3EMAGbkqQsMcQX53638YaNzZQANZ7ha331MUw1xMExJeOE7imwDCAesb8FpsnToiet3RAeNYeui566osnlW90s3/Ub04+ENMYwXIG1CSFZV7RAYgQFtwS+0gNPQTw6OMy2qY9t8OXIGKW0nv41EuywRWjn5PuP68lVj6dYRGmlWRv2H771ZJ0qRePbj6sEHc0rsd2aP7PUuEloIQPBeNuM2VejbtQw+SVYppTdNMoXWuaa7HSqbbrSgVJgjfFPCwVCR00oYo8cS816cZHzwMbK7oA4y3mrW9+k+aP84addJGjB8lqqLgy8sRsa41Eixm3lQWE328RYtZowkkniEU28O2mHCYE5MfMciKO4NjbAIvANDElv9i1n6Jb4gcmBZ3HYgbSYUGJsBo8ApC1DvwRUK2jP/BeoHAdIPC+pmdoeG0Pe0nHX/jKBvFJY1SlxNIMVyz8bnKv4RkSvVX9XjkrrtANZzCpEZ8VwkKrCFL6QustXMfTb55E8nx7IYCaMp8JMGj1Bk/YB3zSwVitCiGwji19kF2P/+2tn7nLw2Yk3iymLfyxkzr9juduO+xKzlFWMw2NkabVvXXB2UjwZjycWqtA6PC9B5LZEtMxWgNUGPuvGVBSB6lGj0Ff75YmgBZeL6xI88TDoR0+ay7t4VWmb+qKfnBFh/4jHnaRSnevbT4tDifU32WBHBD/3ELnpH6UjYDozqTQJCFG9ARP5hvMRfU9k+nfu4qPylVI7KWd/SQJaqNLDWrWF1DT/CP1wYzNLwsh7v/BVniaD1I/nW4XrrV/x+ze17rpzwTKCKRh/kULf9kNC9ZtJO8TH0t1pef1KzHd4MNMai32oFAV85guhtEHdpj3DHl4kz/T1fTELzDO56jHqSX6S9e/0RaUU1qAsEMtvmZZfnAJ7Kcw68LDI5mTlaJZK/igUMFiyhQo2nW1GiO4UmjYhalfj1Vprg71BuhYXksFS1yRGBcrWiGIYJwDSbQxaytYhykiB2rvAsQFo9NAET6Tmcp4XpRZqk57UmuL/ypdM5OxDbOpAsIh5jew+o9VHSC+HR2JPz04Bh64Y8n5Hv9p68n19aBhm72G0tEUOIIjSXhN6pR84A3PeZ5Ipl6kGXdGsfsoJ8FZvO/6xMj7F97EZix6XHxzicBhxVXkZnEE="/>
  <p:tag name="MEKKOXMLTAG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1h9D1Z5GDtPW+wuCTrU5cbsTyeRnoM7v2+KYfNB8pPDHY3/N/nQDLg73FVUjs5JX80ZEMdZ5aXYVE2SrM7ljDixtoKhF4R5tzsuuZUVsHAcuNRg/S6dWV3/DsdPNt0wsSzx5+btAwE1f6R6FQ/Jl2dB3wwdlgH4xZ9qIGhNmoO9NxvfQ0A++rrVltUHy5so8SRD+ORZkdpXSsmGGIG9OmShgqvoYjnbExqaQVBTuYYt/kn3nyJzDm/4DWRmF7l3GSelCoMWygFWAi02v8kYrK9cKXkvNX3//4nHhroDXL5UESKcn0BJGvsZggPvLGgg2HcM6X34dvzhgkxxXqNziLPE3/Fd6MxWYsLVYw/SJwbG/cgtR0djVNSq1WNsi3IGGgmy29d5R3f8G2FHPZPqhBuxFH4Maz0/atXOZq9sdJW5Vd9XCzjT4GBC1tSBiEZdv6md2BemG+cR37mAtbcO3T4vl9I01kNpXAFKnLPlX/7tZZNALFq4C6seigjDT01UAwhslEItV9JhHwHrri5jnmWNi+DWWVi695+lbBA7anZ8/4ZQD9JuKNpFJYd7yzC0AvgUlvyFWT6aoMK6mr8O9VpzSAETViP/D5RmOg6i9uNzEnbIyEFQTqASp4D5nOsfbUCovE+sZhujmNDZZD1f3PZIkaB74/z5jratXq8Bczw6spxQJRsZVDQvjRQd66OkFwPKtAwhYcCq/2x8U7C0ps3nwwM4bL+oSCHFTPeQ6KmJkiLS3E88qiDtkJe+e9mjGVW02lZAL/KeaazJyk6Z244h0IFSVlGEZnQantBHfupMyIAXjWaB6hjfUyMyVWDNFBCKhIAVTdkhnEBEX/6PaEpo20y2YETU4N9nFjIgABQaDy9s+F6lyZOCUqWYl2ZN/fZmLULOQ+e9P1xVHH8WImvX/NsFFeYLjRev0njwmuY5+wh5jHLMGpKpHGi5TZZO/K9dCysqX7MYzf7IdKgipLQihulQBXmgxOr5GW0yghJZAkq+VQUMYoDyXapi+w19rEyydXNg9BCMHLpjggf8L4MRUTOaW/anXT2Q/W7buuH8yN4RHzXkZ/58HXUJl2YDKzZOPPKQH3HJVD7VQD3nP4iHGgAQqw8vBQnYXdIf1fKOLB9QrF2Z+Vf35MKDupIOB5Ix7cilLRIl9IJnQ8P6fbVXUKiJXXRgBdGj67ijCdrgjSFupnIDxADGsGr5MSZBdA+HcN3Ux+L2W3ZhLF0H7mAj7NoJ6xFMrtlnPyWR6juUr+NJ3ZlGUbwYLoFYDy4aqBzJlfF5EA0y+8OPSW7OiZurBUo9dyqzYXHF4HijtI1O0c6GPnO6l58gJfKli/b72fwY6EYyGaQVyxpzYkqXQXhLDkQj4MsKGzIkAKSZyhTli7IV4s3fOq3syTYfVJfCygg9t+hJH/U6v/fmv9v8fpbOf5hUhmVf37cX7+8eu3CjDCeHagUovojy0rWoMsxV6y5XwNjK3pY/RPGXQdn2poUvEahGlqouhh6SL5F+9MMoD/mgfBOt3o4PsEilhyzaosTqvwRTFZCjUO0zo1h9bASN/ug5X0LmUTZVLV+4nYJQoaLAKRZAWwk/qpVSPmGZwb3OtwBvxNcYKtp17+mM16STIyiTHXGSrHnfsEAtvLUfjWiLVKwiRfn0cNl1UneoRxOUfjSXrI9Py923rRfh2r5F90Li6hVT/q5IKz2Kez1VLZCFJ0DEJ90wghnU/qj8HJFp+r5BFDs75JkyPDmkcJIQJGjWDnWFy6o/7qHZxIZHcs5HOMRxg9IvMv2fT8rD3qrYckpbj6wH5EgNs/3myiWUpdM3ZbzWXavEtiMbrcsMJ479DDZ9MhYeFmCRwOylG6bEa9HuCsg5kENUZDxwRTFYc9CW8sS/B5YQMAnyeklLn+pCJXD5qn3waGUT0omqqrygLvFpqytZbMSfn0cxJP7tYV/ujOrziYIf+oqZM2/VuB/m+C4qy+57BHcYkxQHbsocKZ9V7huhUdW/vtU42UEuGwRKHZ0r+fKlk9rkkTwVZSEJMpDyx5o6JcRpdbs3DB19o6vshtfLwDZMIBFPM/cTwmDEY1tpvdHvNldyYLTj5uXLWfScsVEoorObLVWLHKbPYGY+HHc4Z09t74bctCCL2nYOcDjGIuXg3y12+ZoFdt8U+7gjqusHhIa5zrVIJncowYvIMly5XNnG/7z/nXNFkkTLtrdEBM0jmz8lFpvXGIjCXFqBjr2eTkNNny4qUO/t/FkyET/EI0w6GigMZnpVKBOxH3pQ03o/qdIqDUnJJzfodneC+lTO88JSD1JC4jcWzao7lLKJNjuRhA0cEbm2Fsp30VgsO66HFrMzv9tPqdVXjEZPtR+9YKnjZ6X6fmANPFBjtS31QANdQxwhH5tdS0TEYWf7ZORSmRFFYzUt8NVwc4nr38j5boI83B6JX30WJ6aBwrlz/5QwtAxKo7zatd4smXachRK26RaaM2M0p3vh9Zq8lZCgATC0Tt4Cb3TFvKnHdBwDRX+GBYs2hl/BQpjk4kya1C/q7mfLp9vW9uPOjj3el6Do3obtHTw6ecQ7ev+YpJgPV40vZj/Q35EeFZHvR/Qkc0QLo5gGTHUJfDaE9XsQQZz9RL3Wmg1sWhgb49Hl3TpD3In3qWzrsm/YlotBCuyGCPx+HlPJJeBfJoN7VlFcv2D6YgmBbOgzXOTXtpF0UKH7hCqrZ+sVuZxVWHoi16bj3CU7B2eJHf5b/IvvPAxOdTL19EsoFaFVUXR52NM5sp5m6IVtVpTQ06fOez5uqb82qukGllzhLYFRtCvFiNAjP18p82gXkzErc0LJ7gvmnIHcQ6Z+x4ecSE8wil+9XzD6W7njBS2hatKWAtLvvhCP9X/eN2RvLLnyW81uImUPkk1YpCsaaBXlStTwQeRQ3cWryKps2Y36cAy0Ko9TFXWHPdB/9JLJAleZAyJw1pLgKJo625cmqj+/ldOIhlf6eNIJ/r3IrDmAGkKAl8hh2zyl6+4+mUjS1j1dut7zouq3M2XbVR5Ip3ba+0Iim2sl5a7vORbCTeHMUG8Q/tryq+sKkYCXbfeb2mrMiBeYsOncVQwAvQDh1P8JqaJ1FgXNErvDUEWTJ4+BHISnKf/PIvLANfzMnE8OhdEqr7Jyw6hkYoFWB/7DDTFPd5bygPm4AfYDcwhfwL7rML/nGCiFlbfRvud0LrR+1ybeK+eyCbpQt9oUOeP6JsVtX1PfU4qHf6ZeX2BrKv6nVqndWXwi0fJXzmj+qUX7hB+wU5KlHYVU0Tr3DHxjvkWqH3XJEGLF/DLRvtDUKNxx9h0Y5Xcjb8WVdd0GfWAbUnZ2SYZwCmkZktoQsXMoLRKelgMJJC2TLiY/ta96a86A1QCiAEq0jtEQ9oEvZasNCa4tEBTVdhdj6d2/J9Ez4gaz8785+uuTTbPs4kVrgklSHpGmQhVb0mhsaArJZ1YRd3zBH4PBWRVqItSIFTTb8XzjsJttKcgznf34lCYldbG4fXkS7EGMmlXy3HbDYDhsvIFBJPlwT9gUndqNlPdxeZDMm9UQEakSeffC+6DETGOaoCWFFymPos7gxmpdhZ3erkNw9i2v/xgjAvcj3cCxRBE1HkxKP+bGnEiPUjjuwIfY0VEHegwYGiqWjbQxus7NSiKPaC1EYcUC/Jxnk9fshM3gzReEFrMIf5AZ4yxqCp4rtZFQsE+fMrT/9LAQ45I7EqASIFIlwl4vwZ6ONlYAN6xUHzN2VdkWGGd7APjH2Ih/tGNfn+L68fQtzN1fCAiFO/9Y2l7Q9FX2s1S8EKHn0WlymmHrrv6R4JeYXcMtFIz6EuiitlOvK+YoDIyK6gyyUK3ju2SmYiLnlMOYm6CG2DPoCUsAgntRkdSbCcFcR9/KYeEKuUdOpK4NYFDD1B2M0xHyUWAc197X+ANz79MsOIDQoIHEupqjDD1Vk3mAep6HGXEVouSeYkdCBP1QfjeS2h2lUUjGHnFJmbbjEscQSHIvHCseqolHLDGGQA4aVWjbmziY+sVTcq0YOkGjO9xLNB/iHp8Ts6l64tjsy01vxKCiW6ofVXtZylpmGAb0DuVK+vzYSIgKD0PY9veU/4Z1KntL/Ju4Lmg+lFOxlwdu0DG3pVZMcDBSrgjorYt00vMmJtnjTTKpmSQCjo9HwsqUmGvppItdArKjBE4gj0/MeyUI5qYGBVXEibNoBeC4UoZJQVRCzll1XgLO+jW3ykhZCyCgeoPGRjz3Ubk78bWJuN0Oxj4Iw74w/HUQQvY1ZbH1qwDwGngg9B2xkWud7eec5e0kd/M9LbgbpUW5wnOFGlArBxzG2O6OA+qiTJc7ZYBL7oix31JtHUJbCxoUrEdRmdHPd09EL6zVTYFncahYYz5MiB7LEoSGa80wAp4UkH0OXMLAron/SvrmehuQJzSQOcX7zSzlBVLNPs6LJrgoEzK1tpywkZOk/QmkwNa38y3BrFo1/PQ/bnovT5Bsy8edTD0SPSwXG3V/fTPNij0xE/0huj5EKr2q30hTULuR9ETGUMPjdnTFWAu7uovW1m23OKRDxfrY2zBLk0tFBeCcHECHzyqC0iHhA3lZYAzAtdIXj1++Zgvsb40+lp7MZdLXAEOnLFr+ospWAlQ+w4SNtkZuLMA7XSPiUaBjbX5PVnca0j3b0xuxGyfj5d5fQHLBX1MhZbZFdOKIfH2SrPoqRW/9xByBFoC49fmkGKrxdOvlyQAyiv19Y+vqU+zRrQ2cvalvLs7zJ75bcoqbbxPLrfrpz2VwvcM6VSQV5oAFfU5YFwxmgovWLjoNiuTrc/fKVx0dRHP2IabttXozp8pvXv2wMF4BsUwnCIDOs5r3feCKFsE6zH750snuTH/TkiwXn7G1CsJBbj9ueYXKaubNPbbXJ1CXqcHaRxUiXjUgQSOrwpgawtBMyQt2n5kmPfBgK+7YlAGK/zql1MAw1gy4280FuhuvGM+aYEMIBDeWJSPPZ9Nq9qOIoTLfGlbJ4My1aOxEvXsAro7ENx4ALohG7YTp2q08uxoEDtjfvpsOw4DiSycB+rh9iUxOWHbLBg3A+akwNVvFOUeV2waZV6OkPh+bbkY4W1CvNX2GGUiZk4Ud9oFjEK/pSNlhEs43uf2qZerIrOaaC+NvR1N9w3FQxfNBJT6XSTYfvAIoVAlpaYB9+xNhoqbz4O8PHPwNY8JXS47VTwCOJNPFrotfTa4v7seW/eEmqfgpnXu5dBHYB0g+5JIPaF4aUnHloPHvpfgGJ3gzJsJfZ0it0aJiQHISwxUZbTFWfGEupv3DhoVHDl56elQHSF2JcD+pktGEwho4zUF6BKHTrQaOKUplh/P+wcwlliRuWduvCf2wa8nGDexOi4RSKiU/p9T0kHFEsCxF5GMFxP/NCkhSoqbz3n+PJ5f2BO2JYXhoJG8NdxRVgDhqprpim1xDreTtW9E3oL7IsBuTmawB7R4QUaB+d2z0e7mwIv55tHZcWWxIVZM06W+ndahiziMRz/Xt+Fv1EXUnunzqOzHdp0shiPi8Q/wbcc+HvJH3MaWI3MJYqiC7hZLRFdi3InmSwIkHgpbI4j0/szQ4kJ1EiQYBadoxlvx2EV3KvVwFS3bD5N1fDgTr2DdIpGinDtQE+K+bLK2dWeqspL3L73tpRl6S/rwOrtz1zBVk4IyaszBcoWjZrLHSTkD4tXJBVkiVzvbBAqXaw+/xvuQRSQY+8nYzYIsTRV2owFpnNxQxigToCrdciPoSrFzQWhg24GyIry5pDLGZV1UnjeVSCotc000J2a+ocAeSkabg+9rWMa/riE2egJzjF93k766JYcjdDzNMD1nKepVH1Jm4EkOHGs5qarZ1Xl+55GOBwV/EDdNKR8w67zU4qD/Fvv0RdP2GnUYxqRfTPycT2UFxtOi30mhkKgDbj8wAOfxrC1b03dcgAnxslsKWSp1RTZDd+F8lmcoxwgDYBXMOhco4m6yGM1HU5NeN0P3ceq8wp1saj9sEJtWZx9kLjR7ZERmj1wg+OxQhuIbgKq5DITRAzPss9JJE5NASkug3Prx/iARUI2e8i7sITdGHhlLFsVnlQXs5mndbjjgsJZo38Gj3NPmTDTIOMj+LlJ85dQSV8NvxiPf1C4sqmucOxcvgA3eRD9OFH/ZwUYWpSUF0h4A5yYQd+xXkEbyUQhk1qBf4k+sAJ7ZNVGUW9dLo8DxgTYi5meEjrcs/6y705ziHd5Q7DkNpVJ8ccwUGN7wRbwj6ROiYen9rhouTm7J7nXeMSqMbBCsl+NE3b/vbWf9B6mP5w+X/RIA1zF6qa7bBhTrR6R3jEzdxqvGeZ4E3Kw+ojybGeKtsaOMiZOTTzlGY4kfDMqwGXhMhSIsfakwc9lR5y39bQcYs8eq7tz1CIx6ejHZ7FDx63kcTgWBz7OXiF0Q43blMppVScW9ZG26spk6gTYPOys9jtbA+Bzt4ygeBOPHWl9k7ptfMDFAQw05ma4dndlgIl2JVExhup/lLX9acARAClwRsEjVXk3IMB90Ds/UFcHd5gTH/IWfB2FBlUV45b6cQImCbwsEj75jn21g38Hb1nlqZZJxtacEAXWhuuAEKQDkzbZ92QR9Wd9A+HhAJ+fJ67MlEB+R7P/ifNdmwguvByvylYsAUSJxWfyhQ1cuoIKTl2PyHhywKbkRm7h+uYcSpNFr25BjNJGaqjtopIr+Hmbl1O2CVxnSTwVCuJQkAyMbV9R3hbRXUMNOpPZqz1NiCdmyw0369E3K2Ecjn82s3w5avf+jkI9EEXedp8YQCIwSJsD2vWNZIJm12kaFCNA0iIsI9eBe3zVt4EGB89fDmBtlDrAX+V07LjIHB/xYTNQhfuZu8pS4c60xv70sUVNKt5HdFhoEE2BwdMZVfAhpTZSrH6Y20VGJ9+egCtdJHow4xrbvbWXHaY53pqVbjuqWMHi8aLCRvfN7OWUh2Oc7JOftNlhagse7wa+U/iRhbNkOTaWcHMDcvxUQntv2KuD3aSLaNE0YzIMJQRKzZTNy5yTLlIYIemJ7KuE9CsdXU6rvVrMr7EYeQrNR719AcRNUOhu6HFzkNAD/ssgT/ng+mwSLKaM+Xg/LDE+RGsu/Rqni1z1nTy76gOAM1AGkux4R3b2Iia25N1gu1VrX2PIMkeSU7vVelmE77wOakZ85omso71gufkFqdmZhbzJgvKNRFFKUAvMgvJhg1ppgKdozoFGLGHKKGOILe261LQFVFmaBPb4dd0eYmAQNeeviKNBL83cmIFzCXAq/wkNY7dNRqHLJrWAv8aQPPgvNzhDhiYFHt3UE9rSl7vaNsatWixx5sZPX7TWtC53BtJC9XojX7WEwtBIQGBdlqNQr8X16ZoGsZnuvAUg0eIkJeLpF+1WCTvBxhJqCX7/1lCfyjEpS+sRFBPFNdieizuxqqSUgSR9VlJyjEYQtXPQ/PbYuOhr5Rji3Ab11XUzAZNm7zwamyDrdR376/xij7NgnIVJwlY6NCPTE6zTw76ECm/iKae7KsqlZkMmDJfu5j+Qe+w7DxeyFLiLYAl3sRKqJPpu98iUEqn+99qIfi1yWVU/HZzaXAnvqYXN4uXjDs0nmy85PjgzE99q73IdwNkir3RLymtc6I0sqimnJByuiy7NETS/1vtzDKG8ZPI8TcQ7AB/9CaY9LDnzSj92rbZqRQn26Nuak206jHYW/gRceeWc1H4kTH2M3A1PVNQRid1+Ke+b355XgHNBtbKms89AyWK2RydR0vavkYPtDEflWBUJwVAGko0leKR0vHgB/Bu7Ek74mlmxA7T7YEUCCz2tytxtcPeIk7JM2+ALZ/27mwEDzv6l4Q39qn4u7BWK3MuYuvGuUoYHPM8VrRoWY6R8zVx9kUGigl6f4l6bLBN+JvR4R9HEowjtJCF2QnKE45puPonuaA50FdBePQMMER1Z7lm2FFxekvneRQXjAgL56R4BXwnr+ZCa4+u4+RTPZt5VPYX0CrQocfVj8DFUT/usb505XxA50aTJcwqQqDIi0jT9dBdf05ryv95N1fcx6Wj4T0Ltsf/0vmW/doJoVRvrfXhrRf0QUVgqxfbUk8W6AIt2UTawyUcu06HtDtxC589E5xu7qeTqeK69Gh4ZE1BMyHSDLsN/zSFo/pzm80I1mgFADOvR9GSKccovY7W45gVsuRMbMgRBRmmXKZa27DNVGEWrnfudKcZm5UJb3hLlNrySiBYwCWyyoJGJ05TWmc5KyrmDeoakbrIc21/UtPH4ksQ11NaTNySZ0q5d0RcTyct/PR1zU1W43/wNIx5oeZYIO3UqKKRJQ6TU5C8RPgR4LeeNLeJ50ig/TcU9BAsj83a4fC8f6wJSDWFpipUVbVWykdJoWjNSopMcneu+5OwmT5PJj8WEB2qbQDFuAURGgUZZi0SbA/E+Sh7NeV8RestQoknhQPHGdGoUzplMwPjf9cNq2N8kfRt7ZPNDVvSxixFNL0Ai+nEn+UTSF8A5kcYS7ZjWI3V+jsNNN3hz1q9PTvZRVfvMj+Ili/kvS32eFy1hLJtH+hCan9CWbtiRUe6rO0ZSu+uXsvd5+rO4sPMI0F6EWoeUdoHTevNunDXNTMSF2eDx0NByxHtHdotPYatgKM+t+fRsn3AgpGGoMngmI/LFlbykQ/t0OZ6o7wdD0heVA017w7jWZhH4qOtzfgnSAoI/+6ToXV+0ffoR3Xuq2FhMYEel0Xv6ZNi/iq2+0jK1OEX0OPtuGwPzt19cYwVJMdNvXDf7z891KPhx5cD+T1YiVYtoS/gkRjtuPHuLueSm96Xn6/5WMx+C4G3sSwV8D59YwR3EGsMgY84BvJrH0so/isoU+eqe5dbd0Onhn5mQJFMUVhcrNT+MeyGrEumAGCwCCDmPaQiO9fFSjFjdzzTs40RWJT1NlvxENI59IlHG+zH2ACsNo52dSFpCltl9gOeRhRgWEACR7xYoHQv1gQw08LYS1/VJUmj16OQYNmsvBGWnEiH/yATcxvzBz2fgNjA9Ftv72Womo9eHzewU0C9OvUm5ZOSG9QjzXZHh8Lydc1S9Q+RAqVJW/Y8KdEqioBB/8dpC4KEU35shkrYpqYQRNlmhvu7RmmmeqYL4Ycc/D0oqxadz8q+RlBFpuKRQ8YgUBHZ5BHiAI7zG7/EKWIlBXIKot5dnahST+9vnzonbG3x9+gqVb9LEGsH/UAVO173oz2K9ntabPYm/9prJKgMEa9CujOflFN5PdYTP3gY0vAdN2BfxXJ0WRvXplPIH8Dovv56Xgmibd67AbHwgAv/B1We0ZNfBuaiZpsGtxXROLAbd4nq1X1zMHhC7HKEZ4aHUIAj53m5AuuY+U1IJ5j+w+npYJpfzRkL57Dog3Gd9kJbTrg+MAw3pIsh9eSYJ7XKNYBqFuMGbZlek6ep8AbOR+TTKhUfaeCPBmeoqPcC9wrcWEhmebTztMGKh06w6XNwxSzMDC0e6ANfXzzXgTz0GbitlJ4hc+nPNCRziSw4OgwCADUqsWyQsUi6uRqdlE5gbDR3jntL7w8xZENs76hvmptZeHZq5xhPgjfxIbVxjeJbLtCF5ifz7pH23Nw+gpnG1REu3+yazq16G9+KL6/vUcOyxrXN3hhHMXksIWYqcdMKBRj+MvHqI6U5ViiiASGfqGga/wCnmIVzznbSL8uVilYHlNsg5HwJD6IPK4Pk41kRvahhUoR9sHnpnY0jtaRwy4xx5hPbhac215WigXNvZ0SPYszxMCZOh2iGCdydWM9DbNinim7kth2XSp8vBlewRFeZCqMtKiXUebGmWGI/D8pJh1P5yoC420X6p5wqSgxou/Bf9JDbU3dpdCwxH0DowE7s2Ed0uVjL8hgZ5ORu/Z3KsHJA4wwGpJxArrrvr7+JNrwGccZHt0XVjzxNX7jxAQz3obxry/ke4kCXujtMEuhYEy1sBmrjCbO/uiekars0gVvQqwykMbUUuurFj4ZH4QPSEsZPtVotiEtiTrsfpFhPdN6J4NLtgDP4ermEnMQx+UPnd84OPyAm/Mx3+UEogL6nOMdyZNdkrd8/xwp839h30b3LV5nRyjVtMep/Ld83e5yGXkf2o4eL8FsTKMgJ6J7PDjKgCigIyofsZp+X2bF8e6DyTm035D5GgoVfeg7bJqJsfvCl3o6A/jCcCD7j5b8WQih8wDLem7pVqQcxCgNmAFMY3122NsUyhy0XEwh7E+Rk87ABqV6cjAI45GP2FD9npHpHi8RlY5PSd6WIe7LExRaFoDeKddp+mTqwh5R0lGpjNWCvEWY+aSspMfH1Zyo8biOm5DOEcD5nGQ0TyIshI/2CCo2bsDR4bL3Ljc2BEnJ8b2/a9ecr8ZwMCw+tHKio1yaCrC9DEX/P33cr+X/eijakmReXbjika7Xgz2O8zBByX0KJQf08H7rpARqsLUCcIq1bqZulxa6UcVf8RDUhRvdNhQ+wlZ4JSyX4XvwPAPPhoQi5HkkoQwZuyjdj444sBs6bOXJ6tEhjB/b4zFJaW3zhKU+WPcQ1lp6HmEb5XgyE1ZxYQF6spZ9p+jdEUOI3YrXjIB4YRt+q907bi9zE4C0+T+vGkHJTTUoHPALD/DFn+qkJlW10zyCqThqpeUgTKcpTOYO2PcQ/Yhovu8GexWs07DRwVnvLORePuGOEgObzfogtA97ixLtppcA019pGdXF3sscRg2GDHpE4a//m1CR+HapL3AugEE0MuoOpn/2MNFx9onLUgJIHVVM/f3JNkJlGecXy5WAEFQQ+Qm6r/UVkT/YpuhQWkhMOq0S39dp8Yt5Z5WnyNMYHLJUA//RckMJPl/+yZSMsZYwlfzVcRM3OWRmq64cu2m/mC2Msn3jLpxkWq/81FuWSto02QP8We7hR2X2Z/IxvTs3XTuhvekXNHdb6rCGgS1sadau4JUIsb8IHEgNCXyNrsa1XyBPEpgnq+cwheLmbwRldczZoBmMUUg8kQpj81H/SlzQcqTcXPhRvttH9iCBG+dpnorl+QlmIdfyds3yi6/Q35UxnvXCObH8WcUXLcruVQnjKywKV8sN0ZiyJDSbj7MCCPlBKxSKYq45s4cLcZucplQKGdybJjUqKN7kubr/1ws0BLEDRllV6hS/ZItmliFqLByQo1dDnvfLK5EtLCs62VAb3vL2HaOTeZt7ArcCya0B/sl0TYUkrZl1guEKex7N/DmfsnaNlyrTgy27DBj3KIK58WfM1a6jodSVvyOVEu2yRxOULjL/1pAHOzsywZOfX6xTThw3ufg1qdNugBc1548y2wdLqdhWxfgUZchVreoIQqpcUZCTtJ9odtLTOLraJFxo8xW6TXnlZ5BrKFiEnNaGribkvLdZxGCYu8lkzs2kBuGgyugOvN4RovCa8QqBaapZ2cYIyoAgBVhc3/FDu18CxLZnwQy5jnot6BDdK0gWwzoyCCslnTMlYVNePz8O50cYjnlaGeF3rvnfzjFttnOrTJvzxVDZouYeWDO+SA6z12db3pHWYTR0IVDHwDFQNEKZ5cckjvLPJxAm1CY89IVWWTjgRNRhObjFCbqSZZ5Yn/EWOO6MwNUZU1RIAvsHEpw6Th7OXO6eKyPFXMfRquJoXOJ9gTfvc2pIs54H8l/w1cwyL6Z15MZdGJv8zUlEF/DBUBKee84KNORiWJ1zwdNToWWS7gfG2LQ1u32UDlCBB0M3qidg8NOV27+0Z7SOxC++d5hCGHD3qmF6bNJwshQIxiJ5+lD/GOz/rOf30BV+j43A0QzmZlZRrxQoG1eoIdpYVHOoZDJLWd1MQq2XMMJiL5I9ACOUwo9pfZw5eCI+cnrS/TLiJO781xbuK85/XOK7wBLdaHqHMccXuG1aRbDrWUWAF33lLoTvRKdKcAeVqKTKRiZU5LdER3imNx6BDOJ5bUOWKsFk40Po4jgq4HyICw+Lo/Kkfc1smXZfQbcOxAbtVzvt/t0h1BZ8Ai/CWOUPWV+0WwrGgnSOCj/+NrzROEB5yZhZVAgXAHNrWvunBs2GYwmTG/8/Q19P97ilC6nYELuM0oPaGsUcsqyJudSamToOH8fyAXTROr/wAu2qjvgCRBvoihKWzFQewympcWhQFJfRBbZkQSlzDpUeRcmxF/BQk5HMCMoQiObx5TsODbnWAlr63SnQWX72kBerCbikA4GJXyfk9Y+kekThPGJcEh6vzRgg+4A8akdrSLc0CvvTTE9hL0EIfXiINvuTHelgIiKCazXcb/ZEdLJf99KlH4VfwReH305idMkEhlXMpkyocQSe5bANMbM09NoBN9C8we668tDZmGA5XSbmiaDkY742h+m7RGgFRVG1KEm7FDjqVsXes3kdIgd2+u4VfNgsNflbkj7I+OOEa/TboVuFKUznLAczCEJyjBKFJJ31AhqsnlrpU0Ntrt92z0Y5bYAJ82U+djRRcXd8w9izsSnPkLNYsC/4KVDQthFx8jfxFUswYyuxEwnnbMvPXP5ZdQ+o15YzW/4LsVja+IA1IrxKDSOvdv5S6V58K3tlXpj5JolHH04g9BMhtp4LrZbkZeiqqbyr/+UzIoSSES+wlsaEprPSrSL87eEc1oI4nT/29zhRXn1tj+fzgiMWyJLI0ugcZ1TIc4kpZtP6goviDIe8069mUqqIg9bo7r1p/cCPZ06OTXOd9LOSWchfq+YSr8LYDjBw7+xNlDKuOQNECkuoIr3Q18kZpxSN4Yd6wye6mV96psmVW8hOTMaIwNtwo1nsEBXXGZL00Ok2O9+G47doXYjaje7uV3MphVB1uo+o0Zm8dnw5vQunvC15AhtyMcjTyJz5DJjP5r0p2F3uEzC17mMy0clunfPiSfbhYQAh407uVkDKu7IpZofh2RQfLEaZ++AVX1A3w2fI/LXTkqACF6XOqKdXdOA14cGrlQ3DwWdQ+beXlwTtPbDlr99l387HY6cf13U/mVZImzdxD8bNtzRMT3JW3RqLGf+8G3EnjVKf1PhE1vK4aJN7zk91cEUj3ADu9xUJS2LJa8t9CnRcMHiNEIyN7gCingzeKRNQNgOSpD0VPzHO308krgG9wtTQQTjmtICvyTkfTjzcgjELcONqu3NvtQxZdgXfwbjxojOe3FxwBOrRkSz01XR66inqew08qxNLWQcJa6ROTs5JmJ/zmyaGuC7sCDNNTnsRg0q1SQOOqvuyhA586mB47osUoTh3c8cgvIzv9xMtee2ToN213jo+wtCFWmX9Cui1qY0arycucfZjSj6wi7vC1sOgd+DlQ++uaUvzZ0hFSbLYFZI1GK4MQq3rkmdlywN+qzE5znDjIyh8ljAt90J8ZAbN3chTLvVWS/2J8/GmfmD7Ny+7lCct/FWY7kb1bLl6pSnQzmTzS5vVSZiFeLeB4M8VV5SUgYTXJu5sO5sNx2WxNZcF9BLvewGrFmxXhsTTk6MQpzMlRaf+gDYG3zaC/FGciP8XaO2i9bBnQuejuE8tnIAlcu692I+6CET0VN4RCo1WQNPgERuldjmRmtaWhm1I9h0uykhKY4lJNTcREsfWCgNQ35PZ39YSN72SeLH97KEXkvsyieZSUSL4KRNFN36smPZgqqwJ6Ugl+Oc20flBqiGJlCc3qfzJsjm61e696vnfMHybongVnRm2+NY7JCgbuaaYJ511ar0ujjLzFnXALMZLqKe9UurdqTvGEwfE96Xy3D4gyOlE4PQ7/MWv09hHTxFtvn3ALfJVt23SzslZ6DzFl4MB1TstrNPyHWXKGwTTf+ZczXhhQroJDxfpZEewtAcCkwBTkP1eNdcrh7whBPOF+sfRX7lgYcpgSj0hd0zjyOM94Y+/lT7zhem9greUhBk+4DXqrt/QM8u/hw7CQRuF/vEP52quEmOo+v5ZUdWu4J/uxFW5L49LM7rnObkM6GGDduyHvZclBn+BAKspZb3TSeckA/etmeBKtqdnDV96c3uxTl2+8b5nsA0VcIIs6gp2D4S/NELxBwpMsHkhbpELkHKRe757eUtAAxaEp8uV2qCFWvvl5u2AJEpuFLntYqCSC0MHvbiX+n6UmAK9LuukWYV2QyBvWTYglwvwmy4unw6TBA6o7enteQKdJphvVe5ovyNAsDIEdWoTPYLa404dkJUrZmQPgNykfMjFUTMYvd18TdNg6D0VGgYng3hmPZPrtoOfZG4pmyqKm+elc1WQBz9vfZ9BR6m6cW50xV2jLq2eqlCHFZwRWL9S6SkCcvc+CAV6txHKMGMbRl1Mx4JybqEkzIbEhxCdt+1fP6IInaPc8qXJW9KsLNaHeBvaNEj/PaPfCKASiCHnKvwK+tdTecTwdC+iuR9q7NZcrkpa+qOCI9BLm+gkQPi14LiH9Ofs69iA5MGqY9AWmRtxWMFr8SF3qXJXzAddMicih/NdzjnJn00M2iTXoGmkq5+S4pwE96OkZ6K5wyjkktLf+0IZtqdUg6P/R8OxnJlMxe1gP9SvCcyx3ovPtvdwixG74Eza+OpJ4eHX8YUi8qLRkiYFQi7ldLpAvHtIKqdGmRvK/GmEgzZFwaItL3kgvtmqpS9pbyDrwl7b6c0SEYUuAQ8hBRW8DTjPRGkEHPuM9IzwyNK11YrhktN/8byZe4G2XjwJjuJSXScRmI7V7qpvor77xhQgsbeSlHVyX4qDno1kFFpzohMIR55S4OkHJkCyU6TBIYe7YTfxBHZS7F2tSeaUPbfAGnLSVr99cfdI0X/viarroFD8IQ4qv7yhxuJdQ1MQkJVuJ5sxlW4pAzRF/GJKBdYHxLv+Br6eRdmHInDrg1jGuJXjb+g5HATEu0cx3gWIJSPt7EgoEDbJHhkn5YgXvagn7p4nVTFqH5/Pf3wCnub8lrLDzvmh5nG7/6SWDO/+I2gEapvEshmF/Mo8CxIwxp+4jP6lKxGAKSQ3tlbHLL2whdO+6eHEsKang2RVKs98H9sXBzke/imOD5VCnmIQI50pW4NDsPTS+UAOhzKvCfGTj4uFydmPMaYGvlRSt0VXA4pma621Pcjtw4w2oYhzmW2GogCbrC5ZXGiAQTvyy14sCUNjDfCx7cZUfDILnqIbrteDoYNXSfcwJte/CvcEKs9xXxKrj38M2fQ9AIeHWUx3k7n+yeXJmviM22WZi5nFbt/gKC1UOpoZ4atouCTeI8rUqvFQqqFvyJuiYaFYTm/KSBUKC3r80/5b7G+x6ZCEGkzT5syo+8QvEsxYe/0OIBPuOHhdhoIwSp4U83uesH4oNz7+Xdp2UTfXbbdtgdH+/m8Zhd9VImL1qFYBI3QvHiblTJEuTWjtKG4sQfXDmgZt97q77unEXHtLFPClpun8Fc5g3jrMROvekzgJUoGIGnpSygSqtNGCvYawwnpelkodl3I+907kl4NjD6wtHLvgDP6cWdDRE1AqAZwgov9OWziytFE5oUiph7aGHZxxy6u3kl/ae8cHBfAsO8C9+cQBfbYEHEZrjjqvT/kgHC3/6XvfjTYXlLsvuh/rAvVh0z/bvKwFqkvf4bnVrLanxVloTTuDYThoOlMPBxiv2Jc2JRyqSeao/XkyVKGkQVlIS1jBiw3veYkBgVqoae4D3wCworGuFs64w1f1i5NnVAA0DJ97AL1TYJfc0qoACIeCdcvMX9YMtZlSguWOuRz1Z43UPZJCP1dbr+6/9mqyoseSvKzDGdB1gYApK6Ai84WlsYVLDsiqnWfaq+MtCDTMMn3u7ZYhGFFN3NJGpkKUMca9MP5vT2Nbv0wRYJogdCEy+qS7cHZyb7szI6iSLA52k5zxfLl6bRJRKR8c7QFPYGnOLTM6VgfonxBDlPXQCh3VY2sZlKdreRfT1L4bK/WA2HMtUdfPctgWi0ET6BmFzjMZpIv4d39avg54Hs03GB0+aptvSKg6KJZLq5IWVs1RwD8hHB7V7gYlDh7Xxukbnff5uHy/pWCUGLv8bIo4icqJrGPskjw8voHn/N4dRE2F5PLd6dIeo667OTnjkXjrxaqQRmSdlPQQsacnW9uIVwUDRnJxZNtbboIAaynqVtDL7nmUsz8sV1/M6stSF3YKEYHHK6z5KMx2AJEukx1Adv5OXSIuHGczMkhm2OnVBdO9oY7mumU2jXd1cpqfGsnEl1p+zG5gLFgyoZwUoXrtoVoYLmBnFf0NXZvsc+CpMIMcs1Am1EMou1DahnE3m9Nly8xyx7bMupMCj1S92X5VoJgIox0OMxz8ti2jEgLC8PcotFx2c0+JsyxmFC5PrP9xs1mtCz8NMRTXnay1xOqjImjILPhCb4+g2PVuCNGZhI5b1O5+Jx58rvEkrIcTcd4d0w9lsQO4SJvG2CTDs2GdPXIaTqh9R1HuxrFdSvuG8d/Hq4XgTIWcDR2Mcn5pF9WNQErBKjc2MoSEvQrCeuchHpT4LYKbiXmUgIxeeLh4DRfpAjYpZqZZ69698RRO/Vw5gs/HgETsJcnXCwtNZJLqPnaX1kIr9uk4NaJADoQLE5f3TjeJLUtoyIKoNgrzTmz9i4OuujSKG05WFLfCj+3NJmUtwjB65F8CQxGR06nRF7GjQ2aba1y/KjanUCUXRV9MlAqZ4JmPJXXD5XtrPRC4x3av58YzWIa9LrLIDy3koXrorPzmFVobMA1gSrJydkgJpQOleGlQ0rKigtBimEfA3AaKca6yjasKC8DbBwxMM9xQ2icWAXi9BAjaerxHSOXKg/KbvDRAxtLSN7xQO4S7ftXHnYXyP26k/JwU/98PXuuC2dLq9V7Uc72c72bCdRSRVL6OEYWNskS3TyXeYZcOTxKHbm6eLniMidzW7BCTAuzApHeK6srVC+mcZ5dJPEMHIg7acutRvOR2k0Wut3RDH+M9WEk03gaBkTUHEBH8dxUF5LMa+VnkRbe7uWOFPOLgHA1HzXyTqOmgfJAWfsengyRUazQbKMkNS6KIG8tMB6S5Z+x0DJD53latJRNc2s8nfRBouKxDSkEVvuCJ5VwZgUgzEz2npuXWgUz2ytfZtC+cwpv8MDYYFk3U2USrTXxBHKeILIFo1dmpA+2Zx5Vvp+mNnaMU4SYOBmuiEn/m/CadC7MY5+4v/RFXWCPLPavMP7g56w94QNb+/qPhMwlS17A5TOLjSG07RxThtZ/cCFxVyc27l2c6WO3gFns4Wd2wUhYQ8trz04/u5DJuyz+GIRUBz+ebcQXb/2nqW1rQfnSUNMAw4XKt0sKDdH6+OQ8H6g7CkmlHXE2tB8m0mz1IWe3YcLVhKj56QZJvCVLt4NLyGamnwfaBEChZV3bPthRyvgNp/8ze+KqgZUvimL6bSTsVZ/5ELHANUMr9IfPbR7Rdsk/I/qtczv+Lk3UFTUxiKwDZWye5j0xtGv9nTfkZ/JOuPyP5JY5g8zpkomtZ6nhPVZAskls9Ld4CNcQ9DCu3TWNW58XPC2W60QwIH4PLFxxJn5z6B4hE/9x87BP3lTsaXOP2QVhLWfpIZL7MXx1BYOQcNjTu1sXgqdLWqlfQie7u/q2wzgRqixoQDaqtif/j4tFMrg3Mubt7x83YwsV15ZrRazkHPoZuTJlFlKGtf54tL5e7MaB3jgztLMYoBQJs0emsdvcEXy5zl1vgPduadrI+Tz5n+YnXa3e/it5LuBZJYwNwYazZaHnAUEJ5P4UeFk7Gc5aDuEHvnumfjIhdi761aQWlR5kZSTqDeeJt6ouNWRr/XaJNFQQeDefZ3fxalNMSxv4Aj4O+7kukoK8HVQMJncSObuwQyQTHsBwnYQ6eZ4trHZkr+qxsqkuB2r9fJSlpHlo7B8NbTFzz+kFA7lB3Uo0uHAxyr3OfMiSk9pUkwfu44H/ebn+7p+585AakB/m7IMKjdowY+isFIjg6YI8x3/rcEv4fgv5b3TcB+0Zo4H7RPHaS0fxn/5ESZU9mEgpxKwtAhEqoA4ey0lDnR0kMhrrQHLAjp4759TKRftXz+uVoMsgabmTHuh8rDTSC/kXP3gyUc4zf72+u5GxXodFUJRWGmlba+bg3o9Ziu4rTRbbZBTPQVzZDBB2Rb+kVeGeJMpuVy370it9lKWLaJSxQz5Lv9kO8U+X3fDQVpdlPi6zgbMhX/4TdVFn94rOPgk5SjsxXtr/aRj0wvy7OjUaokp2poas4usiyXBHTpB5Kp2AxTNz6Fv4KERlHKDSR6rRttA/Rddj5pifA5sScamC62O+7AG2qmIky6RvH+wA7awAM0V5PZAYbIuNxYcjfqyUxFscfUYb4dlYaqWjt8y5wwyfoGJrFUdXFXNj0d95jSNT+/y7tdQXWOoe8xaSFVhA209bsOrMVmYQs4YjYCJrXzeDmUyTsvvgmNccL5p8EODUhjFkzmM2Fy0Rg/lJADjJ3a8djQXt3cpzg4B75OSNQ6fychA4/82B5iEMVtRIgIK58RahCcByafZiW23hkUb/APxZ6j+3xNkNhnpG0vt8xVsM85HdhTptx3rh9hs+IrWFAMkzHaNauJZ8eaZpJhE4LZOA71y9pw4VDhXRta30GfQxrsjiVOTWBMVZgtm+5mR4muiIiwjDxmTyeDvLZYeGQt/NCx1i0HF7kTFm+aG8op8o7zsvTTLt8karqIRAWuG28aUFQjnPmS0eH7LpgnZUszzRzwmmxVm8r/wExqTsDc23GvL6J58LVJCxe0OAkup69Zoo6Ndn7KchWdBShzf8yiQoleLRxHlLtcH5ZwnkLYBTLfxUiynrDLh6jMQbWpH7IUyd4erU1+v0Do90bPcNPcz7Nsz/WpM6mngGqNMTsw0+K7AiLEBOgQ4jyIjnNomVd98TTYRwY3tAUG3Rnw5I9cBthb/+pIDjs8P7ISw8I68/yiuQG6DfWJ95Km2rvLgptklAX4V7yZbxqWuKapIZgwUBvvgxsaW0MhDgEYc98nNsevnPNKqXuRmlXk1hGjLFaQrgjd11E0y/b881oCx89ciPnko74B+aJ/prCSDDX9DuQtG8YkTTyYVwF0RwcCrizS6xaRHaJa4e6t5pEWwPC4YbC81CIHBSs56RKm9kTeJpO22/htq9bfq8B0F9f9Bufpq+o4p7HlmSjPNzXe1nZGHUlnLRWHqT8/Ciutr4jg6wANFu7WBDH/5mnuenluRGKCU2oeArVqUidP5qda/yxAjT649X30d4N0eLsvkcq7+R4xne7GzrSPLdYNTEylQj5QSWA7//SiTSrzDeCZm0o6+Xx+EMEUr8IiK+9CwIgB9hJdzqCVx4/YbrOEe9VvGMSBcATrNoIsDsXSJuMgJ80fXmCsS3r/jd31PKb8ixrwNFWnHfw8VWZZYzsgY1VBMgDAqyoK0Nul+tJUjgxvSG4skhgmCO3XcT58zw0IBViRzRXmxmz18+janT/yDRxDBVZFgRJ/w9WieD5FsvPhFC91iZQnoRLStl4MBBYMd9D0g9rK9rhcYZH4RVLhUn7STINfIJajiVT7To1eAc8r5MKolRjRnhc8YA+9jdSqY6+hUevr+I9HtzWWsjCHUzZD7xSTEjGVrrNZ/EjiSVgkTsUQZXmMovajwO3yRoV2IDs56FaceExDCDVN8iVC1dv/fBz3Yj72r0Efg2B1lOfqCt80mnKgIBcF9slVG8PkYKHGP8rd9Blch1SecttEH5BKaTR309Shl05LBpuI4tgXFp1DRQsQnry7JByyRJON8hQ+Y15HHoiTp3M9Ee5Cg7uMKa/lktYJMwdQN00P+J8lamFQteDY68IOgNOc2N/0fip4+Dv3PvI0e/3rQ8t2j52xmYIYPg9MQMO6ZTcn3ytkch1eUitTGg+xptxIJL0xCre+WH2td9plGSz1KzJHN8l2AsdGgTcG/RJb9lLG8HyevFxBxTnQ3PqxRiuTV4OdRV93gEvyqIFdTdjRZ3e3hq+p/uT/DtvdTOpADXqpW86YHRpn4+d+u5Ps2UPIV9ld8KR2MnR+CnZ7VtMbqdXF1FG0yoHuaUfF3nf0D83D18kkTWithtqpE5gA/U9FMHtPpcxp72tn8xGr6xyUS6xLml2vxh34wFXcQ3g2euIvYuUE9zz1F1uHr2SomfbJUxib0TfsPcDm0NoSWkyDhDDFjgGA8CpLnwPjxubya1hhNPJMh8Py2pwWi141dK7+yymtVV8HQAL5G5BaqzUl6IGzxwA9CSxoQ5KAre0POVo/YJX8icj7xtpBGUjYjgkjIfI8wrLvjxla2gat1xobY3K4WpX+QFkKRsCrkivN+WRIX2PtCxr2KVBPf+4sz0GUe0pK/UyvYNwELKDn6rcH0f76XcKxQ9uwUyFlOyVSjxCXAOkc8DwgLQoQo7W7Ragf+7gSE6Yaz7ceuBxEKSYLiihua+0+R3Bh80EdlOsKcneqjLJB6E/9EDvyT19nx73XjWPVm2w245qHBtHlcxbm9YNzfAxk1wJbYfJKQdrKuUOfFkegt+x3BNhJzKC982yS90dUDqGdwGKgP6r9Cr0eeJJNNsotGcJMDVaUVHIELnadjU4eB5ygUTeeBAERN6eDt5cJaPKNBW7RF0W9PZf8gGSya1fcPlfVOwDvBwrN53t06/YcrN8fWho4/XMSQoSt9AFHLsXISt4Zfbk7UQPLdNepne66yEzVk/PkQUq0oxt3tYWITZiT6TtMxgbT1DKr5yaCd8lMGz0II6A0hiPBl6co0sPBUppn4uU3T1snGTjXS2LDPc8c/3WnvNz1ro6ohK7jli6A5fd6TiGjv+gxf18nyGP14jrdyP4Mi7sLpWV4pfZF8tCJ7/7Otrr/y5LIowuL+N8ajxJgvaOvXKYqSBoz9ZFZmT5plZjVTUtppnBG9bQ73R7tV9Tw5p886Iaoa/gfX8X28pdahKhmcCC7FFM6BJVtodolkMmnoowRP/FD6KWTyWd0Bbpx+z30sgFePIwtVvAToyy63yzKorPt1ePrwzG3652KkRp3T1izW6dB7Egtq7FB2At5JMiIuX0JKuDWXRhsiJ6f3zkMXlMxZRp2JL2gr+/VcJ8ygfL4PIB82t1k/+pbmeYSudRQuSXFBHJBHLLixwNR9uO1YDqbfGYGt7RJybx7AphxzSz2+LnoeT04NEZW+6PrchK00QbACYbfm4r5tRahqQqRLkfyRxv4r65+onTfl3qDalcz1mJV6qxbfpeQPcShJnuxSSgSr9EJXjF23Y2imRF3k+fnwsyioGEOfNBV1n7P5Pb72FFEA9kWXvfTcUUT4jlVhL7+gEix7MYuAIxkrUT2HH4kr9+idDexeuheItu/hiQ6N8wVYVKsIxDGv6uAnuGJ5ujwfqfsWBDCfGbaM+QjoU2AVUOdM0I7VXxMbL1i9PxaXvHAORfDqP7WcRchCHcBa4GN7tiri8dyRRv13c7KYVSL6W7oDeKaJjkbEn7UsqINgZPOBqxuYpciA7JCM9cNDWMM1sRepT1bY/s641ofC3rPB1g6W2e0Rewq2gWIxTXZn8E7O37Ind3qbnCsRkrXdId+Cr1+1UPpMH4WS13hFfIzO611p/nlCBHVJOVTszRz2rlG9Sx2W2RK9sgzdmfotaOG8Mca7jPr0oonZF9fxOlU78dvuvQPFvAUbOmwciAMzHu7sYyWDNgiFTWhJi1k6Ic8Qg2mKrSrlNaKR8vSVfjuhrf5RqtoOFNDu1teYn7flOwAZe91GlWIzgjthWendgg0AWfUnI7usBt1CVEXdUoyhjS5BIHPJOQd+wFKpX2f+trVHVqx8WZ/N8ZeoZxMYfLt/0/QpFNJ8UmUuRKGPME6S+iRsrv7IEz/VE/cBgan8kg9HVpN4Ta9GvV9AqHM2CQTEs0+2PC8d2CEKghqUCbEENVa3P5NtVWDOQJXZSejR7p3SH+v1m5Gy0pxmCA+dpsusU0laaOMI2yeboXx56d82EpYcSYqqw4KcUlU8QlEnY7RJHWb+LW13Vi102rXM1Q2/At7AUwk4YAcrqzgUm6+PCobkYfwxgvehXX86fWAs1Hfsawu/hk20OvbpJIRUbgXWDES/p3TmEJPhrxhEZAqiXGkxD29IHcYDMuY6LOKHp1Uh1mpSxXln6rT7Y+EkfVY6RWGV6zTFn34Bmt4PA68zIdnxPnjeTic3dz8aRpzDkZmKn4nTaqzrT0hkIAhXeL48IGAIQz74Wpw2N1oRnWEiCs7bLsQyKLtdSyu8aTTfPuLe8iqsTg+1uHm2RIRtGQt7cC8J7ylmNV5ZikBlBmU71YdatdgjyglasgS+ZesYaAoeiuaRZVjLWQuKHtySgwKoHYKbXo5fL+Izqc3+vTW6R5bl2g/Tt1+SKzepO8Ua9PHNc56SgmtNG/cazgZSdehqpQX8Tid95X1dd6KItLs3uO5Op9uqxjBFFD+YAp0cV/iqpLqeEa6hsHL6R0xSPkQY6RrrhHk0Su8Z75bd3nEWX9owP/dqtKQuXk4JPgp5C/PC6MGv+vrzqzJqxgW5e59YmSie8wWcPXiBHEQSCtou/mXo03PA5oefbI3AEteeLCsGr7WUW0pdVooM4E3JjNKvD5dIjPduvTvDd0s9j5NWYVhN3WW0I0YnP/xRClgv29SisxVkSgKQSs+wbvsq44aob9DlomfPFZPv9FzA9QtLxmatjpqQee9qc5OMU947Hi5gE9LGR27tS0u0KYXQuxUUAueuqLDG9A34VWuTqw0mnMcJVf+9C0WGrAfAZ/8o7axdZtUT7cUBZLXaebyGFijNbTgWu/kgpOPO0l6a4OYec5jEY3hKKGs2dqBKAlDhw57lsSLDFkYLSK5nV1JjyZZLnedNJUP0S/gMw+vKupiKS9kZZ8qEEOjVt3ZHNJJjUp3G0rFCLJiOiaD8x/E2Xgl6LL1iNWurA+p9C2lPQETFH9kbz6XKOjPbKIFrWipDY8iPtG9cS7zAS9p4xs9JcMCuPygR7Mf6gRqiQOgzZ7g7AMRQbkTRSIRSv3rtCsUtiNs9attiNowlMiRCCpqDzZ4IQXTTpE1RRtCTRn1d2d8grd0jpAL4VBSkrp7K4P4zZ7r+EeEkzFgu5ZLDOWuToLbRMMmXnCI1aBIsDCGs1iBvflV7SfL/CGbIOzi2LnhzncVksZPwo9GbvvVyDovUVIkhgrjdvrRv0JlZrPYv1mxvhiq+1VNQHQpsAwrxRPHU+FD5WspZve+AF7bsGenyU8D8F6RlwOygQNSCbTbOF7uu5jrHTocZ53w6uUzLHZakk4HbHcGAIYIfqF6zn3n+W4KIlBv4ycHaNMvJmiWYyWv66Bz5CgiVkBvJZOUz9HEDDgkisRzL0ePd7r6of3NO+gAzEVhEzePZS3NdFBoY5sx1w71ZDpXGy8OjWEg/echxjAbaJ7oYtzMBej1rE+mOMJ0egTFkF7KNw/4lkIGMyn2aU3S2PkV8knza5J0H15iSrBUwtTs0ASUUsz6b+OfzZ3VMH/SIonfN1FjVntzA3s6gsLaaGEcM7fA+jQ4GC91XtOfFOXUrSpiBeTXDUBZXRw1p2usZEdJlLlD7WQKVsXF8S6HH0nysgvpZLL4ZMIE1k9ygiyNp5H+C9fSDLtEgRLaXt0WtACb3T152BQUxvvD7N7GXequOIJGEKEK+fv5ZiUGB/rHNDrtI5K6D7xm+JqJsgOgLGuZAEnlX6pDD2nQDEeQmYz5jj4jI/a9fuAl65XwBJ8b0d7n4CreGTle6iRIrmLp1BIyFGSjGBV9voda9RUEhD2oo39+E8+5OKxLLPNSbatrKXNB9oqLVcmLtFXaz8Shrk2wyn8mMZHJKMxNtfnOjnJ9Eo+Z/MJPUXmeoZHCU+lniGU5/f5EO2ISKyHWfru9ETfRVMRHIPutFavQHWq1Z3GbCymNCj3oZQ3mRkNmhfC/ZQ5hcRV7tQaPgZE0sif/jKJhB7OFF02kzOU8HSVOPESbUqk0RCZasGuwkbZgRfS7LYX59w8cfU7/3Nt83zbGRIQaspYeDbUF4kO95OBatdgMaB6sfVRGUK8OnBtRlV0FaAPstffleCFg68tWlzxWo75Qt+m/6hwsuFbClrB9PBq+PxtPx3Gxj4mDchYp+BMNWCEL0oH8By4zdOKEdtxzw1KCXLV6LSLvqfnK9t92RD6hLxCU47ytLPYDUziyeW91fhj3XjT8EdsBULDNFgX2U0kksntytTA6ZsFeQaH+U1Eor8aZRz6dhLMBVC7sB9LBVkG79xiv5raovBuwlVTl9zGB2mh4F164ekjuBeH4RwlKRw/Ti9pbC8H49v2Qq5194BPb2N0hJrULLPDCkYU6Kx6Bx5sEm6DA7smX6m9tR6C1+cX3c+RRNmfZX1WBqexiYaZm11TPBMETrNmCvqBMZkyIqqIuud8BW2p5+OtuWRYb028tZhGUfq6/GJ6woDzN5YAh02j836YiEYrUHMdhG10A4Kf8QNuP5PvFisjlLYPqa/FHzvEWLc+lo0Z1LPpf1cMb3jriiRQoZpnNXXahhuKGTwobDzDVGb0tV+rmwnEUSNfUwKdz9N6HKthv3ei6dyYyLy/X0T9zBeUavW8JKyQ2lwAZcG/+OG7UHpOQsqg+6rkzOcdrDq8h/I/jbRULFkLv+5w0Tp2fl87PxPIC9yAZLE28jN/Vgy0RZZmhr5QEH/caclammZ+dsJdrrtIjfjI8WRIbdAPDt+BXERdwIOJhjjVyBu4/q76R8hG3mjHzGemnfs1UOkOCE5CcH0aqZBenEgIWpmaOnB4lLiXpHEsndlZRZLAfP0JrWsMr4a0j8toGWOOrKQfCHil0qB6q3u/cnBkrqP6ZSblVQCPAq6sZKZ53YBl/KPWioaY4PlaiE4iTRfT5OUP65T4sTytETkrDW7NRH9a2tydjsJSfPHyBr38cgVJZd6GtGqUX/b+R+s3Yzq6+w1FtRmHjTHWVnbq3ck9sbcOhQ0Z9UUJPnuSFSHBOFZQD7eZuuOzjnFJcRBKd00+Vvo3TlIKoAPwXX/wa0pUgBBUGr5eq0C9S23B5EXF0tAojX4DOu+2OlOz8lxYx/ei7XTLBqaOHQOGlMlRszAFCJRRjXaV6kzq9QzYZvt3qFXdDDQ7nIBuI+EpoU6Fb3033pLC5p3sfiYqZX9Efo/hQB1b0ka03ZLv9NBwYxmb9tKfuO5RBTZzZM5lQyk7owt3iRzxli8uEGDnGciwglu7wztjhnwMl4jMDkRzovHN6iEWb32DNILhighJNL0vtN8caYVamgq3i1TTLqBEwGC0Ar9DRH2UFGB0bHkxvYl8RCjIeeKQ0FzUxeoqIQbmRxj3tUN7Pm+u8yFaLzziaRRANxpuBnVyEv+uhV6j0olPntdHIxWipJ2Sj1p0b3iu9HHjnZHeSZzIs0uoj0xTuWFch+EOG0x0RlAzjCX6n23IaDUTM/i8LiDnu8DhN7L7vYf8miTWAh0VxCBiyDwaZMKGZfQXfubitvCYPVmYeQndhkZQ+C+gQPToVZFeXmywbEa2LairTqVnpyu23cZnHTaELQelr95B26dcKVdxeHKMZcbnF2yeoRkG1l63NKrjYZsmhst+Ufq9w4WfCcb2O9XadA7cQGAz82T3oY8zn2NayDGGPr+6MTxJKeBUQohsE+YJ8qEwL6d7N8twiIWR8Mtk1sEop2d9NkLZLDLwDoDVKUBLZgoBCLhh6rXxmIl8Lt2ajdWZfWwz4g5WV21VJNJ+HTmSC4tO36AK99onZAgMH+x9IOnCGyxcbzeSoQr5dvfp1RBy6Ni1HfxAJQo5CtNgadZyIhir0fVcAL2rKlwHIgDFs8w6P4ve7K8fjtkJ6HMeuMVHzZXHMm60eypWVL+/89q3YyDCf+RI/pddxgzgkJJWC2RpgUa1uNwc3NozCCKQl+H0ioIcwk6Qui5NhNm1JaZ23kpfJxEqrG4WKDH9z7jyjXDoTuuh7nH6TNPJdjSpRxwBc6KRK0iJNQj4sdsHPQFLhJceNgACsjzUS1uWs09dStSr5cM2sWLUUnEv/W9LrpS024x7oX6pEQM2Q8NZctWSCtUgUFWN+V+s6DwfLZvAEPTHlhxNo/RnqjL+VQgx46Kpi9Z5C2VJkahOH9gzAH41+IZtEis1e7URdTe9rmHoTKYIoaYuaDIwlaHRnwMhvmWdxUm1NLLIx+GmK3Gg13KfHGFYTH+tgGXy3r1cyW2tnjEZWUYZ975/8J6PGu9/zH+LxWcPHlm0hubuxmZ+RBJIWGXs/OPBU6ElPeRz9sHAguiy032QHyUTa6FV2bNlZcNDc9luDb5HkJAuA/IYpkAvbHuPzZEXOgJ72dUi6KpVfDEuqNy5RX3dV5Ymhc8XBAjAHcunPDLRhAOZwUurBgGTv+7y8ZIlPvuQvEzCaPernqQIYEM4eqoYIeflOJ1FvdJsEuhdPh3zBL5En1qpD5Yfh225+zlKZiFwc2tPGQjkQL4T4e8F6KSxOSwr+n7dQHRShPtiszSMQQc0lka3CzeGocSHvznVHDao4FmPZoi2pMkgtLnvdKbHin9P7lakbgzAENILAheFS7RThwjlWii6Su9LynTIehSBEe8ZX/lTih0uVJPPLC/hRYfAzAqc+R/OtPjQnEQS0Hg4TJQTvHCtHAkc0AcQBl3dBFTnCetbG3mNzv2LbtNhhExbtPDz/QNWsK/pNhrS8H36BR6vbxq/koDGF+fycLkN+qQNNtm4QTOFVUzIVMlC5ZXwLwX7UTN/kYsHkTEBKAdpL+FU6KlspLWcka4ln/bdyAgpLJUv4pNfPsSZ3hEwk1ecIKeZcQd2Yh3oNneTiTZww9HWJSox204kcSCHggAq/YZAiUCTsjlOrdMPgJ/lftqloiUZdT397MnQpV+0C9HL2hZ3kWeFqE5SxuLBTDSxCg7L09RnXJ4DC3JD2QO9C3mpSsbyqWUA89d7ITZ5GD+bNynP2bG4343UD7btMcJ/KWHhTb0tggt6FV6iSBvMXPEFQ+hkwkADtHjYFOpI17TNJOHPLMs87Z0a0UiqeIqq4wJIRAqajePKi97CjoSPIUQQOI3X+4CJUB5Ck9BOTi+7kl+4wPlkOkkbYLvY/JeRez/fY/nZ91cA4r+5dce42yhIjvdqUGiAGLDclsLQQnLLWOZI9B5GZ6/BQNksYgAeVGAjmqHgy7oWdgEURHNYZ6vnOAtyzFaYSUYF9cBxfAZVIwlR9oixA2MPPp/K9PjbKpkg9C+6XbcpEn7PaYoTKhvJuUq5lCRs4WVPnvneg78gWtlGryrnsGGoCKAp9x3L51DL3BMJYUl8QDfLM/OdxtWoWXZgG26MyV/IEPpTZswp5EcgP7yL66NGyVsw5XIQoJJmZ1H1ePlI/BXHt4VOIGje4uCtieENvt5rZ/XqkajkBr88Tf+iy+JwJ9Xdku12DwB4rHnPP/IOzTOgmufsL0kf8QroLt2pxs1LL2fbzqtdnmSJ2BlFZb4ELb76hOm4h0rxX9hZ+3G6hG6FiqFubUkCw/Zflv0W6x7ok+lPQuIlfkm8/ULf4SIwoeUcaINtdb1MrL4TxmEH2ZQOLFBTBITxjOC+z1royN4ls+wgVg2zmFQV/MwxhDPgjbxOFvecroTOu4DqY18o8PipuaONxLEQjFpo1IUvWu22RvBxiRLcody/pm0Zkd2yFcdBl9lVEUmZxpZ/3iPvbtuNoyRVv4B/pL0H+FeHIPUkGa5D96lTL8pIm7kC/BjAOah5OpSEJ7Q7jTzPJs2+R1+cYg/h07aL+rKc+B6FR7eypWaS5/0OQArnegNjCbeDyxxk9daP1KQEfU/DceM1p6QsrPoXBN7GtzCBGrwnzNTXCDc5OeXGN2d4facmdTINVl4bS1EczN2h1r7MoBdk0zXRIs8EJYgL570zp852v8iBnXmZVutiLpD4mVhhBRpToWxYq0BXGMWqWgz6y2z3prnng9kPXO0exNrmFtdOf3+bv0wzfu4DJKPWFKUVPd3QyF8vBkAbdS7h/MWizY82bNKtOlIh+rf3DzK6RXj9znC6XPNaqYYDP8xtrngKwdEuujyYYc1TsYIxIQyg9slqWu2DBONgwTtmxUJeVJJDCQO1j0TUgjy1AYTpctmu2yH6C4r//cEXBkEJd/LRnr5dghQs6UDKHfccp++MoluZWMs8ZTAhpQmkgJ6Q/D5VMIzSKi+Q8vURcHreGWOw4enG5EblqeqObpuy1r4s8cLlLwSh0CqqdGr7tINlGGYZ93dwcw0ANf7do8i6BnkugoEDh7vbUioxKO9DxkwNY7vkk++1sYeP+6rozzSuVH5fHTCwgcdb2F9rlyTi48J9LlyxH2jNVV1lna4L13EtQWClJCp9Y4LsgQTblCzSxdY4VtY2B7pwtk8L6g41KD0Whk1qOpl0K5lLaolBC38G2jnZqSKPfOf/bk6WcLFVArUGM92shtjlktZXIXO5WpSuc1RjgzanV5tmex6xW/riDFpKROSxaLasb4arv71zyNO5+AyWQcZuHwKERZQyDd/izoYhXvro7QhMmSUfR1G64vMxnWS1kgrZgNvzWILyWNouZ6RvZox4NE3SND4Aad1lONtmuOs0Tfh1vrdUj5ZPjGoyt/WSt2f6KSzScC0JOA6a8MIGUiZSnBUZGUD2q6GRhut2InaI6d0KPD6cFBkDGaHkdry5B1gyFhWS0/g32zhbW1YjgRCs8EKOImLl0e/QOjwvLepzL1W5YjieFvZuZ/hxMjhj2ze6jpkYMUvJpQdv7u2EqOZJj4ofWBZ4T4FzX8haDdEpMIuDPb+SO/ZZ2UQUM07uswcZdA75iKc49lxQGJ910FTQThMA2l/D3V30GRbygFK/7dYG526xT5brR+qcQpkfMAtK9mh/kLdyZ+pA4z7UFMyPmzRZcRseAskCJDgnebkVx0mBPWlRu7uEddQ+asA46Wy57ho0IPqo5nCKmxAbX97EGaJRDp+99B17qENMph8qEsI6Habp7h2HZLNvlhgWATfcVNoW7o8Xfs96vM4Xon4mhERs8F6j2EDzF9+dotFV1/QAuAOTi7LJzzjKjg5Dr6yODIWnCyzEDlYags3ew9hwDSXXRLrFeHksMtFEsXEltRXo0uS30JjdzEWbb9wQbDiowKnsfvBpw+ETSKDSU/PvJpqZakSWpQgOiWwGjh+9pV57leIjDznuLA6ZAML6sb/V6W0sP2HP0AIBZPQRve9AVdEjjan5L+ghHbWqCB3dlBV3zykyxGx1QK3qHbmmkt4zhSgJyyYsLgKjFx4qcRHNlsIVluhoBg18363NkgWD34yAFU8cgQwq7mFoULdhftfF7896V//2jurWLEsN4hUF/PiHpxSs7gOjHrtN78k33LJO+7CA+3v+0QvNiwkUPWyEe6uZbHUeI45V2FXMW3jsCLGcB+MxDl9fMy2WdkFKgmq75zeWA5BX3c0uzFK93SvKgeyl1Y2PXAwq/UFaIoxy4EkNZdkJp6ggnvgoo5XZzHheg6Vm/gSmog0hxVIbmxGckJFwxJXIRuXDc2pgtIFq4xIe3q8egoGO7rJCXN1znA3WcK22cfE+zvoVumXmcVGDib1Za4umUzUyxosbmiahNZlSKg4UTU8myNAxFdPEJBVj/25Feu94MfoKEdAhpCxgd0fVYZVHzS6LSb9PuZVikVe3jLp5neFqffNtRb2wUAcKWygSSpWB+5nQUwc8OgUJyjg8zZpWDpyOmNhsF9t9Wqz7GMmeeJkhSuy8KpcxE9OQG55RTZKviiN2SgBtYTGz7OEmPgK4brXNoEFE20FqeIV71ao/Rd5FI8qgzPK/rKD9+MSylMaVSTkEMRDzPp9G2tdz4cc7Kdhgwj7dutM5F14sWzarwXdjrPlDAv1yqrMF2t1UnW9PnXLNf4BH2N8B9nJk9/US8raYBFQEJjafJbt/v0I/zj5jCvWa8JpzQfrrz1Gxq2ORapc0uEK82hM/RwgB3R6Wyh4qyuCMM9nkdae+Y1CQ8plyYtd+cuqtL4Wa9LQUAhsilclXhJ3dnvMQH5M+zZh3UzW3fpJSsNJxiSi7+R87kEDXRlJGgwkIsxo4Ilt3pNHkt+tVHYqEgP8bYTemkWwAQvrmhSLKmnpkWCPKijWkmhXipo/fKdiW5cLW6/zjnHi5K9RorQ3P07hQ0zoPAoGS2FQTHEiVyePTQBo1xnuPQKTYt4xNK0svXtMAWFQArzyY8rH5KeL0Fa3f0JdJ+Fp/4fnmRN3C1zFE+cLds8K99Ae7X0FIdCC6AtQYT8rHoHin7FpjPx8pimUnAhZH/XHf79MDLO+1JQyTTFT+aAVnBBsGLpCeg76KfBD/4+Cnhhc+7RQPl8FQ68/tTX7RUywGTUYNJUGXuuf4IvSjtR6BXx76VRFV08XJRYh3M2m3oayiHtNt9Oy4iICaNzU5mYK3FoKgNy8nG8t282tg1vqsixtTtXA8EYRpHzT2MbaE7wRXqVKNpz2HUpc/uWjoQGKMLho+FPbt1aYvRUQKiU1Aaw+6ouKU+ggv4XYd97yC49ZfqRohSU/Cw9FqNT4LwBJeFGmVFEI5dUkgAPD9q6GANTuR4gpIuSARTx7g8ZlVYXO8BZUYhrDs988MxqCKROaaOvzRFy9fHs2P02xC5ICnef1hmF44nQfX3ZBBOFpoUl7cS8JBRdbtyu3MKsUbmLjfpN+v4plZpWMTgzhsSDDb8H0BO0RvqlzJVSpUjunTjWgJ01ptX3CFsuj8Tu+tWPmQUG3cbaDym01QaR/p4AYyWyT058lUc0s0op5DsokT2jwzGgmdyR2mMtLi4S4BDl4Jdpo6N30HNN7bt6Su9r617dz/HxoVF5gAN6Wtgeb+S/k/KZXvpkPkS9ADwK7Vuul9OCFoC4W+4Ok7p41BMgG+bMJg4Og6qmJoc7F9/4fWZ5qRW1Wf82aYmqmd5zOkKSOJ+qm27jllmWJQMKjf9DCe1KL641R2HPIniWr7BTtvhNKwSwSL82/0rc2mLCVoazYyxK9O1GDytuEjihNqck1FD/Nk9wAFj9gDaBZDUv9kcRJ2q4R6+gCgQfyztb7UWnhIR2kKWy4tGMlI1EnB45PQBEkVyCpY1UgAAnLB8wNkobH9YPSWmCaeacb1Isb+9Bw/sKUpFzLD9gNYGhVlTY2w9hEvsLPDJronEPTgFgZ6M0HT/yGnJywmiJTjdEe1QNQU20F3Nd+h8ao0T+XYye7axh8droSmHaidyv9s+5Xzb6RjKuLLEWuojI9vai2s8VarSSIeuIxtgRfvkh2KeZwQpPVFdqX98XY7qqzqP6LaheNTO0Y7iLubgx/QWwoOhtcxC7SKruNeTbDiEueCcyouulCtJcux46XKMlWGuRE9e6rdhG4UfYYjG39yWby5kBOtEgseEES66UhvvdMTPvt/Nlkx+ZyKScsf8fOFD2KQz05zIZbvR4KXygSHQYeTuThfG/6QM38+XgLNDGgemfCRagcu3lqQa65UGapV2GwFLO+bzaDssfUcGctYc5Pr9W9eMKiaL9RHQWE782dN41dlUF+RkO4sDbsyUdF2MLSfKPo/96aHWQnlK6yudPigMufDX57L9ekyIzO5R0AOg+NZf2NfNRSEwOlfLYcnkkcCRM2sBXlDoO/CbvWH9otYPkI0ERI8MXng4KK7aBAkJ2zIR7fpeMtVgHtfQx5iHQE87n1xekc3r+VvZVYnFOtzwQnKC7sE5orfUI+LCRss+Sed6MMELvFpeWqYp+vbZKc0dMopux6JuBM0hRhyY2lTNjJzvR60g3M/UGtKhP+ADP7kpyZm4r0Caz6IcISWOH2QvtIn71WHFuc1AHXSVenOzgcQ+nHs/Qg+9hwSFuysmX77WmmYbEgt/sDEfGJnnvAxUZEX52sZEZ2brj9+1E9dmgpxpfvJQ7H9tpKwW+Fmnd21fRacbkW+/2Hjt1b8S3nUX8r6uOijsvmj/9CuBmaCATX9/OzwhDgpA938zWKU9zRDsAOGrkRzxjEqYX4DAm3krLuCE+CeQDXV+QS8PAE4RasFypJOWortwcQe2raV/7mgG1bZskQ4tpHZx9w5y/wkHO1Flv6q9uzQn9S1GkwXW4cHHy1mljPxeQAhWZVD9WzJeaP+1jEN0a8u8uSdcBXM5EKOConHyP9Kc93X4ZF8mOiJf+yKs1c+tQMIfocA7XJVxe+eT12t8iUM5MELigIwwxPYk5HUSm4q49t2tzFs0jezkeN+rtk4iOmrUm0MNZBQl7TXFbbrmT3vH0lL9nIH1+7/NoiYpIR/az7BrhjxqzjoSic68KYeCijA4mERZIsXjBqxzMayeLk3RaWreNIzs3qirR+javBz6Ib95KuaCqSoC+KOwI0mx+vlo+jNjtVe+t7Pd6Cp5X0cufZgRA+F2alBqj0S4SJTfVTn4zpO+udAY/ATzeRgCGj6yjqsQnTZqEsTwJsuaJMMaF2a20+UZH7KxbjJuG3TdnOGKkB2tr38Zc+W9wgHX8kB1HJjqau2bxGfYjyyREC2tjMOV/if8kX8e4NK5pUDt7EOJ6m9xt2KYJuyOdd+bgbnplGuZ7fVRxwUsSs+jXuW3qmi5wzQ9GSgm9Zyw6PBjrYcNA5k3uH4xPGjyPjbPklXKTqlVzzZxgZI9WWDeHLyEANUVVnzGVW0xKEzGxE51G5I51ejL4CU1dYi4oaw80MOT443ubvT0y/izUDQDv8jDmekes6TvJQuOUIOSORiYz/3FdQ506uO/0Vzqbn8EDgRp+u2LtAkNfBnY0gvt+VzcQ1s+gc7aH6T4DReJQohuHt52zSbDjZkC7TNowkvV174ZCqtEk1iS/ogRxtMI4JRUjvG8kBI9EFAcoA0gvcDnuYdtxwQsMgb8AFFcB4Zj04QI2s0E3g4x39AGsLVNWEHsZOVxaV4XJhMfEC75QD4SWOkPfgqtpM/uM8QOk/1wH4cFW9pHFDLEnb4CQdImzGNJAeIDpAMdPzcMBOdJUakdUyDtc7eODVfxk+VTS9p4jar/dfv8zCgJcu0qkOTJvi50UbZ1nlyoFN05c6pqTl4hZTuZuOrzFXTswvx6eBi0LfhiILDtg+IsIdavFJigodK27RodK1oB/e/skbIcOmlMtb3tl1/I6SkgvIQRRNRYCqcJovQAOcRO7Gsw2YeypB/Q3ZI/ihesRwcRhExPaNJYS9HViftIifzdjKlb7KDKPlsf9A3TjGhxNvUxBBEZuxzoEySajX8Q35bDo/k27sDKRNUXvh1B8/406VQZd10RykUfy8AbsnpEduoSSOs4YLoJJYB1Q1LLLCmIleEx05D5uyLn7S/4+ZduXfK1M9KE6VGTjp5RSegol+Esi14qiWs0N3PbUWqVJzDkuJSzMMbxEDkIiLzOXUhgF5NF3HaFoyYCpt65iYVtMEasWimPnO6RMqpjosFUkmaACSr4FdIARXhXHcbi+/BqSQW7txlnvs5ZwtllEdUU9eF3NDPI0LM3nO1IgUeyX89he/ZaRCUtXQoYmMgpl9CTOTXahRaT7KcoMFoJJiMRtUz3f0LIFIkD54zNVb72Hgw7nOb3y+xDup0U9mOHBfzoDdKzLP1+xKw/nKjJH/hO3R2GHkwYUNq+le4sm7FQH2dh8cvnr+In/ws4qMvcaLjkmIy2Fp6MWeBJy+urzXtFUWwgXFO1BOzWK54EEe9pSyEo0cFL8z7W7eZVFtJlbj0ZmcMzK6HX056H1gKvu416m/wC7WPah+ZdRs1bD00Nk4lvfDzXJxgT3CA+j0wqtAE1f3UmOUSMc4THkh9LKxabZtN2zSFFymMD9WHqZLuAx3sx4ZlZNy8rWrKzwSpF5LILftIJa1pIqAGmYs7u/OA019g0nh9gFBzbPNetaADH0GrdVrh/RFnErAV2kU6g4a+VnZ2tZe+p5/0KmOVRCdX2gPe7JIsTawWAUWB5w4/Wr3T/4WybEUaZvmA3M8VoeD/Npc8rJDkn+Qi4VhA1mL2+gz35q0RtjTKH+rF/tGcSTy1KGghDa0DtThf1jL7TnzttjyRKGxHnqY/Y3ETQ07j2iHgdJ109/JruzWFH1bcNDSAgHDC3+/Zyv5GwPvnB1cBL8qTPYPJ/vnyHGNoqVHrFiN1knPJXELgtXeTONj0EDYiIiYSa2+E5S3rfPGhN7JHqcVx4yi2XIrz12ACznD0KKeJLDe16dqgDftC8CUzQBzoNVoIfVac25wKMF+yYJENdmhpjz5ezr6+SlMXxQlUGa8aXXgRlMHKdGq12e/CmPqRvOEp2Hb//jkxd6zb6N49RxpnWSluSffGV8Q4TuQNbsbfOxvy2tO6Xa4ZiS4iFoRTIjmmBB0JBe7NmxqeIAEx8UtpxPSk9t0v7inLtOg0FqsPD0+UKV6kR3GaMgyVgrXet2T15fEjxtlRhgaFZyKBwSmDNoOfO4QpQL9+58GTZv/Q1jIPLSdLirQlRf7JRkeOuudD9UtFuRvC9iE1PWhM4acotxJofY0nifru71R42J/GAJt7gvnsi/rX8wHGkNfndt3BHGVHrPmEqq1jbjvRWbgMpxs48W5LN4t82USQRoBHKlJEmJQyNsulalK6NrFtjD47zBKcGtNfJq8A84WWzV16QQvCRR70iKfBmf91Pj2lN4QMlcm6vSe4EZshVqpjxV7T6e43p+aH2BywV0P63PIZ0cZHEes8BAimQgBCgTGvebqk5yIN3DHaDfHLAuwYnxZyiYrubZPuJGqoKXub8YVumkSNvvFS47ffIlaznqUSVb5YumzEqPMHJN1hKhY0XFeU+3NA2EDq7JAfCYCduYXpWIfxVihVmY4XLX+zelMQGWIzRKEog2g8oHn4MxpkNqTlB3+Xs8nnY0PcD3WwPBgLrmyhWg3LzlmxADf76EKUZRXoRjZ75/9LcHabxYAwg0qdZJqwgiFqU4R3X4LWFrd6tA5EwhrwOfOkL7TAofWKEKihVfYTH7XIyy3w7UyNVY9A4hZCvBtMUSCSD1ojmuIKdDlcKd57LqUcOIRxG0Caz1w3l1drx9jSrlnH7f3JOEVrb4Ui1muLihu+42UfkHxw2NKyQGqyeYV4FWvrA0c4e/IDOdd5LzVqVRN0W+eSK3LY52LR5tCJQBwQlsf0Ypd0pwJgg3TdrQEeXkXMIBsre4E81hR0bIKxYQuvN2At7nZ5ml29cGQSCeqSFlDg1QOw5wOz6fl+BHH5KSvOIpWDPoHcQC5F5W5zYrIHOWu3eaH+M8/KRgJ7U/1X7KQNKszI7P2GcMoCvbXNrsbkmN0jsAr9bzYOLO0v5cDpqCtr8DZhgrTASzux0EluiKdON9gYXL7MoLO1DPlRMWbY6jzaS102/6qwKwU4NwvyGkaWPAME7Sr2tZnK/JwJ0JMiU3e7RXnll/I2g1BVpBRImGzcey6UA+7I6MW9dq3UreQWxbnaH7LXEoH75Mc6/CkKMufwJ7c5AbxhjihfSNRGNiYvE/7adKhg9VGeTzDOZbvkYmN3kQI/aDAdrg5rLCwU8RKSt9tiBxeAOYnfXqTUR+jjBnjli7xHz2TFn1Eu/LZWLYMCq+5uB+Fk/cbusXaflDkCi9eYm06l+n3mHiRDqStJmDl0c7Sl4Vf3eToaJ47jnEnufchERBfAuEbBQ+rmXesMt7cTuD3F71UiPrSjZ+IaILqmEniQuqJBIVR+nQ1+GZ0f31r2lBaJrdHJ66ex09VirVvI4HHCHsVewiZuak5wwhk6lw/fJBsctc13qSz7k3sRUvTSkmb4DDI2F+5zJVanElkAeJbsldjuZGNe05Lcf/5aLb1HwOzysP1PH8erJ7LwCT8PuqhgIK2GxQFHorqQM6YL0+emyKL9nd0dCbwOCVakFdyhDetjI0fX+ic4bhIef3JjHVL84x5C63yLqjHOxKYUwXTCZaiUeImjYRDDnSDBvV+IW+J7hF5JND7kjw+Iwp9KPkeJphfwmz5jloIlpaZ6rr7456D6PH6n5rmqL1tNqgDx2cVZX+6FKd8kt0SjbUU6qk7O6L/3m1kBYLpUHAReAh1TQUCrpPcRFvJkNb58WsHisjqyF3xpG3x+uRDN25r+G+ZXxLaXL6CE7kLMRYAgCuT9jkglo9uOZwcEECEXRdDFN4ql6Y1YUkHzGrSCSo6mKkXMI4Gbpw6FiXJERpVk9OIrQPOvPg7sA2kZvzVtpcgpVP9dzvdQ7NCj9JcwBqh6gQdl8RYjRFW4jYMXKzFLvI8yulDKFbpnjh46JVUSyWM613f7wuFOqpLKJdkF9L8OB2x4IKeONxzn5SmOlopZFtJtLuB3wr5hEsPVXlb2VsA9xACEATn9dkYSsGr/L97DUh6OIqZCAzDzuvWbdU40QAMKX9BHFA1jNemYECDem8iXbYe8EBijhusS64fBEN7h6l2IdR6kZeMbACUwIudEMqN1tiabCCj+y5F+HgnTZ1FkNOHGq3MACr5+yjWNBCegRA81fmaktpLXxRh28p/eQ5G8WYPcHRphOewwp8r1aMTB6SPLhBVrdp7yUbrks3PRmBPC+o5ZuoteqpYjF/ggIBmeENI16pmIR70CIFM6pxnV2N80uyihaxvS1XahWHf3tZbOqMLH7MX7k0dV3gKHzP16CO1PbOtEMaB2GTcx42ipEJbPrlKUixQ03KmSaDyIbz3qYu5ssB47xqfhZb4Ve8k9TtPMkYXzF45xd9H4mZuoVyXyZSrXNW89t3bYddkeUnIQsfwVsOWuR9b4XlXXbB3ihY8vxD92KkEXNx7ePK7r+AbPfSkveTqL0rr4+dB4ux7h/pMs8Fr6m0iP+cE+ysuRU66tTdqqwoAgNzEVUC7ppCW55qR1yrZ2gRTAa9GY/hjgS/MwdSmqaF0Vcz4ORqR17r65SuI5XN92sV67kvottCcI2vBbpTCjDNKdk98j9QWrIltMoYYpAn4r4oSdAZyFVEUwyAjyW54LNqHrbhgj92E7Yj1hragLPeeEdTIMuyExDWZHB9vYLxjO09/qNBi91AJRH85TmnB9GDQdiwER7Kka6O/J1p6ELvkWuaPlqTRPQEU3SsxImQOAQtgqFbqanNHzbe/TcV+hH0bjlSZxjTNLetACxRbJKKIru7f2dDmFoMDT5Zvs2WvkEEbEeYoaLQ89UQqB0Kx5nhVxLKhkzC+PCw3uQPCKxo34uxUNJ5l57rX4tRWX0Ic5AsYkNaK12Q4UpqfJuXkEsbnfFA3wfhEWbrDlAYKnKz2PSgV3Vu3r+SYmsU28LxXlpQQqWQr57lSPpM1gLz43w4yDhIWbEI4hMj8qVngFmWepAgvmW14QmsYOJPXIGzYqghXGjeKWUG8+xGu+bmct0NZn54G2xcgHGJmJy4oUuhUIB676JZgbkdl+omeSlbi2lcsJqk2v5Gxwekg64banKgxdBEsgnEHQLHf16f+jB9tP73XbbMrOB4XHd/e1oNGnW8KBl7thQKiHvsVBbOMktiYj939CQFYkcT28Ac++m7TeEXdADU91JIEj82hpOZIMK9uTdVUpVIT7Gltoqjs/lHcDOSP491y0BZ+spm44HBsw6zHYkyUeQTsXKPqoTw7q78P0ykxGoRzhLe/QH7mUsSDfdlukdl9mVOcMhXWdf3s4D0uwBGZOhe5ghSI9nz1VlNyaBsQSDQrS5VpI5WK/eBhpvloHGPUHPJDjiVONaRWc3tA/NEYgGP6r9/jRxzGB2pwB8YpLhcL9JFegZAS5PSEXWwhInuGDSmBsu1Ym4TAh7xBANj2D3I58x3dAY5D7cHttuA4gBIsDRzyfMQe7RUOmGNLwgnukFNRk3A1iuCSNPxMjRU6gJBh2CvOIVLhFksK97X6Q8BFCr7DKGVYupXov9eqRxHF6Fhoxik04jFF2AivDGFBMyYFmYuI0LKze8QifDaNEoCQE5akTy22aPwk4i4+hBqRJQDFn1PAEQyxITlTE8GsoU1kgHwSegbnPNwPNykqxYLTDiHERcvtOk99rZXmel5JljZQA7QBrpnJOrT0BFHprn3inxbXLP13WBwmUM0jQJhZ6dlAi8tEmNhMISUtQkOqlE1Chv/R9sGRVxL9mhR5nrtwPcL9RQilHt+vBEp1Is9WyYPkIFVSi1wpNivYLrfkCX0N2dfK4UeRD9/wPxspOa/JbZ7eLuCEXYRvOIaReMgg1shDHhjTrvucm/P34gnoriFFq31PQXTSfc76BkcmAIy6GWUXu6uXL7hlY0f3PKYxgrDgaCqtG9AznH1j33qNWsdyaLD5DEfK4kZAzPDrTtXzKbFntfExHtN7UqKwJQI2itag6/2JmmlzsRmb2AOEy+Tmwl9bz5ABaXpLT395mHORMIL3+mxUrwePabsAsOjC6sN9jsOlRzVtVl9MD4Mk9I8aE30b7PmtAlghy42NqAhWzmVVmnRY7OVBAYAJe1aLKz5IglpNokrU5Csc44uYjUJwoATGyUUf+3N9UzLlHwSPdo/lKN/7S4fagYPlGYnbkrZ8I5VrBrDcMxw16LgMyToGvyX1h0RJBLCvV1gfV52y4apj4oihuhaePJe+wH8hrbGBtDqCm7nlB3lrrVrG4I3h4GknOuOTRvT2bfZ0oxe+1k0JDNZEnvIDow6kcFr0hbZj72WFc5aj+iQc5Z4sgsUf0o8mg4HHVyMCCBTfWBYzGFS/HStSym040RVX8UVp4R/kgBnLSnIE+t8+zv1mMm5954Oi1PSGmKFYgdrzRfkUq4OXLoFvAbHqAQ5205MJYI1DSOGfz1vCkRqcY5yYR+UvsPdXjTjk1SNaWjX0OW62t7ebNGG1EqHAtqsQX3CxriY81JP16MnK2ugw9jaQ31fkAqd3RP3bADvMuZXFYmgF5Qg5Y52RnOg31c4mXgKFhoQrPmMkmhHcDju9r6dJF06dlxnY4Cd2BTPdnF+QJdTeBdEmi3jkX7m1EBvR793ITZZRCgYPnhdofekt8dxNjZUw9HL2F62TsAn4+U8fOhhRjV8NYeWDggXsAzO6fj/8R24P8yJziHifPUqqZuhqkSuh2MlJIgl5JjPGnHvDlo1Golf8flO0rKmv5EY+xV+MByXofb4vXt/nbGEfjFgvrxVocoN4LNX/3D28dZfZa7r73P3D+VBO0EjX97mzBDKkdDmc+8RKsdxqk/imxNazY0oIA3i/4rMsK1/5+NDYPeOFBDwa7Kvem2eJO5Fw69qX/MTiX1iIa4bHZi2hCMJhlKWXABB78yKI7y1K0L2BRrb9LB3aCRx5Axf3qbqDN4/M9ndXgzqARp4Ubw65tu7h7oN3m1qjv0Nnge+4CsE/jThQuwasExU+TESJAgER0zSQa1Dd6b48wn63p6B1rCJ0xwK06N3ZCxyDz6A1hFZiNOJ7JVBYkAUsVIKHfuGJVPA/FRLnoc717YkYuW67RfNb7DGVPKZnCDqYak3HZ9+diYcqedEFTsv8kh7lqDhLLq8mKyzTxgPPcaq447wrnC8nJYe+4keWQULeNX1bltONC6RkaQjo/4EsgMQZ+j06A5Fu1+gxr1oOOsaGxY7Jz5j4U0tC+OUv4sDNhJ4flM+hxwuu7wAaG36qdsq7zwqZfme8xWauhvS+wrmbRK7n7nmM3ZqOPuF/UVxSR4OJ0hV+hJXUzWGMPGFkDr/CMZMb/ovW6OA8JtiUkePvCGS2s3Fe2TWWeS6dNGoEa3Nbvga/vFB1ukrob08nx6pBqqbB6bXrdZaOaxu+Zmi7wPFCxEi1XkfSRoPAFpztvRxqmS2EFAQQwzdtfBVL9HGP9vrERGBZwWbwTZIreFWylON2qAnIFk3Zx5cY0hD9lZqb895wHacjcPDuJXWHPeox/RitUJHkcn2mhuqvYFYeQTZQHntj7Mta8PFO2zaSN0smtoyLck4B/nglZg8MFvJTJKrRflSQ84n0a+q7Fu6eGXTJozHvNxcX7PO5iHPSowaN955luIkrM8o/jdWiuQaVTA5LHeumfRH89OO3m16R7wubM/dqqJDdh2cHS2HDz0qqUkO5d356cXDxIlJhYrDE3XT3yLwHHiC0THpt0FbU0swyb7KIy/XdwRY72AEmI90P4LgZz8d3TxCZk2L0veqUd0XWAN70JQkSz5Y5R67akcUU8KWerjK/WfGbYkoXnbumsQhjas+qmcCfH8nSs1z0xhFzFeTqY3jngBiiSKR2UAnzN4fKlEuNylNheG2uNpGDQwAOHqfdGRFcOwwKNssHwZTnM28a9SHuztaN1R69qG4BA/3xlw+Q6jr24dS5fzON4+DCq5lYdRdgtXIVieoxQW97cpqLNqyDBziQi+fEaT2YMGw9sJZ54BjTa/sN/81Vg5XDLhU6Ji66sQnThXmWqVNakjrPZlCs0Qtl+BUy398/z7cTsS3BjchsN3bPUNkkbrwYMULT2tr4Ki7jDbJnoDAHs+jeNp5wVWiwUFF10uZrOLAO/MjhCX2u79vPYpbYTKS9t0wFt6goI+rmiQcit3r9Bv/HOqyGZOE+neZzLnuYFgQpruIPbujnZlFJa/yz5owdFkH67Q8ULBjpW7DVQbLqyzM5tzioPPzjFTn6OXWeD3h+/tMeogBwi7YLp4zWksDBkAxhiBLrgJC9CrFv9Q0qQyAkcQXtnD+XF05dOLoTweo+x6fIObNWHUKXfmPsZVsMxGoezPrO8WydEKYfK5AbDU2tmxWZ2LXuqgT8wu9BYLd2AnMoZMlUKLqnZ8N3S7BNQ4g375//TKpivqWmNOpmwjsHQTyZdrFeIrnIa9KOrHDvANAAIuNTZN2o+JdPPdKM/7jwAz8kuxsmuo9B70mX4BqJ5lHKQ5Pwm3/BVFSfn3Wq+uWeIufn+2f/IZA4TqWyy6DBCG7t4BeamTk/nUweHVJYdA+qNnuRpinXeHuZJnDmXsZLgz7+QsBYwp9+JApc1nWP0dnLBrfQc0W40wzTgMuDBO1t9gSz8Tcq6Oj83OmfM5gh2RRpAp/Ayyd7sHc0s1eDLRhN1At1HruaCeB2a7d+s595NDw8CGitOlfuPD/hQTbmuYqwMwSs53MaqeHs1TyfBKisxK7JPAAoiqJCHGIWGVQ3fBdx99TpWxbvxR8kQnNMMbxUYtFOWW1Z/WCL46IlUW3bb5VNWkpzD3V1x8CMnHIauwIJ2j0XQmN3AMp10sXkqNz8zA8iffl45kT6GYT1DS694EjutBASATeutcFuputxEaNqLFLpdFMUSy1cZw6eqcRUODmD7uNVsrK7YTZxKWN3jF+FOQcTS4uEwGAyiLMxeZ34bkZ8sCImeu4jxLlB+wHA4kAqhi7J2n/1/4TMafr6NdwnnUC+UkGGwPIRWWWkQkCzxa20LVoEJc3FWX3FTNeHzBOMyNLriyeodBiA2iATDc+iBH/FoRjsIuDfTo0ZC9d9J5d+1tx9K8h+TaAR+bRij+IyBpuwGLNwU7ccJ8LHnKTSeMGRjEa1L5diohJbv7dJUcXBN7dG0r2rDA5P6IUWmGArtKeLRsg"/>
  <p:tag name="MEKKOXMLTAGS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1h9D1Z5GDtPW+wuCTrU5cbsTyeRnoM7v2+KYfNB8pPDHY3/N/nQDLg73FVUjs5JX80ZEMdZ5aXYVE2SrM7ljDixtoKhF4R5tzsuuZUVsHAcuNRg/S6dWV3/DsdPNt0wsSzx5+btAwE1f6R6FQ/Jl2dB3wwdlgH4xZ9qIGhNmoO9NxvfQ0A++rrVltUHy5so8SRD+ORZkdpXSsmGGIG9OmShgqvoYjnbExqaQVBTuYYt/kn3nyJzDm/4DWRmF7l3GSelCoMWygFWAi02v8kYrK9cKXkvNX3//4nHhroDXL5UESKcn0BJGvsZggPvLGgg2HcM6X34dvzhgkxxXqNziLPE3/Fd6MxWYsLVYw/SJwbG/cgtR0djVNSq1WNsi3IGGgmy29d5R3f8G2FHPZPqhBQ6u4hUz0XrIRobnJMP0KU916Xb52r9clIJFchFg7mcmFaNqFTRbqo4F6wbQ9qz7c3yxXNY6i0yRCabZzQ4Lp9nRHIEzSSvHzjFyOpoCMrN7l30G2GRgtzEb9nA9dTN1lp2MWAB/SNmzHqqogJkP33StoUXz1Dza+PAuXMmAauNBhcuIfoVnw3NueeTQPg5MyvLWsHIlPCFo2s1jK0hTYzm+EQyRQmwOBAK4TxgZGYuYYL87j+kjaBCEZZIY93Y6y0tq8ZJdMSkxRJi59NNO1O7Uw/2hEAEnYxHEgomIDvX8V66CCk/O/QcWYYC5UkL19BQ9MLUmyHdKGqPbE0gY18DgXrORC13mzARpaiWJpkvVvL2FC/BzRwRVUclprxMezJ97l433WxA2TfutWmMjsqGk4UPHowvcYURSx/AX9hGyzULEbxnFv3jGW3YcMoyDa0GofUPQW6q3ikn9J282Z3ZJ8jMVwnj0YLeHS2BCebvbSAgUZWI1fud+AP6weqEUAGdqQgnVqlAMHsPPG3siFHN0YJyGMbcpHwuTBRbxcsO+7vFcNuO0cqT1kpC4YwbTeuL07HR8iRDMmgVPdmHJa9/2uKvZQacnrTfrGQkNM2TP41u07lRtkvRg+I9xCRBfj1rRYnFfSC3ajFESof/cXOxmzDS1vnTC9RVEWyncDX3SCSopZ49PwQfvcC9Dox4kxYvjNN+h7JNW6JTiiZf3RaSk3SwOrKACeRERZTvYDLxPsof9CNDKAARmoNDZA8hdeSQRNB1302Kc3pLDod+Wiuldowe5t2JLY1+hI5GFRsPmlr3clQHlTCvcG2EFo+d13jta6NCx0zFEywCjIHd78hXWqmOMRbgVw+p+CcdNdneuZXe+cPfIQsrgEeyZFiKwmKwSF7HT3WfMKiQMh5RRabMcFWv8uOPXYszIr/updAosel29tvZv6zOt57Aw4bx7+SGIl20a55h5sqDG8AKgSqU8FzXna7GSW8a+VgT3dLOgJ3UFZhYVvHaafPoneS4mFqwQY78V4ojM7CXfnAwCGAXzaCLzPcjrAmiKulJSoCjY2T30OSnIm5JZFEJ0FUDLJ8w/eh8TTfj7SE6iFbIc5aP9UPnNl8yRu0MgA/lULyCJWdHyfzPEGBsUijZpWcRoAOjHIdc/NaRZtWOcI+X+/IzFCj9QPTJex0D0bSERazNwW+L6Pqgm+1iZdTQqRjJkKj9bOwjCcHYtQdkgcsnTxlQUuLsEVeuC3NHofCurTe6ZRkN0SUHWpuSu1zkW2Hh9KgqzZbOeeU8SVHaF7UQRMm+gmszZrZZT3j1uzsSi9WnjXfES3Ufk1rBqQapdCrKsJlPFen+rduwIamQ1VVXtjpdzYsEQsTlTZhShoG86hkFGtCQW8VhMhzak2ptuLoFCCOHb9RGuE0FAKHq6E3aPvvtQiEuRTf4TnuuwmYbCQLYI1qyoWYFFlne+hK+CPq4CDdCbTRFOZ1l+bM9N1vSGhPxRJoXts/G5NbJkg6HLtnZzX/ZJiG3c2ynObuDrZic0x5hPimClJ1Alywphjf/mjY/N1jnwkJDWDzngPpO8FhpsJdLdNifrtCqaCb0l7mO/rhQcwp1GdXUD3EQGPM0JuvveyiqZN3TDLuocMq+FAOf+6apHy16+CQy153KIPi+MCA5xNTrL2qwPUVykmPXkB4QMkEA0hde/ed20bsSxcql6Kw1MAEGxp+0IYOiImxgs9QAkoTlTi1GvplMo3oO0cj2RYt7ivgj5MFjBEljnp9v8FUzAmWGr8iIycPTiMfaEZtaK5XR+aQzpxWMzi+q5WFxW6QTulj2Rm0ZmJJb8XPEvJ9DZNBwyPCzPEvszniDXxuLjteb7IsRQuLHYxOk8TS2+nJHqFQJVmTpaCZIF3/YN85zhjkdyBs4CQnUAlkIboL5a1iwuwnUVQB3xTi4PirZaISLv1mSfNEVephcf5iYmK3w8AutafiN3ZijeYh996snM6wZL1uCSihcza7U9o/lmSbrk+sBfbCK5oNZZRVXr0BSLvxQni0RzWOOxQTsMltQSvh5WKl2z1Hnx/QXeXxmYJgp1nDSD3VnMYnrTxk8hQw2S9mmXgQfT5ctXrgiS7GcPL9cqYh0nNX88m5Xodr/mLA7iikPDBJa7n2O1LrFCDnwNJHc/HFMJy4Fq+hPSRXfDb6xa+gCHrXBVeYQqC0ptAfwIDOfcufgFjOmoQ9AD/dBWOhYYbnKn4t1SU2d4AiHlUEwgo+7bNGFHvoj0+SIBApEp0NErrUBbeYV80oHISPVHE5MjjoK01h9QwZvbj3XDzeZKFXGEi9P7ncK0bh+MK1gbSr9ag3GopI1jXIss6jDQaSnnzb8JgYGNvtBg+v6VawhpwmWtohif4M8GoY7toBJWtzk23D7+Yw4PS8EvIANZz18KCG4Hb8fu4zanS0bac2RUZjoYgBG7f0hrKEcjDtwSRwcW8zWXdXIXMkMQ/TWNDlnARur/VW5QJcsBE5AtXXC24lAEghMTY2VVCVaSz2LPXhKFc5sW4LujE6ouV74xoBDMhJwcrnh2tcFdAZdFUIBJdpKv+KU+RAT1AEaNsnqQKXZIOezCuRBUnrcQtO1W10/Fc1KVfY52fDlmK1ObHddKOTuPdlwDmZcgpC8sCQSZttG3ti8EWb3QMNwlnR2vhpBSCZNBFdk4PWYMY4bWRyZ47iuOWCFYq1t6hWwewjuq++Atu9Xby2MxASEq9QhHphBXLnIEy5hu0xUkrvff/KiR7EXbvtoUIWXumfOs+OqUQf5PbJcoUZe5y3aGlvLxcjeqddT6Vy3e8eCJIiXWtYMTuQ9UWObTXwbTI50crJfvrQg31wsKCJnBxhzUdpRdQPXLz8m+MnIVbfobwG4m5m43TM3hEGrwYJSKyb9zPc1V/FZuU02UJd2t3st1Fs2aBPAauglR4DhnPu/bKF1ydGvSpZDtemD4SRbK/OtAqBqkyAXp/MSrdcyQVBOZ2OL2131BMTJn3fCjJuanX6y0RC8OIsQqD7n4VVkAW5dM2Y4HbCdi7EIe/7+fenYbjmGQSGOF/ClSgYY/HZVSyCAYkTmZX+C0gCHvjrMKQx6Z8/dod7k0e2AWoUQZjZ/mmt/Tu2v3QEQr+nowqxwBVFK6NryyOHXeQGFmuakOS1ke6N8dexCvc19mAc7zOqwW4XPPOKT2VGCyPNUYpimYsadNFq+10w9HMWkCxtP/sGOqp503RDx9sAj1mfWnp8sANNvvMl1wrjGOWy1oSobFa7oSwX9LYyp7sU04DoqDR/qYuVC7pODlaCtP0yT8nab/6zw+JUqMUWQFIyTBM9FUeq5f34AegbeQb8brIf/E272af95iUXFNORe2/y5+KnXCYOvMZMdYU48GGrRGc1QcLHNKw3DRly5VNm2H9Eue3KwDdkMkzcfN1ev0LE6DNG4chgsu0u0t3iDg/6pBreyx09Hob1wJPIF6WiyCOtwzKXHfgZwyK6nr4upACy8J7e/YDjbBy7EgbLS1eueRgNW49Epyk58U3Z+kkj0pHapTS9LJ3haD06JhM9Ki46EGVafRVgE0kFgnwP1tit1Tvlo7dftCWP7QXd8qObKM0Gh3hV5b8RWJx5SDcjWR+o2/IrdsLHJWewpsM+4GkhLsqujxzLwOxWchbRpw92Bk6d3+ZzWTr8M1c5FwOGEVECkkIHuOimqCx0H3qRf1OkVwD3RBZTTEJZQnd3D5USXt7lZRPrPsTdXiFykq8L4FMqr3hWBTY1PFdc+Y0KejWVygB/6SKrFyIaOu6X9OrdjB4e4yIKDXHDkYrPDLA+/cyFRPdCr1wrR9ZRKA8C01T5F93td+beprAoK+HdCcuOgYh33EoejtoUbuxf1rH0QIND3mdr6kQKDpIenuHV7TmrMqNz1vQgkDcPEXd76gPuSS0UYRSXigUYp2Y194OXGrwiL4lLDjUzDmJXGzHyzgm03BfZ0FChVuazDpChn/pPXUL9hXj0NAxq1PY6zix2Z7sCmWTpNa3ogs/Hj6QR58mVpxBrXBgBIzg447M+mG8KL+Jr7bLivkcD8ksqt4HuUj5wnp1PkRkebeHXWM8XNIadgSrAbPQN6PdKMCysGvOnwtn/rDvLON2iEzUka+PPf0vYb7NRk1Z2zAewoL7SNQSGJYgMoWJEv1TBf2ZFl7KURXfCvKsYRyq/l3dzPxYCUNOCqwjMEtF/ZAEvbjnFiC4rkZ2qKWq9OwMzWGWo3P1Lfkrivc5u4Ls4y3aN6CFyZOqzOBsyawvPSJT7grlcz7pS/YqDV6qDnTskHh4Gb0otwJXqmKBSluN43aPi6oSvkGEvbgb0WX9O0ZXCAYOm7ZUvwsRFNRU4vbK2CLMfrJ+AqYCJQwek7z7PBSENtqSQVmENNHN7KjKK1KKG3U93BVoyyaiA6p65FKJPx0hkkR+7fW66LoDq6McECPcp2k181gCYKpOXyRml78LT7WPHm6M1f1te/yIIM+RzjxeInETl76Dda0KmQXHNIaTtqMVXkM3pSThXfTwix5W7+ZnkZAP3FUWOlLjrfkWHSK9QDGFodvYhm/AJamKg4p09P7OF60QtrZSULFMZ4uZnZLBPJclSNcDl/A04LBBltDgi9v6ySYsBiivJ7ZRD3+BE98s6KZYFG8Z1uEsMrvMEAH1m52Yqr7bqb4xgSC0Dei4HVxD3s/jF6W/L+vSSJ4wsiWfviamlvZfMzAVimt2hpamJjzXQ7dxsIiOZG6/ZKuSxKifEBIqaLpp5UiXL9058ITpcqjmWoA1qzF0GvtgEzOY99sflMZoPvh3x/1bIOu+y3umFeniqaPN5BctVO0Hzyx+wQWuPjxhvc1+3d04J6iIlO/Cs2ppMUd6yrmVH4JcCCXxAJRikFwXinkSefOhkZn/42b2EjxKP0QQC1KSUiWx6vBPPZzLFX0vuG+lmxB+2KBNj9myPmv5bg0Htiy6OGh6bRE5l54m9y+X9b+keM1g+8a11k0cyqbJxGyuLu6qTST6o9OwaOKO+Q0NaUeFGtPW4WkhslKsozuyZbWvAtUuH7SBHT0eRpzsFbHt9DxlgjR/mU3VRSInfC/AwMcZhTK+QALkurtFk0piBhMxpBXCJO+ON0zm9dPg1CkhD+W2X4+DOK+c0qLi9a/ogiTekJT0RS0X0EGnKjgPcGvpcxljyo8QQPanG2bABBYdn4gfpX5m4BwHJJwVc85FJuGcDHo6zXxQkeS9+VhWI4Be5dnZY6ABt0cEStf7AwXqil0nEaZ4ixdHxHrxxRb4HUrpbhbG9dm/92FGYbqPc5mYTA7SUJOEmeAoQ0Nn4teiYXvG3/iZim2cFF7sKlk0f0K1vjqS8MtAvUmu4CU17Cbt3EUElLXS4dtCbvwHStz40h4G/xSDrgSNmdU5irpH9a71MXuWFQcHz/19y8a4DOPAVbASP56qL5YItXfda1ZQwafS+2deNiUN0C2DGn7/1qDBF45sd8z7a01gOpiPXblw1Z91TDQqfJSUI3eP0Nre92BTEfUqw/biEU/EIZDVPb6dbJIysz7ySZBHbDvmQjmujkzQHD32lxwnF1yqRKiu9yR57tL8x+YtqFhq95C9h8yhnXbIAL8uVWBPbyMprXErAOiCE8nnaCpCs8K+iXPxSoJ2DBH3cRV84K8dKOLUrLbECaCrFRISuqmZ6r5/ljjvkAY+wFuHdpjjMbEjoLfm/GYEZrbI8s8m5I5ikwc22PgAyq1ZtMEKcEeXKMl7kVm9laEZPzqvMX26nbwShfRNHRcm94uGLZyQiGb/lpgLunUz+GWny8pzPQtgkWAzHh+0HdUap3MBeTA1L1VOSt2UM2tEU7q1g750jSat4ii7Ntlgb2JUBO7lQMavcQMEfc036OhFAm0jLmgbJNeYyASFsHNYHSsQJJPVdiTwtLoupmWe0IZkg2bu3jiSEgM4ek9fmLJqVwwxGdbbE33NTRME2sk4LpOOJNqyHND/K+WPB0vYRm8W2McTTtfQT5JoEVXOOce9SyTxDPvuyBbrsp+NCu3OcABYj6L98rQCP1anpNjD9EvnKgByhzfm59XY/qDu8HeOJWErs17OEzKf7nHMl+cAgpkqwaBweQtF0j6shoBakLp43B0pmqGMQuxjerFO05kzyebPb0WGgHTF82AwxSoPfcTpCDlsmiauihbYmoySyfer3L4p232HrgTsWIQc7W9kwThRFnrpi3+SzXUAW7uQa1aG0NpvMdBvXfmqwMtTAHnTxHEktJJW2cpl44kVZNA8ECyMO5bDtMgFzP+qwUfqFfT5UD4zBl+DdP526JO+HJhFHZ2+1IE16QFf8xdz+D09s5SW589vI37x2xgZp2eXWYp4SXBEFhkwFyl0vHjufPmF1SVSajpKhEl37xaDJ5SXArI7NNAthKeqE9kclTrHr3IwqSwATISVeuOXEL3krAgWA5SPd3/6uTVGR3PYoBspcOWM78lb1Dx4MSLyeS9vN6kABftny+fF/ajAc0SaPLm5yGXBdcyhmpI8P2TFMYpSlAYBAreQKWUfEBUR2MJHQdpIjxgo1PxkrZINSfVNAzb3511x5NlgL8RHBd/GX6+pGHvCgeF4lrTJrBzos6oRd/DX/gewwcSL0UKcHFOwAixSdjIeAHhuWtquuksBm/AnQlaN5ePrtSk4dYy3iXTpq+81L8JzAp2F66LE8eEI7E8QuFxKUfr5OwlqPVz4G7V3Qxia4LW1BFtOkhm3gzoGG2bhEn2ITBmKx2jruJtw3bc0tQ7slpQa7fKjrGz6vbrl5CUVDynTNeIN9XWkcUwOf6He7n7te/bUo4mfAFfOC887jDQ5jYKsmh+fI51Lcfor1Bv2qUZMB+vTh/ZphoeBFU9UPNaVWFTOMjykIBEDTvEtIZwiC7XSsqeIAZFJ/5RXDdvJAXbov1swHy0FPq2JfNZ9A+a1U9KJ1koWwDKxVnPpIWQofNgNQkFPBsbo0WdhqYoP7kuBxe2bzis4Isy7yMemzV/0rbLOzCdpMABZwir9Sxd8vKGZfjaWIz0a/PEQDUEC+N6xk99Wv6Xdot/8yRMX5def2fqqYPcWBMLDjAfv1Ek+3PsbeED1WfI0yF20YgGNKOHPKUVT2DDdFJFbV1h0CRrofpBBmBv/U6BrCS8OUcEUBi58t7Kl8R7T+Geruwpicvyh2rKkulF6gk/eCBGmvuSM/zo+koM+W9Re20CqsKdKmaciybjCa+3dcMhg0TYytsMjtCzTv/MgWq9vOfk6jEfTzFKinD4N5PYdNeVdS/k5DjapDYhITnkITmetdl8r4Phf+vvCIAe8P5LIpFog0BdV6R3hOcKwS8I9HGJz1KmEtl2sAto/rcGLXGEjppQbgMytZMcPe3eihysaSk7hwy2IHCJd/mwTxBeadm7MhPSx3n9fX3zMNTBGpy1y9aEQrSXsrt1OsrxdSoCDddyoWE4RpVUToCJf8AOnkdKFzJDeGjpNCCyZdJEXc6zrABu/4nlj3m0Ik9S5+sB14sVehz6LyqAtcY4i4I03pU5dPe7f/FLLLDVw6mlQYTagrIIa9BP/jYXz5lGIvmDSC9PsTaoqzf6k3XstTk9xHjMhZaDQod5Sfynnk3Y5J72Xmst5eWopmLXNgRsHa2p/t421+p4xhpDEAKXCLtiEF4XvnRBGyUEYSp5R6KtYRxgkJm5amda7C9qdxvXH9Hdm5IDDr3/U5b+OStncyZ4bG82t5oZmPz2wvKF1KqEOMMKhHgyRXD6AVfurj8HAktbirBLEzvNZAFUPoor6Q88cahQctGRfMZyabKs199eSxT2a7PiU+qZUmkpNNaxuSG2YhUJzehWOOyXMjI2zd+XR8xsANitbOcBXm+2ySPOgNE5rqJR02T6MXqHVQdmKbGdXl/vYQgqPjALjlTUnQBOWfG1ZUqyMeDGqgicYv1HDCrQ4qQbeFkp6b0StpCcElq8OyQSFzcoSIT3qSTx2hNxRgv51JoiDVGuuE/wSFDFlDz+k62qAjEtCNLh1bHetCsarUJB3cS5XLbMBMhFQSWHkLWviB6AHu/iXP5jaltJPAMVg0Dclku6pOtSC4gyDmQ4jG/LAslzcQvvBiOTZ+TgSNZHoOSLPR80mkUx/vrcScZPo4vnI9Nj7Vis0L/P4Z8fIxURCQU8sWPZJqDpJzwKGIjBYqLQK8SQ1sQ0A44Nu5uFZnDVtImSuTM2k2FK99TVJgceXJSsZl00NmU1X4AgZLY0iWDL/S5bFLUl5c9I6V+iCidBb4sxkVsrzW4n7UiHR8svM+hvByKYuMmYQmbPokTS4k9cCczD/m+IfugyLEFNVU4epgMe+QNUgfsYHAGCsnJKF1yuDxOehbLOk+8NGY2aJYFa2lvSF5WMr9K0vhT1++AhfEJCp4+2xU9gBY/X1WsfkWdhX1jmSNcUoUPXG/fV1OHoNWXixwP+bTQq22oNm2im4II94uf/bI0BaKeoKr69j9t4eSyOWJFy7jpJBRgngExBgZw84T0TCzHJ+n0Bd6UhqlVuJqPuqFj++zL7/RIrvxRryAyD6fClK9BS/EjIy7x++Lei4Gy1Y91zeSO0FZ2kQHMS0uyzbt0iNOiYxUxQ/ywd5G0eIIgUv44ip/DR7QPSxTehVkq54IGSwbW9GVBELESeiKSRYAMgB+YjnzuVDVY7SRdC1SQw2WngWOI4cvJr5QGkgNH48qgGNkLliJC3bYwnkCgxgp4V30eIWd69wMyTM+EICMacd8LXl6i8GpsWilzi26cAaiD9HxjiC4fznanhLOglgICUncNh6wLoFvqAG/4yTD9dZdMAgl2KAnPXaCvHQ4pCtlsG1M8C3ndDYAAk991LfRC4+z8xs9p4V6nMDTCIGsp4vgmiUGfMb9CGYuMzyfK130QCTAaHDOqiNa31D7hYHzHgofki/I8ox2Z41yCbwcPg1kUrFhI84EXmj36aZg7gewjQieYVvlgUChtNe9HsVhxlzJGVwjMQJUr5L/VlUL30pgOQZ4llLIgD3KRPobuHluWiKmzrd4DoFEWAXSya1zSc/aykwSxCw41XOqF3gDQnxA2W58RRgbKcdhLFWfHpTa+H+5ooQ0S1f4P4kkicfp8Op+7yievjXLCiFLWLn6Dr4J75ULLL0mLPrCRO9QBkLLAM5w2pfiLy47/jrlYleqnVbZ659rmh+Y79baEAd42INprYI/Drhhc4r4DVVxGH5XTkTw96zP746UFs6QIhf8l7Lmuo7/fOmq7aiYOn7VNxBCotVwINLW9+FVAR62tFkStq5i11E9cto7fzq1bRL2pMEBMWGK9f+s3H446NbwPbHdjeaH3mP3UKCNaomljmN14TcCRHBco77NB2vf1YKRDZK3H0UUQ3TTy+pig6Bq4r1dp3Y57NmIW+/SoNc/w4ktMpaqgJCaslLN2K++Ps+dpyFVL9a/9tK8gfE66vK9jsE79LbPAEnKW3Osg1aLdWLR840NfJeiWlBMGAQtUCObkhIIHoiT18HFsZHi2ljXpNiKpYpyADxRXGIkAo/vGUZYCwMh0eQLrPWZQsjM9vsco3/KCkweuQlXSChCNRrMFENYnQTV7/7Jog0S57VRRsu4mmGNhEnw/8OAF979IYk95q0+Ot9VgQlRhoxtETDyzrGbdI1+1AenDz4O3zY0wVVRoet3X09ULFnmLliYVz30k2Y1e+YimzZ/7tsdkF+seqY25IKEFu/atz6qtX+t2Ryw4bknctsO+PTK2BK8JKgauJVvEZZPumKpRjhxTB7euRH2TYAHUHqElYcH51S0PDfiSUDc/p7CZLcb4ro/tO5jeMgAPP0mlU/4mtI8QlRQ0fAn3kbdXqeZlUPYbukz/br7tsnOqZ0szFbAVbxbXuFC+gm8DkrlkmtVBYhAp+BV9zLWEBbajrc6vE6fX+rJBcHimcmDsrTPa2NPGOaJSXFD9+bAls3Wv+dfylmMJUxpwIN+u+RjMvWLDJ4d9CHMdef4HQEfH0NFLFG7j0yitTWBtStjbvjds1sN85fmP8J7LdkcgKlObfAYrYSZ3xP81PAf98f9+TYI6K8KuD/pvX1h39avdSqDV/TPFFpQSqMdMUDTePTDGlwIyCLoSUbsUZXhCMshsKqYJ8irW+olmZWAWENTdIFXMrQvG0ZIsuPyAow28idKZoP1N30BzeSUe+p7rLve3X24v/nzbcwWnuT0MUoJFO803kdty+ktohNXr8GGtb7Q29bDbgrAtIzyptZBbpSdqUqCQgquB5CNU2lEJN2QXdCntD7MyATk0J4gy8zBRNIGPOAhRxXPlT5rviZTvoTqkHIvGmHMpaV974YMPYs/zNS8rw8WWRSCu7vAN4iSzI7hb9STweDFJyC80q3cCLKRQcG20O8LLskVftbSockzoFkwGWoPGCZi4YpuMMpmnxVYHAuE9tasOcUz/ZVQLqzhq4jnDH7WN7AF9pFLySW4wm5maXkNU2dWP55g2iERWdKDXFXreYpWVFiBkhGUbqmcbTcy5lu/l7qliuNEPedcqPiAL5uacvY3Drio4VZZYjSw9MTZC1fdPMuPcDqJ0WcY2lu08uuzJkTHHxpd0uQPIW1g+a1xupAs+37+VDwDDE0ZIIEGionz5e0cPxCUnkF9DlO/Bzm3a1nWj4gSqUdAxTdQ9k6JhbIejZjXVgwqEvKY2L9XwSlufrP/1ID3xjd97H2L1vMRasr0uoQVQ72uNOY9HoYYhrCnukDn0ONbPOr3DW9WIeenrc/YTGb45hn7dJ/rHod47RlZypk/7DrwoSdcbGg+4QSByC5+QIZIKk+SkEctGcW1zArBkxmqO4WBZBDp4pba6vsCyGX+BuDPY4q8jDPACV7/7XGKA6+9w1+YKSIKY9IvygrX7+5lI1h5oxsIoTp1FMJWIfta8Qz8M8JVQYhzIjuR2TPTqgF09iuGf63C1mP6qlDXPx52mumHfBPP7/KvElX5JXY64wWgeMSjJzG+qzts4xmCMGHJLAVqENR3QOp90TqlGByzWYZ/QP6HpzUfiu1LgR5uYb4BU45adUZ+Pudy0eL1pwudu61OvdSBzbapb+9JypeWjz+wq6m5S0ZER5DxLN6fPlyRySDoeIQCs4FzY+/Y5M2+6fRYN0ojf1HSb/fHL2o360DlDG01iicgPTHZJZUSEuICCn7yL87iPfstTYqTq4Qs2SD7cpNFw9T1gHSlY68yQcPZkRCziI9I3VfOUImrXuD9SVrx0HjLZh/T+4qWdHQOxTIvnqn8WcQTRgHpa4r/xJFTPWfWGSgBxFomVVgs2ELsHgBLYK0+Q1aeoV2/HTEx7KD1LrlFsc1bKOT75SSmeFHSQXKGVhPgehwwpF719+97bwxAL0seXY8+F4udMDx70yDMTwduiBhxig5tIoNXZ5/rBDSdP7gi9OZU8dvBIaUISvTQkl0pNBJalHlvzX3Sib0B4C5BPwV6L1l/bw8fGvKJxa5fK0W5NNDniubl7H57uld4IwfKzQSrq6Of8xrljSrH/wRmAq+2XcHA9FT7KOJRKTrQ5agnTPjSJnkNU4BQYQu7rC95mz6RQf/3v7Pc9zk4xu5phQVdU5wfbeD1jWByy1Pce6Q7TSlYhrDHjgfo2qva/5ts6ZginWQCydfSc4T10TO7yFY8H7iN+Ibe9BGKCsCOBIvrwXJ5PrFla9U+FUd+Wz4xAAYdKk20eM1XFznF1tx0rkOcPEPJTec1MhCw4t2WK3tRryhAuBJOfbDxwUyF36zuX2xpkOFcxIvIWJY9hOgaP8zIoLi417QCx9FlQF14ne9kM9uLIqhn3p0rPmVb2C6/onAkYXeGIIdKpWiDhjbFVSUCPeXV7J52Ilhm3jdqN5QM3KxEKBtTDYwZujsU6VmewC2JLLt1QIi9CTb8qzPGaVsmtxfckH7h6G64n4+ckgpC/SwlD/8APaOlp5DDa0/nob+tbs77rKEqHREeok2BmBJpdeh15+oJccfou9oUUdlfQfOn+mGZeYnxJ+Q3eUvrYEs0irikxsOpfngvh9EDVU+yxOdWn8D6hdPuoNUP5fekdj8wpI5CG2D/Xbh+ezTOTC+rCjIFwhEb47wEm6boVLw1ie7oO1WwCTagthetkg26mZJ4IhMLe6dhHBY7L/0PkoVk046j0msrqXJZhWbzQoR8W88m+A7Gd/LvulXe/mKyN4BLvKRpk1d6VS61Ku/uLH5FErHRk4DVATWG5XR3NMRIQm2bHFKmZBENbOtF7tjbzTu24Rc6yHccv7xKcNkNw/nixpw0jN3sA4MdArFzjqeofMIL4AdG1ZnJPipowCp+Y8Xtukn9JkMOExVkdKcGxUcMcJMrKIaU0IkI6eRh0+eERnlbcupbwXJ2dc237JCjz3+uVVYFjB3MneQKSESAgItMoQxKWDIiZCrNrp/AlrfiZILaQTFodVSTKn6hdKouMobTq49SWcnOxI+yFCjbSmOC+qzQgWIsBvyT5W54clg9JOTggvh8YAsa/4fsvu9VNFoxf7ZkR29B3S/fXW85ImSQoAb0YPa1ZwY3jFijPG+Kby4ZwkK4W4ORVhjtzS0ApuwMsVRccKSWxRCe0CemnOxagnzzxPdFBAjlhqLQoyo5Wx2XfId7xUGgJyPlVyJeazxzLP6Yb9TlhKq1WUk3L3gDZKzYprHC7npCYniF1yXUhQVOZDLnTo7CPlINW6cjhxbGcR6F7vIcqMjW4XlDiQaPE6XCbNJmZnJC54Sue0vPCfawEQqF2iRyvMSlWnjo2jxVXW+dJ/uKFAHxqZfDWasHWWJMbpQw9wFBKr4GdZSekgvK+D7tbHcci6YnouX3NBZADmnzcPwHw0lOWv5E2knLT67rfwvAqHVyKxih29ylBYu9yceISSES7sZt31KqZHcpT0A+JjwD41fhfAtubIJTmDOSw647sZD8P0ZeEhUwf9efm+Ls+V+obQDByCX2w1a5vAd3jtDjWQB2xh+v6UQF3SrXX3290fAJjOugJ/HJQ+g100EM535GY25Mx44SVvHHBsxLhuI6Y5JJXVvXrXBqyPX/sQ6nugfmH1+aU+UPTW8KsN77pXsP4wEwdrtdYIRxV9zOhEqevlYQAWWFe27bJyLegGSLfXWH4ScGW162NsT2Lk2sPgaM4pHWunSCiWUjUgvYtVcVRU22ig2rq/VMmo1wiwjPCAzEEhMZInISqYN0mqDnRwV1vhRUd6kFiFo5eb/L4e17iQL9BiKlpJK0m6DO5uYLUoTIbzFqB0GZ3ZV52yUR4WUg96jzULFlk3G4uLvM7xv+LN3XH3Le47RnOujebw9gfsJKJdxBkPUUwLwVECB70tfOy6kjuZm7TUUHyapXldvaNq3T24ODs2+BAsh739kZyEuSjQbQ9JkZIqRH2gkfM1DziAKhpfkDhgpaIOfMEoZ5lkG1kDkBAL7ppvF9Ayp/hkdg5kL7spgcnskWT7PgosjDWmW/9iojVa6eiu2L5QaRE4wJ8ZpmV+Qm+x4zUjNQ5zlVCTy8wjED3YoJZ8b80N1iV0QUqgkx+dy/DIkBYF+ao8wa6ufEm+KfvtfhHgf5+yY/kvN41VZkjEaE0XhXdaOiwjgu4cWOPqZFXTPCuWIVn0WiagNTq77IkfaGCCJntsbZm7uuXe6aaoPgtics8Q/FrXi6r24ox2DIlFOOOyzN0Y6/s8+IaXk2I7zwbK8B/RK9FElDUAFQlxMmUyxHV1XiAMhWW0zG22tE6lI8VQKyCFjQW9487rrlgVwWHV/sQhfJbyIXG8C0b/6i0aGQoUwH6Bo24tMnctjOA6WN95SHIGewSNstrEaJyYuXOQE9qeAi55A1KIWKlZE3wPcRiAfxT+HsqgcKN+6moScS1oBonD30M0OYJikULudb7M6d46dnXP4i6yhcDK410WR2Cm8xwXO0sGKsNU07Qfy6TyJuhMdFfweOmtX3gk4ws4rg7fpQHsXKg3NCwFctnkjuRcvW0dLJsQ1gkK6pAkWwQPRtwdT3rqCGirgrx4uTAne/e90mDur/yJyzfNmO5kdKGPHLWOpZzTUe+kwWXHV9KKHtfP5XHkpITpGuw79hzbD8musTDzOe6KxYQr/WI0o4BbJ1ws60gGGcgBEHoags0ZM7Xn54im270UbV8//2RWBJk5bO3/xXkQDzKqFEEQZfEK/qzB7bFJ77wVsgqZLpYX9VbWmPPwxRTD9xpzNcEUKgbmYr/Qc8+k2n32dOBc90nVnFDDLAOSTCvTil+lOcxvhT65jWP1lXbHs0LhJ09LsQuLMLkXNzluacA+aVfcLmBJXOWTPUJQOkZJx9Vw/8SV4Plydpzxg7eif3wktIDkdwz3MABcl1f9B9IVJxUTFnDCrW0nxtCNjLNHbNE2JfidL4m4zgMEub051gwkIT/2iuD4C+kIHQRDa9DJA1+LrBut7eb2+3JG5yl/PG9v3Urv7yiS1RlRTOpeVSZzO9mwtVnbLY/jj91qdeyzW9uNnRklEsG6sukT3secQwKZPCyjTpWr4YKFG9K6YFTON15OTBJ/dC7t+h8BrdFpeF8R5pMzLnXsux9Q9PWF6gkHoIIwAckwP8LuTIhmpn4JKUccucZbIExSZZiwy5KUBrAg6+R7EU2n3cfg2NCepyICo5e8xeDwC8XcbWJ7X3KZkOJGrumqCc+Qk9kPRtaZIWm86tWFbv2jh2cp3mktu4twtxDhrGNem3p6eb+331NzXtuOqvSW3W53nZDl5k+buZC1+UNuJEbGifSaHSVx8hxiv2KwwMWbws+sLdhSQGANJ1fl/dVxoslWSgDyOfK7YKeXuFxIqrQjrvn30b2+Z9HtQErtjfjy2gWhDXL7K5D1qGva1Cvw4oFD71yAm75QlbhC3uH/0RX83AZueWxTXUzo4XVc1W/YI6N1avpmawGi35JDzjkJQDndgyO0D1W3sscrcEpvRZg9pLm4jBm4FndVQsa+t/OmF5mKE/mcErJjMKEutGFYp8Bq7IYxb1AO93QP5t9ddMAca67FFHGaVOje1Zzc8ZQOqLDjlCkZno1ZViDuMtHCVwTknM55HpkPV3vEPbNJc28HKs2CyubinUPU19VNiEEroxz1+rriY8FJOWH4Q4q8D0MntqiL3m3lhnil6wpjZdS5AzN18oeIkMuheCdxtM7wbSaF3mRSKXpN8ARBiYjeMzAh2bjuw8cBB27U1eiqK9ucVoWmrA8qEpa6xgG3r2hN9rnwPiFguH3d9HErNpajxssC9N1eWxRCClpc6lO+tF4gUSqsb426IbE9TYrrY31qgqomi/0lgXGT+a5YoF+LTH0mRFSXV9C1fL8h4ZKHkCWvK9CifcUWBjeH2kdSL5YDpycn8H91XcAu7/MmJpT1P43q5scJOmY4qNo7EHo4BySERGvFHQfbfxpYcQR9i7rxY5i7DNZuZAabq95XtXRaACol8lduNDr4NHkTxSL/lMlpgJ6t5e1eEzp04JKJHj2WySEQTSCGE64sqFlmuQ9IKCr/0Kf2tICbzr14pkN5/EX1HZjWyDMq/gy1XhSm59gPpGJegLok+Fx8S0lBUmIiBkaxiBR81RlVrjsXoeIVKihu2bWy6QFsu2zNMA+LZGUg7r139uulw1L5wXrOt7THJxEA3bpSGLd3+ff4uzc0vpT7pUrdxZIHAEhZICoQH4swx9UcwoXq0VebkO+9UOqsNJlzVUHl3lNEQzX8zA9DmkNttlghRcrb3BtoSVOmspaNJAC5oSY2ZJPWG3s7Ftb/vDuk1Yekjq/psw6GNKH9Bp2Nryq2Adsj+CqThGNGfFnHONwTjEZeDweeauZ6OT/Vh5w5Y8nUNyjD8/Tiuw3sh8GSM4m+SZG6utrDrr53kpHNuX1oDOpgBFk/9QotG7MWeHtITQmEaRNlntyGIqkuGKgLW3xlWrlDSO50fRLREg9inTnvPLp/bE++hpzuCnDUeBkHuX2WvD5/xcuTnCSkz3fLDJe2aio1ioHtig58ABlBf6xsq26HLIt1lCe6B7wV7vPcS/eC7PpwnjUt9oqmQhh8oJx51kB6BH2rTt5+GIcE0pNNdl/Q/Q4lOasO5/h5UXxB4COFZYYSpBZAzZhdpmT1B7iJ7kEY/4DBEEl3aYGvZ5htzVBU3T92H+oOTY3fx4zzesMF7IybCdgjUnFjp7w2FT/IbUFM9+vxsI49vhEGumDgnCVTxKbZ2y8NjwGi66nidBEVqw3+oZiYdp1oe8dMp3n69yTalV9VdManPOSuBJ4rccByGTgxxHf1JvzTsBDKYNW1yD9MstL/b8GXIMejRBfV8GipVOSTsN2ugntVu4cwcFOzMzCNVX7019VWyslZplDcEffOga/4pDhpgg06ucp3Pl+cAV/t7KOld0lfL67X3mHW1csnwnjk7sDt3ieQgXyHpfL9LYLpre6xbBcoYX0HU/6cTyb7vrwzihSxQcnjOG/3KaZ+HHY7GU4RempD6Lk4BWf2JfJfe2FWbjYySwKFOBH0N67PZxjSNb87CoxlkQhibg3QAlgwwFHPLUQVq6DUvPfRFQRHtWYN5W3jXqUZiSUbmp5RoGQvymaUsQgO3Bu3dbv+NyCcujWe5sn7C8uWPp58NG9dOa+6ky3M/5xeNs9+izjtWObyrNl0Whnp3I3JHSj8hlZitjYvXQZoGHBe95ofGm+NXurm+CJ0QCXHPmyuaTWxIaRyCYxd7CN+OlpZCzCrLgVwx57As9smqO4OutpNvy3EfruhWvwIOEkTv9hWiitHFtMeBnvukiHle3Sz9s8RZTR8j+cgBbTZqg8kuwvzkESVP5MjzFrLnoornvPomx5+9Hms/OXmlupvP1+Lso4RvunWDQocjzBumSUyEQ49gUEwj89qEdv5Ih25ngedTA4b2Ajf6KmPJjbITNlZ9NJk+ZFaTT9Ly0PFcDtsqb5ktt4EbO9H4IjKKiWo9qNxKwHWFH0/+1pKaAv18w4RzvTlKbK1ign7mRvd1AnHV926WgRGlpeVwXM4QlDc3omWcyaZnzT4/sEgvkEL4Glav6OPMPS5NTRNM9YJW7pbjX8fsmMvjCZKf4P/tNB77b+ce7ltRbVe5PJ/QXRfkA8KDAJKqKvxioXV/H1kHB4VyUY0DTwGT8xARHnvGGuuvkHozS/X76jc+oG+fOk+Smj6nov4qtRI2Md7PLzwLB8ia58/vn3QsseyDw2mnqixhneEM6L0MutH8n3FfHG022SMfMKQpp50d3tLSm53OvBpMXYSwJGCwzJkEP9f2dyf1uTqutrJocP4HaEDnInbfgJkkMSe+Ps66+lwlhOJ8Ov2g9fl/yAg65wuLSqQYs4tLKdsJRWNVK2TrjIpPqb/R+PC6wvhfG3sLu1GUjsheu7b0xZxjsScYkOoHAT5MzPr0is+pXtp+8hr4uyNsOOg9AX/NfUH5n7umA3h3RjH62qklLJWV4OJ0baJUls0HADZwE85ceqfJfap1XuUC9PWfLxu1vmBSoaFdCa4dNua8QlbLovv0U9ynkYVB+5aHaFyauL9ApJ1aSA1boZ+9kpJX8Sgrd/MhKKkxTygeP7oinGFM5L0oOJ7T2iJT1irlX758bdP6f+Q95xYv0BiBWYSXtg5Sw6aTSLo0UpCgyEemd6cYCUrwsWTjLDo8Huywex3Afg+9RCS43C3j5yfx7YfkyaidwjtxOMoWJ+cqVr4NIW3KXGpYYbOUVqQFtdUNGeAIsKiPo2a9bl8ce9aDdehCSCbMYf9P9tvkJ1c8haTfM96q6GiW1CPxPx7SXLnHu9EIbxlIJhV6I2XL5K1ta/Ow8FpCJxlLrsPCNYZKr5C1DI+DDBH0n/gS31Nq+zX+MY2YZwh/O5koNHXbki/5dighXlCMaC4DLAh1MCXhFnPofAciG1VTjJ6AJg21/K0MWkOl6APLkC3PW7SIvPv/hVAL1jz0TwrJQ5B6qWobL5h7CgwnDYk7uPdcm72NLcfkOFNWMqXaSMDFOmo4LNTiCTzzr9VSXjUY4b3j0Kw11fhwuSjy4nNihqVxDu649KuD9AvjmTcU8OODNKC+5+q/NKiJZzVUIcsdzZDOaejuxArk787KnrQMVTo9Gq/hMfaZSFyUcCoe372i6nQtpNvVOPl2Gkz6rqFxc72nptiaamSHd69ROgWhDtwRuoklwsEKT3RsiwylCYzYyjMFL7y3FEKW6+xmop3bHPBRy+dFME9dOpYA8Mie/wXq0L1ZImZVYxJ7MyrzLuss0uhR+jzDSgabqwIq6OR76J9235JbItSAEMPBiFimYOgQmo0Vly1/oDyoI7EhNcqndCb+StSKiHJibqHrS5eXTyN7VEBnCMKvXN1/u+xlC8amiy5/N1/F2ZrwIs1Mi3LhKYtE3qMr1FboQUk+F0G774dGvAwgSejTkZeMnwTkhjt549Del03cWjNHyJwtHpIuGqLoPmv3pcnYiB9HERnVQPYmfZ6rpwpqPIPtaXNISgyINdir7rXY1Vy4jfpy3LFHyplZNxEF3Nr4/W3ENXKccWFqIEv0tG0pYvLm3En40ZRvCbTrgnb0kVeoZtgTGqwPASg+4N70w59uFVzjoxVMOY2vu5Av9il+ojuovnvEDHuYU+VgovVO8D+knSSmgqXSTGyB9+Nw3IplNq5q4CBFULk2fM8roukbhnLXfrnDkU4Kb5JZxHat4V5W8qgqApjHjhGzXlbUxmkDP4CsOamgdi13LEs+WPh/6mjL6t4UYyyf5CfBTPNvm3ewiOUgLxfWqMSiGUOkQLKnhqGM9dWCeCzVs2nUYOTpU+EPVuaKVNxXkKPZNkx93UYjkRBmVc7MUpm+thT2aorrcLmy684QvOaGxuLTfZwg0MUhVnnCtQR4RdfvhxWAU6DOppSPzql79euSirjo6CGYRhhPEBsbX7FNJdpfsQnISBbiplRhZ0x/ElmAPdNleKqF0+rDyBlTzP/5jp8v46ghiktA1aa9t/qs+cfdROOwjTYLaRbXtTXt6s3Zr0FEICYCgpnBHayBQe7ANXRW+QHjdY2xlvNbnNxjGdKMV9PFQbxhSy1CczuXOxv9idiEuBLIjjXiIDHSK2tYk9Kitv5mzc4W9h4B7J3IqC68E7lVgYxH8yuO65f8cgU/Nh0kmjVrzfpWl6stqw7kaNccygQCX1qSna2ry5Wz6v7SaoOy34lVELOgk3iYAE7l3ltoBECIVbRBdWdiGgNJUb4JYBSCS5cPLal9L9P92SBJb5lmkN8Kd38Nz5kFHZQMinag3Hl0CaTmZBpWZk1obwnzBVlx/lvSfdMwUPfdPBs2bzlPi+lB4tv4xMs0jHq259fAkZxJczzewmDBqWcK+rj4uW/gyzONTlGWqCjM6wtMOOcWm78BUb4zOgiX9gylwW6fr7SfM5NiLAMDVgetuPSsCs8Ujri7DQumEDvHEuKqfYwI8xqlYt9flLVxrQb6F8F+xQjzJmXASZ/pbBrZ81uSZ/3sx8CHx0HG0cuYWW+Rrb4/Iopa09Y31NEeWwFcxPbEo5njDkq5HYVi0S0HkeFQkpTenNxgkKXNSilTV311CKHQZnrhpzdVGCyakmRWsyP0l1yyoqIu8v4qIzasyIMD6mC+Zp10JSfuVGc5mSf67waPsuAEq9FOkflF+9oQdyhrN89pRsO7LndmSGYXSu2A1dK3jUCU54Jro+ezAaiLvU6LSrTULvymHwxsqRqG51Ylfl5TFZsmQm/9jG4iVxGk1K/PEehoLa7r7qNB+I++0HDVfN4evO1x21niTGflW/Pv3eTjD5n/CdSezex1wheuxLLh/c9dwaWSrnB5xoAj9ImocR2mDcxiG/L81Q7G07dNVC4v0hLFrBCp6ypyCNuvSc+q6FaUXRQnjaS2PU6QC3xZ53j13k5GRtlnBvuJGUpG56jyeqaWT82VTW9ZhPE2pOQBlFLofYEU/cxf09l99xQNgiTMslLaG4QlznnyqlXFzHBs9UN3dh5frY8XGlfbLwhfMJ8fhhhdLjn/u75KECWc6Jz7IKGXezELIetVBYbViWAGPylMifhIbvrkAso1+9IbNbkELpBnpkVLHcNN6Ubj83SeyNgeWcaTDBguo/OSsiNL4ElTdREwmT1DVjUIz/aL7PW4G6bfqMhGXJn0ao2W6wnLEwzq91beJhSGFViX7j2nY+hGYkVg99RXVfk/AhjHsqjezh4wK0DXPW3ngNT4ZtX/T8UxNc/uU5WlR4MtxHgQl6Oddfk3mCm69TtxaYLzo76iuAM5dcgjWLG4jSyMFjjsBNIOBvtQ0sXt+XIh/MNe7qFLU1oLa7gVHH7RsRtAWcE4cHDYNRk/lZbTTZHeMptf80jZPpKH4/XNCVNrw4kJricMzsYEMCsWIljWF5w601dl+bgXh86rVKYfdzgsvsFZCu6oU+SzZjno4rOIrgBGwLKsbTowT17PnqJt0I5mNdopuNyazmjAoo2AEBTIGVeW0ouyGjIrctlyX3nsL//ipRLjZgsBWFsRJ9v95lKLrMsKwaXxmcKKoykkrG662G+2yE5F0ObtC6J5bNYdm7x9zaJrEPn6YpJvO1v8+hwW8u9LUNp3ls2V7b43V60C1w/FYNYVU1ZDRYUSh4piHiCLt9KlmUyrrDzf5DT3g1ealuqh9xR99n3YhtNPVCKDyGowL/eyGhbGhYKurvZQ3euyKLtj+2ZVy+u9CT4moMUBaHSMucb9TrCnSnu7mx21pA1q7f8hQbNtuYho66ZdwSl/tcrF1nlCRW+UL0LajeZTEEj9ynwzsaL9RxEqWAM3ekA4vM/ACiBDB/w4x+DGJ0UgQNm5m++/B0+ACfmXs45zJEV6ihD/83n6sVxi3gtPFKBMphVl2/ruB4SoZlbBAMwcouCLCANHt91/44Ft2KxnyQbAEq4AhnPUk1HX+kFZSaHSHCk+SK3EMh5WXqBr42SdRTxFh8jfGoEqX3MY3kQjfpyVxx4lWuDBZBpR+i8/kRR79Hr6jSH0UzviGd007A9ktG0Ad9Kt5bsFB50SSu22NvBPSSWcQYprhITytyUlz5iqiZvJ0jXPAx9lcTZINFs806JoQRG7bTUnikMc3WisaG4xlzqRqRJRDxTi1taGQv0ebaczlyO+gfqASEkD80uD2Msz8gFYfpyjm/q4GCi08spzMGatElaIcARXA8goCz0uG2amIRhUE1rG1CVrWzBgVY9aGxWXq85wH+Ocu60a9otfTro+Rpfs1eoODQu2uTuCIMboUTjNuWw2wgO8TIeb4st26gDGl5/hNNA4kSXS7UgLSIp+3DvA4z4LFkrPYXIPY4ThHcTsE+BhwKK5HLcRggB+MUi6G2f5ntMMZ24rbof4I55rdkvgfhB8qX1UQs5aRCrHpCdqBkakbF1GrzX9q//216lZWgQh5a9nMDFeIFbM1gwFlN/QT9JWzB32M3uaDsiTU5Du9sFCjE1uO7paiceh9y0uoYKaXFpzsdxNTADU1bFnC+ifko4BesukLtsq28z2ofYQANZbjtbjm94ZbW8Uv9yEAcdbzHe4Erg/uiFcv14SPdVEG4ksGaTVb4UXLCJpOM0VpjxwOjH+FJfRnr8u6faa24rn+g22BjabhFB3hTgFDniAfz9+tvvR6bOWLohXG7wt12KzJQVgHUax6ZP5KpAsn0a4bZvp0KNNbsrjKnyEdc8sVLhOTyAbyYZhcrekCzIVsXuRLHSFA5PILmbLnTUVTtOGE1LUCHMYv1FRZSwQfTboehxB9rhOz9XijrngMWaR5w4jQG50Yw9JrrrVogegZZ9t55vUYNoUBWYZdd6vePdNNKg+d8DXFX3jR5ytE+u05FAErpI4762Kd7DTzkw6aOtk3DJXbRT9leMjdxrwypDdE3O1S5QOdNnn2cGG0k/Bls4Q0fc6yyOtOVF1K9ZZUxU51hvBadFFv3osWfotDjMhWyusbsHScQI/VPRsVNs06tROhGe6Agrj9IUY5i2sEWC9mZyyoFW05jhV0SAMvg/Vw3yqj50T17aTDpoG32vPZLPbI+pat/Z0TyEOVlJRNNfKT4UX3vMmHWZLQc+dJgaRKo4NHaFtpAKh62DDG0KeZlckB3hgPCK7VjPPTQ26RASdZ3hWFvcuRUmGNRhgzPE6LrY3e6SDoeJlSmHtUzDIDVSfhIT9TrsKwrk+ylhB0v60MnzECQt1Ce7yBjk/OU4Z2MoXX8JqhYnNSQp9Q/w7bGPR1pss89XkumforMoq/UuKiwB0rhbKP8wGlMJ+JmHgopaWCxJokvXyjc6lGWW+gu7tpi41qBX+lFC8GkT5c3XB15VIjWxr9MbQkk/q1GPIsJz76Z/jdjwKCvUU7VveWCurvPDV58XbiBWQg6sqhDHJQewJUo4MRoIMc+A4ZP5c47X7/sL94xnAMams3Q4UjTJJwFP6BvCn2+8FTt5rpgXh43oq/paJVegp1R0bGet26lHRFm2Q+GRk4PfSb4bg2wORpiRkj6ucs4GW2FlUxrijDCjQrobS6QLqILQGKoEqTHHJ3f3V2I9Im5M8iOhmzuVtx+0vs0ylOpTfh7Uk9eYxaGKk8+BM8ovERwRujXnq1RmcBS6KNalqfl7t1wcJXpw4hHeuM+L8Djv6lgsYCO6XPVZFVrx3U60CzZmlnxNdPWaoAONnVunYg3mGBn/fkIziIlsC9bPPhAL522s9rFD7kwosQ6Ygh+GtLbYL1ny05Pj00YWXgP8jOauNyKMYfT/VXrGUjBj9U5YKMNRfL0WG0vvLirQoaNRDOZEX2urgw1gdwCF3Y7nIBV1SZd/pJ1a3PgL/KwtY76b4SY6iz2sqH1IwlkVGAljNS9hWD6SjVpOvxbO04Cg/UZTbPiW7OMR2JnfD+C1/Es39D7VWxqREeznBa2FT6RLce7FmeOaRqYzkyKyVDWEKXJJ6ZpLvXO1UKThom8ppNccFKYQArvDqSBEru/yNMmeaIVaV5XjzUjwZc+BueXOLsJYHiS4SacnVqwrYb7AWHx35IDhoBcwH5+bm5ef4a8hKMSaiqa6O0J2o8LLHMXUvG3ri92+cAJG17ELzU2O+uuX10dZTCNMSkInmFefxb+R43cufm10AOrfaw2+9o2AAWhni9AAfkGmi3lpQL4gxrO4sSzwN9KvB7RHqPWE5/IS6uETmLVF9j3EoKL5B5/1gRJGxjGo6uBmbaCvnyX8BHBsJ07oHZoKp3P9I1m9WMQmQ5dvWe2H8l7KSj+YqYbvi7kL27kdQO8nAdvJ+NhiXhmY8SvNt0bh/MrVexa5q96RUixoQXfdtRt7fuxVj0sGXYEiFcNGwBH2vgZi3M+encQoALU2xK62q2feGnO8qwT2TATmz6iRDmDHXX2JVyhTLfhWBRa3fbPH+xC9GVhlPJfDkf8aaUHz8nQOhbxjbx5UQWEPYjjhayHITcapDCzllQVeEyjJXF9VXSRFXWgOrCEYkaKrb+Mwf23nF5VBC9UAM9Y6/5tMSOQQHehl879/TSmzZJSGo1mipiHsyL1QWvk1EeySG4cFkCUgV37iwJZh8J0CRnK7fvqm/T/pAarQmtz9HSEvH0/DLVP1QZ7UlskYWgs1VG4hWI3XdXbuzIqoGj577HnFTxElcaQrWbN/GYy0SMtRiWVlYCgYTSfY7GPO7abkrv8Jy1YMxqIikvU6rMrEvCoJTN7K1JTCU+Vfaw8JEVb/6fHP44kcJR2XMeOq3wypqjPiSRd3kg/gWSUT/Rt0+or/ObjsBpY2hd9uOaaphfzX8Kdxtac87y8tOLkEJj0NULXC/jCJgFLsmNZWp0ZlDMuSPZJyN4QUasNFBT4YZdicvq0GLmkkqqKjP+rz7hQDNxJHOsAmSweVyuHM3vgiYj657Mp34LcHq5vQoeNrHWjKJlGpKEFpbboNscc2VWqchGfwoRVHSk5EghX8kwFOJZcb4kXEnGDob+VPBsP4X9brAX3ymn40QJfoEmpQS2/7Nps6cWNYrBPJdosjQ31Ht41Aj43IKL3IqScquY/VMM3Uexk3OGas16Kq0x1dBfoWg2ePvIem/QiVtrn8KC+VEZMBufnQELhAuq315P81zYqjzvkw5LQmyKj7azhYBHEMsSG132hh02ugw5iC9dLo1N3T85h/ObMPspwwaE0lJz4rEugr6OtR2URMquR+saQWFXAw9J6iRG4o/8z85kmfqNppZVyz4sRBQHJgGxvgworkBuPt4nEmfPv3ijV3uNfUXxIvUxXBKvzbygYQcrNSxVb19CXghz1aPLJPb7H6M4f5Vt/cMgF0fjxmqYjdwjDnxBYRBRpSDTVFGuDL2BejZfgu0EiFP9r+ln5AMbnf4CoC8vmejo0W4TuTQwygphbHhxcnojcD/UbAsAlIvc4kggka8eDXdIqwQ9LFRrx/h9RsCvHcoQC2YFCW6cqcIG62FTmhn1FL6CK3MDNSiVXSgaagIhmjMwt+idl1FeFEN+sf2zoccA/La3sT9CGKPGbtIN3NAZ5s14uLcdfPPKz/eY2x/a7jZ3NWSW4zwYa9FTl/C3s+PvPefo63DJaFg4Yqg+yc7jIRMY26TZujKpGnoWr6BFZgawyY246qoGoOfhDVh6uYQgEsSjG6msU0Jqrt7zqiRP0HAQ9P7dx6C0GJLWgG8nPajWoPUFUlI5ml3/lTQHvdRxBH5tfIPTJFeY/NIaN0AtIf0EIJo+GtfBqRh/DS3gOhYJYtWgti/0JTvT9HOmkEgvrgtKYL6cHS/WJAqVqplRRM455OpMnw4Qr7YQUO37OnYgIAPVUz+R68u02svRAzL30oQHOzURa9NCuANUzKenjx7km070ubvX/cytoALyhqTWE6ydu/95mIFjfdCRMWVgZM0PXmgIfDQs8NpkK6robRrtzN0pL++yAFm1mtQbV+ZDqW9lC5F0OEl4C4eBiQ+B5ZFV0MEHyGu1fbRsKJqyo3YVKFcItpes+DfG/vAwu14V210S3uU4AwvKnm3I1lUNwftsn/id72jawsYhvFVV9D6Jx2WvKW6twIW05TCBiLxrdb9ui7QVs6gZiGPB+D6EgBW6cLu/TcEn9g6vTibPsrtQoeo0kQBFR521RFP31qpcP4AtTUninJJ00unUiwv67+W94w+XaQ10r5iwg5bpfpzK6f1eggH79jRNFQtU/JnBokD/9Cl9EeddrnhW9ocSxklAQyOn56xVV3HybqSI29Rxz49W7TawJVhb5ZZvd312FPP7V5aiujd1P+CYDFoJSSV+DvUYDwtXhhNnB+31JPhw6CaeRDDwXLNuy3iKhC8RmZ0FYDDVXwmE7CZGYqXhkBq5CIg2t9j7K0g1l/0XC7s2DMJmX7n/wicnCyISjCbeCw03okBObIinCA1oh+z9nwXXxHVupV4KHPwfIHBEmjt7/D26JpnJRCqWxJXsQXRGSrx+Cq139WDYX9OjaYlH4cvMMbrKi8OBYLhW38saDvoCZzrAkkI4KWjqLAHb+CUKHC+nMjkyMxg2MKHB+hbeT2cCyPim3/6nfBqm1cdfPG5LoyhAFWqIZSjvrmAlfGP4TVGthrLgNh0rG46a+wq9koxzuscFFHTCVraKlTBBJJ/pQaIoBY1P0re1qHo3XX4js3+jIf42cr8kaemhkxKhu5yH+MJD3lc99/+ktRgIeTSq6gy1ahI0ED6NS0AbekilvVa/fhXN0nlpG0fzNFXn7Nli8kS7W41XaD4+MYT9CwDVlZ3XzQlXkn0tKX6XHiscVSg8VwCIUQz/cpmW1WMXAu8Cz406GD9uQ3CoSv4qpS1tcovmfVOkqt7f42Nt1jF4otAyM3xtzZP+BHGPE4tXZNJya864C8GdASHF/wvpfLQvt6ybxWYwFyoFoorytniAvgo0gJWsaqTTkKkYTwjyqqBwpXasbnj4tZE1acT26iOGJH+tr0fuSWhaYbyg75jkLkz9tBGCYDmuWpNlYm88EzSvutTh9M23hRlUtDkHxxtfdunDKGMvvTw4rL7MYbuYLI+QDnB/+oDj+Fo43wRWvHfBDaU7/Xwuxg0E1MY15OtEnBH/t9LJdjtYuTYfYLQjcl7nP5eNQRdKZiy2GJdUViWl9U8Kl2iZGlAU1aldiyKMNUTZch/RPHk72A/ilYiU+/XxPK3LvLu3QHrahcUtGOyguZ9Dkm1RYqTCFQ3WcknHXa1Zvtt1aS95lySU9y4o8IV8yDcIjbOlbmFoh72zyn5qNgb2MBhac7bw3u45d95Te0fRHOsknO7XCF8I/osTSq0aPKzGr3ZmXhzT5N5eqskmkYcNp8j1HC8asKuhYYYRTDCdrUl4AeRPOJmYa/u9pQ17sGIL60auZWOoiIvJ/kF7veRj+C9QsohvNF40O8J5HoNlnV7QU0amcXu/ATMmju2WhiACfsWSHMzUHIrK9fIEisStqSnafmrTPQ/I1amPvte3GBkqOi3lAo1Grg38SHxREeNHiFOzxylR2Q1HtPhLrMVH5+sx1XBhfKojFNb6s+4LQiHlXd8l4jypiQsP5Kw3KCGs1QNKIOtIWyW0WyAp9893fq0h7BKIXD8hJrnoT27kufGj+zG1lCMfK0b2UgAmUPz/iIzk5aAHdnrRVB9c2Zs5Kq7BpKJ9id/Lqp1NNY8w5j6x2MORnbl0n4iPTlCVO2MbtWHOkFA4i35IvF2sYnx/cDaI9YxzRxLT/pthLbFdIpQ3/Nhsh4xlXCTpXdHKLLOUZrJIAjzaEy7LpQ911V4qntukndJG/0/n+XpUtBdQAaKvG8Yy0pA59RrqriZpDwL8GFAI4xjEgUMrlJh0kE2UMEQPE/qFISfhqjGGhQKg5oQ0/5xs5km/JQQXvz5G2m0qIxgcv209FExR+b/PMYrtYG5Lst3pnGPw2LIKbQYyoG26/vVshqgBuYncPAFUv2JBsGXrUF1sLjd05o79JS6xRKD3ZR2vYXATjjQPQwmSiLArthqnvWJkCoM/6VY7OYhoM3CsuWaKt9ACL/Zi0ecvVRg6WOLWG7itWsnyWc1SujMLdRaOJ8Koe5/G0ByVwLuRa3dgtNNhS0QfyXe6NfGxtFTEJsIQelwxG6Ac8KoO6pkr8EzwxWvnchG5QREx8NZaogFM0cV913lReSXXHq/V0EP2+cj0Vk5G8VizlbvQyC+iglGtBuMXs7yA8MbL5MDWRs8T87APXKHnbaq689bxpuqnjfwNJmDei5Iw4O/Ur/nWI1kns46e26QnyaEfKfvzumhuVmisLDy6qpomhSsGH6iW8/G6OC5TuOqzpg3tNNwSy9a1k83gpXW+soiOjzuKauOi/xRUioAj80gdIByXPU5iBcW/tKfokccGGc9mqaNOgYdVNLIVhCLlD6ZPNe8nqSLj8/7r/jugOMGcCBjB9G5r1qEf6qRi+fCZVRSY6YE4EWCcy37BobKhqqYlSo3kDXPexuaoLsN4W5tMWUm4CTrdecgezLG4PPobvjEiLV2UkDruBqfmFjsHj0Tjhjxv//ePjCytTfQRFCpAN126PRnIco215JJnLLSK5A2wm0CCob8WxgeOPwkb+0GlgEwg0e9cxLE9qJt3DO+yjUvu7c2drMFmWCIq9HsmoundIUjJVG3v5JTSzAduSbjSQi41ddzwpEvE4aYmF5Jx8swlzZEXtgxcHC1luBBWQk75pt/lp4tfUCi33IrCn09QURPGiCI5wTOB7wbFmDv/upYkXITqU1SyVzXfc8OUYxIgnJgd4YPpQyjO4smvnlc5DqlQcu3BgnupEbT1Cv8YeY1MlMd11ZPRlyNQFBJnD11WoBl6P9V02yztDc0VZmHNs/hGPnjT+/W0A0wyLEfqE6CsXnmeJoE4NQFR2FV1/uPc1j6WHwFHaZcLJ8CdFjMZ59kdcTiKZsGkzHh2xj0Tjt+KH1nFYrX/8Bk0C84Vz3phlzi0SUEu77x2FSHq9S+X6ZNZ+6ESubp6E8LNNhGZy8qXwCGLG2clRND7j9dlMoOGAR0/70M8NGCu6rvhEOgDTJk2wS/H6eZDW1csCa7Swl1qpD/THslDS7q3jlZfV41FJQ2Ax/y0Z8yWA8iCkXaF5DfnJ0O9J0UcnJA9d9COqq2S0W3Z3YQydDL8kCDO9W7/MZxCqJBG6VzJUyvrqO76AprO4z2DBzOvsesn718pi0bDfaKuQhedh9sXuAB9WVzT621/GISxImmMDzaP01i1+cXDQf7AelasBHLD4q2rndU1NekXtbOOkpAghN1MCkDUxJqOAsvgLZoYurnentncJTkJGFQkq80BrVQ4y31FLn/T/D3ImXZ+mB4S/3589zhpBBNWhimaJbGirPU7QSYxSzP1alxAHh2zW9sYm5O+YhOzSEN5F3N8HEV1XzjFUxpNWwzS/ZDFZwLR1syGcp4fuDIAtanxsihTRnJYZMJSnK2wGJzwaylwxHG+06cz+KJxcDVWXiAYWa1qvm1gndFgAXjtUaWqk2KfwXftVIQWHbAxbziOKrenzXvqt3toIPn91b99oG8HHYVjCqb41K1KZtPdV+hJ5HH79noVP9GtJTo3Wt2F5RzqpZdDO1UKmM8rWJXEv0sTYBbuiiMj5UKv7TjqmabtFIgeNA62DuVk5UXPo6v0TPI46IUkTVBZ56XOUe0XiJOQ7Gqry4l6xVQXmUtbDQD0YSKiFNa1KRqgfajK3O4VT/ke/e9Qff2Ul6PYqqcHsot1FwdQVD7W08DLj5D/Bc3ST9EtdY6UYvUBXqJqcVEy7/rSANmX75Vyr+2V6qZajiSMiN7a4qyIiDzf5FN9y1E0tULzjyuh6FQEgs+yylhJo3bw4HXVGSt8Pq9MLHYQ4z7wniwgr0BpVW6FhAM+ff41X9+O6JjJbC1UYllramPTGSskKlmKRL6Vfwie+0wtxfYqq4YxbiX87hnzZ886qaAsvkFZ+bPD6SIZbL55zdAbrTsZRGiREA+wwWA/XUzS20baEcuNVHNwWPeWlU9uvef5q0rSLGM8QDYhnaDJ9VKpGqJKun7TzfQtnUY5j6FSljqYOhq3abwk3Yraiohe6xvY8OgVFQa4LcQJFSz1jT8lCam99NLB1D0UTCS1A/WRL+mUOX+DOjO3B502/mFoJJ07UPWI2HMg7/mU9c62gu/ZnKRPkgv7ilkbxrmJECcXapdOtHQdDjb0ctkNf+o3znlSpCAKLmGvv5acfoUNpuDporLHdvTCVg0qnztusRpUOd+5w2y4LTvL+5zAfb0Ylc2JEL9KTtTVvz0G1c0djhhqBS2VsWT3QBD+uGGvc7dhf+L1N009/+g97zj/f+fhqmfY5j4nfVQ+KMaxZFdoyN3rFEzHHOvmxlaF+L0z66BdMLoiPp7XeJe9KCXc/bClTeeccG5Yh3rgfCfYRb03k+Ue8r4fBVq8woLxfKdS2NfHyjWg4tvV6Z06F7hI3HtR4jZCwdtp/WI2bf83mcjU2NSnGDXIBFLStaTF4NXqrnWCGpbjQ7FxU3l/NjIbM2Zx6qCe8PHeLn1XYyN9XvTAasJR5WmfP3lFFtHcYjdV/yqCYwKcX9K9OFC3zcNkD3qQY+HiXgdUzqClKlw2VYYyog1vZFX59QPQR9Vn8bQHQ88bgOfN5K5ecos61LG2V+BXRx0DgjNZdfR3ERnQMqejI6BSJv+2f50aGqj7TRo+GwoGRJwZzY2dNOhpCiG/UnSTse6Q5QQdvoH8HNf336ajk5RiqBs96RLMQg6m34wngWM67J/KXuHmeLmXGvZcqMcYQjDB5mhy0B7QpYJoQV3x5/XKqHKX0j3D/jnmCkDCbK5An7Ep2azzTNojJ3yiHmvJ624SjvjANK+VlHHnqVDVUwo0/R/zNlG8EHpgoxHGGtzis4XohgSc/CR6M919C2IEEKaPCva4sMRR/o9rkArFOE5vng/8HeL1HmDaPnuSwPUG4gQC6vcTaj0kee9QyXsVbjPZeZ/z6HDbQSnp1a8Dow9SHB5k0VEzfDkgY8LaCzzw2yGo8R81JlE20xByOe8YR+GDJQvdXMPGThzILf8i/8jUIJdUfyfeW8vKR1rrWdITMHH+Xwi+Xy9kvrKkc4p7DDGPSVF8714zivWzbLeb/H6XPCR57apnZWxPo7iVUlp/kQCF6thOJeKhrO53YST/107SDT+EBKVcX+LDYuV8iGDB1GeglvUg5eSICYfZsqPmDVJthbkHOKgQ3ZejkWUwLccexbYBBxHoKzJzXbZf7vsNg6MdK9UTiyuTLi56lpbBVsy16sC25fwx/9L6HW+IWhwYG2/aHHxnw9JQvp3tcuPPFhBubgAC0NNaB0cZw1jHvGNTgSxvZ7hB1w3f29m68X7bZlZG7pjwhtlDPWR0RTyiP7CmOZUGVv7f7JgdLcDyTjwPzoVfIwxRdvEd8GLBg/ROaB7QnYXcQrOP5rr3Sn3pnPER/5zuhc6SW9mWfppDTvb0xPB2YVoJDVmDF2MmHml0k570oyjWib/Y8erc0CcByUc3q13Vz4p3M5PeSQW4mK1HLysdhken9XcQFplsM6jkKYKfkESCduPr1awG+K14snTdapLx5ZrD6uoG3Kcz3FMH22GfJdaTnOAqbcvaJNkSo77y6UB2nEAWt1TvySpcyMv2kVtaoSgBTAM3TQt1vVoNsp7CIH2FhB7I6mAYFyarXx8iw05kyrsO5YzbaDUUdEw8J9V/yKIzj7eD5A9McEpYmg8Us7MgMkLqVejSZ+S+bfmebO1kGrN5CcD3YxGUSAJQX9GWn3o+ZD4ONRJxO8isF+0EVMcvTioBmFN1Y2kpqOqiKCmBAjcZXFYNHkjps+JdhkT/81sZzluoKiplszI3JpGMLr3w3bqq9oeA/oHl8EOy5YPENOmT65aPoAjb5e0TnY61KBbtNM4ltYwLUSWzT2c5HPz2LrB2ohJeJw1qxGTETNXMy5+uteb+YWP7JJxqAgNdg1mVBVpP55q7NI6QCAeyegPvrFHVYqTDCK1pVpX7Lmt1HMcBoI/mGrYG/5wAl2j7sM8ODLY8mA2ND9CNcHry3o/B0eE8F2jZN5jz3Rq7z0Qas2LZ3+7eHQYggjYhh8k2zsFE/v2Tt6eTr6twZd222sPAmPVwFi9z3xWz5e+2KVrO3o5/hWCSCGS6I6tpCNjYz6TPQLI6zoYthE0+cpyXEYMwQ39YWfRWQde2vjkavDArMSyMTUXOHOB/Tgg52MBFMKZsScV+Lk3lz9ixxUUm0TlEuitkWsIx99vqhKij5vDJLgA9R80n1CibPcOIG9Fzf0YgOA1oc8ZJ3lnCqWo3QpXCxv8nTT0VkTNR0GyyDhbUmK4B4ZLGBrJWbwgMcarEtiY9qdp+yiVw61I7pZ7WvyFI55vgjWyPcSwV8cGdqlw4S9ZHqgWHK/0gaR6MC2IA3Wnba9f8W2pPSXVSh7+0JAn8PGmqVxLtDqDEYBz14U76Yd9oAJnZ2z0UAIof/J6ycUg0TaRmoDyp8esrAOsM3RKnigJkGY30HKXFXVqHh4N2urAlxdvD0gL2wBCQysLw56dKGtZlKug3/laaApae7xizZVqJ9nXKhjpCapX9qGVt6D4OZd2ZXl+CUYY0UfA2KU5z8ZwvpgZaDPchb6fUW/04moTlQf2IzhaxB74szymeRCfqFr0MrsnYsaJEQkaRRGrsy41JaOHUdXm4ZPHtbQI9B8Or4Y6dozOahH2ZXrQaQjZl1z/BX+GhzU95ovMhpIDH7RJOwQlojLhtNI4RvjpMbpHA7B4U5OJ/HNubV6Mgtlvkv84e6SVspEIUqPzaqMOAv63hDpRVOrV8RhQqhcGdVwvU78Q7pm+uUqrUfUVH9iVt+Ia/ZwaMMGmN3W87eTCrnxsZRuT2PZw8sE/wQYW3qYuglCPPgnopXvGyUL9o4Z7eY1vfiuf2IVhLWCXYk6XqlX+UrCu8+2pEyT65hYMu3LAiCU5S0/7KBYomHzcn9ucyJ6QP2rigSP256SkgIAERcGsK0P/b/Vnkzu47eB8NA8sn8CrbsOFVK1bJcgBig7VJM9tkQmg2xD83MCWKsC/GnGGFIPLpeCUxZ5YhsvG2p2WMyasOiNxMXwFv4z6BOPL72SrxEZ5XAgVuqg/S7aiY5yo0y9T31kUbuQOc9K3c9Z6ZGBfYLDfaHasZIwq5rI482HPqqTJqhtX0k+pD1CE0dx1Rl8k3sdQ5eVQWa6MNDqVukY71H02GOAEUklpuz+uHhU2lLTQPNofM3vEp2PTmNjHChKD9qxnbKgOsPvidAX1L0NV5QCJQBk+UejrMTk9DvoT/C5RuRRnihPaSjMrCZBpOgwRZq3QGIXT3Uvorod5EVgA5Sl8gGb2NVJA3EvMRDUXAGjeXVz8GSupivyZVd+py+No29eInDbgDwRayLhBwmswShbdVT1x1HUx8wL7V4b9vwNMAXwRotSwNvDuhCtOCA6nKSqf2H9GbvnWer2JP9ql4eK69GbNaacFLJIWO1/syQG9L6VM6x8NBwego8anfeMx6CfVaU0StFPhUpNIuAqF07cVZjGH0jR/7mb+s6/u4g3nYxFBOV4y/d91fyyvrgRcR4GJ89kOmgdUSy6RS123RpA1k8EDV0E2Rpmm3MYO2jftlqCKT7GCwi2BNFOBZpIWqY94Fk4NHCHbra7QMmjbD/HNjPpnD0Rho1aambe5TRb4w8JDnoD8JED+M4vUFBz7J22ApHwKcTasb+nvPLAOdeQiqqozgoNq6X8j/50KL7Et3jlDccPb0JC9ulCmtnkIQLHjn9ixF4ZaWNPGycr996lFTMUlkCIsR8EY4SpQGaNuW0TprQMW4emu1QFQq5WXHexHdU6F7ntZGhPehM2K3CNr2FSQFwXAr1wB1t5d2qsLQyytfczINoG3mwaHgqzRv+gCqEgdbqVWLO3HDKcGVu3esLMIilGsuY4ixOZCGwgeLffI1DWguK0ED5V2Z8yg7/Plf4xmzB13HVzvuOW2lNZSLSnTDlQEH2/N1uijNSvS8ZHOjFOhHvk5EpN4073BalkOyqifBoechWa6uKryrvJLbb43msp4ctHZeGpePIqlrg67bz5XE+SNOhwA/EfUrBhgMSwOMOF/ll4BkWknriaVihaFzPxbmz3ukwXYc5PSivmOrr8dKpHVrHOHgrs8srM3sE/blofKdyoT4Dt6S/VKcsH1q95LTWnzvyPASOJAeX16lW9JXNcQ0FEJkHAlf+FC4vnRKDuMiyAIlzqdembprRbg5VP5U9Tf53bnOU31Bn8WlRdiJA2qgWu+8l2M2EivcYbGwFYJNdHxTRRJbsawtKrWiYE18jR0gU2wje7yNs3rpgfgLSwn06mmkzW7kVVQqQ5VDGE9W1b8jqqPn3KA5cQ+Pmy35dd1NgK1qtQOI7prElHE9ku+2lviOBHevpicxe4BLExRr07DXtCl5yUe5BK8rQ9RbOOhHP8kS7dEjSGwIWsf7OZj/V/k3uPTKtttS9aJYvLkjPfpB/vJaKsiVuhPbMkbuTDuQNvNxrzkNi0biKzeWObAnaZU7SPh7uIbvMds6BjPRUqcK3/e1ETIZVP9dYoBhvORHBy9DURtMVmKeZ418y/NRC/arWLXs5bBX1mmAqnYM2sZwxXrttfr7E+8a+uJ1YPMyNqVN+2otvU9y65cawTFjVh8FFb5QYBJrrwidine5mcteFMMyVfXNB9TaWJFx7vtWxKnvZTDf86y1dYNBZS220+VFEkUCz74IrQ8iNzAMsd3c76y1t1bR1fDZIej0KzVayqc6ik8MCY5MGebOgSrBTKk64okroWBT3YatsMsCnQZP2s+QbxCSsDugwxBrfdnR83h+6Jgg+c7o4HKPqzu9+J2niYanm4tvjf0UV/DDicnvM++g3YZRy+IkqNoXGsUyoqccv2d2kZuZYIcP6SUWSXHwkvOdQ/FUDQxyUv1BCwyhjynNKkIqQ8LU2xohlIaWoN1/Og6h+kxWzR/LLrMIOyu8/swxQj6IOVervpgkt6tYvKbW0SSkcprsYB09igtmaQ5lSO3txcuguNGT+9oTi3n9QpX2oFXc4L+TVrKbcj5B8d9vQAmODvUIusEoHlWkytyWUHiwJa7zCZYl6l8L5WDTxh0hfUGHa5qAmFDNcrpfFFgBb3NwKNdsFp6Mu4M/Z2+wnYFtNmwWcYsPRxPw+lhLzG/Pi6km+eKxyz8B0X62lZCFQbHg25lFjhNDMGWGABgAF3F91Odun05W9+tXKegMeiBwsMSwyvKqR1PYLH6UKwcAQkte9VlEOUAjlAl2KMM1CmsGb9RC4NpDLysPQanH6uZan/2+TYRmKc4uXVLOJ84EDuASfXKFMl5r9q198sw1dxR6KQ4o/iqw/RNEfUyqqusnoB61YMnh1uZjigNfGfwDaWuCL4ZMuLIdsxBJDIfkwU134khzZtzWxqtwDmcD/GEzZIad9gjD4mUgU8N86jkoZZHFRTDMDC6Ig+abcfaN8JhZ6R3R2l/AXKbMvZ3/a2OXfCM9lUMx2QHBcrxYOSUyZCN+bwMcZHYlk23RnvV8XbHakzhrWl83FTMZl6v6ufvNGY7P0J9ZmQeLGyLcb3kFpRNXv0VTusGqLIiap5CmHPZbd1j4AvKfMRgirGVQf9IVb798ruoDLgcyn2LsSqeH0OotjlpLKQxuBIwY27Ue/BSpkz/997eR+fJmqs47O+vHeQfoTWylyS4FAf9dPej5rykJ2mBoerC/F1zLakczA3lElXHG5T3KNlIAvELZ/kh5j6J5pTlPTE9r3xQhlFDWWdj1HkTQRnH60dZNsO1r71y8cRJ/kdgYwTTzA/y5E2SJdClmlzX6fj4MjAFXdYXZhsfaEFhmqbyxM92MAmv/6ioJWVV7Rrvrq/wZpTNK3tVfINj26vw1/8rGpnCBhYfi+UG7CheaCwDKDNXYMSZ6NN3iLtbmQLcCemZ2xnjeLOZSfESkvmF3r7qEUzH5gGGJ6/kssHkcB+bqFn1z3ZhxLhyuJtTunN0tIQozu+Ux5QwYrafCHuEULyYulM2hGD5mZWKqjy2g1L8uIys7/CWe6u1ql26Ulns5za+LZ1clQUoMaiRSQgJ7V4vzRPyq0AlVvmS+PTFbGUv40ZH9YKWE/DYaF/4r3PlbBAyPHXssehlOld8H09F9L73M4ve/BZCC2UW/vMLvppHIQw/VZAP5xFoTptQrNn/8LVzQsTGX9hR1l3bDglPnwqr8EQZIWbCLqWIjad5tsE7my5EcSNamQ3+InGA8PGdR4MiEI58Etcdrfzp6ovPB1jCXYY/BqjZm+OSa2k6OlwCC0XyasLh7GrOvw8Z86+a6NHlCaP1K6aVweJwmRz0Rcaswx/277Dflkipdc9ZVHZCNz1IIgjJZCKWQTgQpybp4s6AEGyk0hTlQts4BaBnCPPPva9QDIDPC9QC8WgX28T2Q5GOqjYX/BqlBpCxgzTN9Ak2hmTjkvi9Kx6KyXvIxHDnUx8ehJsS2kl4D78fKUuR69GS7kQaXe9IYg33aI3j6s51+T6EZI4G1xdD71nG2lRozI13v9WApAVo0/JH1cpgYr76azffMqZnjublqZUHUpwFPqWfhf9qt6KzCiX5kvEfPHiutnq75AgK1PmGnRPDa0xfEQZVNeF/mK0CR/qMX1NwpwzgyyH9KvDypQMTreDozSQw6WOmMlGKsRZ9ObZIdydURkW9e6WYvG8XO4BQK6aWMf/CNHtWjmdaM62gy5rm+2fLuvdJ4FgrWUX9jiDbfObt2/g8xzSR6Zg8Ku/XFUibNPeyp+LzysZ5ZbsDviM7MvZwHZPd5w3FpjaANcNBOLAUwqwHdQjiJ0Z5LI9svuwiHclWJfosjwEJMmHqTGk+ibOg6xTb5+CtfYmA/FavcQrksa6oK0jz5wzfAsHyyNePQXIpuCfXIp1Y8N6DAkzVpEvcXtyltdMjDAXRIZJ9AJewV43TFKoHjLC3U4uREJokpKiHa0VkrvIrtl7cyCwjzvT2j8VaOo1BCGG43y0mtHo4u8mWcpUKQXETVtRN3lJc8lZzMFovXZBOuEt0HQ5Q3IpfksEoUvKqTQSHcVayWztvYuVrseZP/5LtTrBLrdEA/VdH4dj8NGViY7xN9oKd9LW3Dcb064gJ21Jcj2p8nnyYlnFc5Q8WhcB45tvG4fNnug7Cvj6QOs5T3ZEUtDnX+9+6pooeXTPN+PAFOpFxIgZiKrUgNwliKW84DwMrBUjgz1YdHOfcEtubyV7X9oOD0wPxeCZ302ApniyMlg4FmcmcrQ/waaRVXsotzibnFso9A4nzBSonMZJQFIBTOYOoQQG3WG8zitR0EkI/K1jZwSyEA5ftygmVzoDR5U3Gq2CO3ADHmiov9hU+FtVAlPJoTCY6LmmJ0kqqEPykv47oBI31YkYiD+8bc7szIstznF8AYnpIy/KpSb5R4rfTTPxudsUb81U4VdnSzpOeBAKR2JHR1OQ4lxpYqhM1lcRwKmRzb2InDvfheCC7mtNYbhry2DQCnC2eW6Fa+gjASN1z9EQep2uZeSf9kQu07azSV1Hgij74Ns/D6W41/HIfeHOhldEE3nKBTGrR9ZSGpImhwZR9+By6saHMS7AKohm2nIpbwQ8+OFUsXJFnRg5Nf+OaVngsxZJNFOJCdQpni99lqEs4rwkhXq3m7ZyuU9A0mryQQ+vPfDgLJrFvv4bZxrylYV7QvOPx4wAWDRR6CGPWzP1SqRuL4f8bSdsQuxIh2vdxdfj9CNKFOF/1mDnFV0sV4n2xYTSfMiKJgOC18KxLG1rp+xG/pxmLjNBlUIebIjD+DUjLGfrY9f/V5X4t5tW3a6rlF51NaDwL0rnzz+kLmqL4l+DTi+JOliiZhTHpku8PVjMly6Nmgh3DRyVwkadLPVtiST3JKXRotLxQyA1ytndu1Lv6u1DwVgl5/tIb0IfAjGM8RYgtQnVFqB4GhjLBT1CtNUY1SrE9ts1P5K8vdxC+qym4nLttNIlX3coCksifE4jWWXBSgDLvUWYgj7s85LX82NOU9QQts2fJ/NIH5B1hczPiXZ6EtWNbshs6zUx2i9NZgM5tJhtzLknoAkGmDdVWlSbAE6/H/5Z4Rpm7fjxuUmpPs9yEuEGfP9T7fq2KAF/izYuS2jLVWxjxWIf7F1AEqrKtx/vD8IFrscOvfa/MM+Ih/20GWGZkM2mF7mBapR8ntHYHJXsnlX2yB3N5Y/q+9GVBv+aTYzhd8LbJFaaBLYuJWXxMfSa8V7edNbfcfTZJ6081vQW6YCudsKSbgvx408NOgndGVJDVChgp2OQnqe++tvI5rk2lh7cm4eOcR0ke0Xk+A5xjW7HPIG2WqEzVheAA2owLT3E6qfAsuY/3DtnMyph0+NN6Ve7wYh9ZJOWiUXAdEaeShTdxd4fapjfC60DZEv7OFCndtnuKg5bxbZYtwkKjamIlZQrSp+9G/3k7o52kfHd8k8o1ICFRBSL7hdhrt0K2YihxtGEB+lGT9PfrDK/ON/Kz9qi+M6j/xYU2DIJlFqyFvjUXEVsp22aqBnDBsuhjzHRPBsf6P8MZdX10zbADfGnf8zgEPQjjPFFmWurnWIMnL+cTBA1pSxl/V5dz9Ohtqx1CfmsTeHnuk6rvDz/pH9jT1ppEa27NYY4+gK2aj27m3gyg3gEJtxZXvxTEEDVOLfQb1kXjfm/wD/wnP0e9ww7zf4sJf54QbAq/18BKsE37E836PljD9IzULXblDD41pXCIVw4S2tQ47v0OkieeY7e7nVNTR1J++NQ75xoyg2uhD1dr15b8/D1vVC8dkfivE7QZ8f21TI8DN4OTDEndM4BB820bYfYIE2RsRoNSq7Glz3kFgFw3LmTdWrYj0LqSxQ+hRno24BIpcYdw6IzK0gYrOdFHfyWdh1+3+xj8WyLZG8SScnXoXPG+SvNIXO744Qb2xkXe+9+vvdOZmOlpmK9jDEtR4EpkiNYyjZEsHCCe3GzpGyHWSD+nwqjoN+xAx8lAR8KR+Q5n4cPcT+S40oswae6zzodXM61fLWTYXVXscU9afvQb4k+HCKg1a2dDEJKzh4fNfk0k+ax/7lUKa6ty0OsHGukGll4ygHswg2WsurulprxjoY6WdlUsGf6je/qtn3j641uPU5Xic3vv35Y9s4EGKEhojHEWTJ+QHGI643G9D2UGPJKa4NGNB0o+DGSlD9qYJBxJ+LY2FIyiAYAZQ1kBVHOwYzGwjf5KB/m05wCp2T+YXMlxtkfk7olSwUb2X3y+whGDMJWlSfyEOjT3A2q6DP0ZBcB+k84j/7Hyy3j2xZLHHSf+wqs2TAGeEFMO84ZbeBLz+/AW9QJBxr9QPQbaobahgvrc9tVvr/qADvtaHf7LDO9ElgfRPt44R9UxJhT+pksELXOp/B5IySa6GLgmm/lw9M78KD0qV+P4S3+m7Dfs5Mag8quxRgxidpAxou0amb4BrvwmEaEYUwRPw6jPIeo8QyWizFIVGYQWc11QxteZPKhyGTcLF3vpLqepQdyaM9xPmJz9d8v6gl+qMDh17aM4Oi+xNPZPUeenKcfXdikbmMq0KtT8ZTZQyzcc66Gyp6NxJW5+1r8CgpHcCz4io5m0SAJUydtIUEVOVdpLR/guBJ/U/5ctgCEzgJfREtsvNsvB/qVljg/KidMbdfWbX1PJTgDPqAN2rajNd9niMcx34HXzlq3WRYggmHiUViZtCHzp4Os9L/oHi/HzJJODN1THiTb+yqzW/bi1fhJlOpVSamgcYFKYAl499kKh+V6vNsiOfe4CLmsjqXmkEPU6GhM/giRU7oyXu+aRKOqd+EpTcKs/S/RpWBmwNdhWnw0noJUWGec6EAhd0hOycW34EKk/396rS/cNg8BvgrQJSLsFQjoQTkOSEwjIonOq/8MtOLDsU5wX6N8eB6InPrPmdHSb2Jilfo9Bt2z0x/xwMrT9aSKhDpTIxHOATId1r1OuXZ7ov6VJesEzROmNi95/NoljON623hUpXc3UhEWy0N+jNlijs5BBCaLJMe5uikvuA6EUFwwJuREfcr5+tuZlC2pb633opP3xEInWDl9tWF7M1oWvHbk+YlrC1C9MBOXVtpa0XzocMgD9/zsv3yMUjQ/bUDIqVZWefPRVwbIRq+NlNn3Im/f+H4N6LjPHXEwIOyucS8ez0pCbz+zDNGO0yQXBd9TrqMG3z+RLR9mqgR02+QsB104F8tuzPM+nJAMGnXGin5ERiA8txdd78vydBIX0zmqFNHmDu7nr0qSLYCjJjIb/a6uMziHNh3ZYj+ANRq23mmQTb18+NX8f0Ey6e9tkfuTaHnJGTNSZbtn146x9JXueXDVL0XWW0+ZygjIPxvaJkY0jr2A/RXXwe0XFUtBexgtpvLqG0U6+NM+a92JoUuZ6+9h6O4vDCw2NqlEwEvlpS1PITPGW0zY/keju1V/WK1T6TAG8BtsJmoPoIxBwxaLVpCQHFhyjBICO75KUtY3UjSKPUWd9tDvDgwmt8v/cRJSjL5mD2FicciKq3oIF+8TrGjtSTAGIOeYk5tHQ1g+GpqIe7JXWgqGz6gZ0IdoaGwgBgdcMOMzGliDE8oiOiu1VoO152Y7bymtgxzOV3ZM9EuyrfSx4HpmDD9PbNtsBlVFtJxqjZ7NkV5j8AfBWVa5LesVSKfLNVxmyZyL++JrEkXpLkAEUk1bOVWI6XTtwIsytJINw5GwGi2g0bib1/NwckaNAKbrKr9X42jV7CG7S6aQsjrRsTP4hTvE8UTtld43+MYh5lgt2P+xosOXXIb+2A/aM2pn6Wfwzw4ZK5L1aF55BMuTIxHrOZLmSnFQ1WBvjiL3VNejnxq78Zg3nqmsyR8llW+Y/qfGTswo4mXcolB/Zo+GvtE0EU7ktiGR7ExLsOBuOY5GyVWRqG7oa+eujXVGZgr0wHUzJvRZiD2WqKFVNfeCkUORI8nTxXp6Jf2An6YSuBkUpVb/QTX0yKtO0xHBzj2DC+/+Z/o3rtGAcTpsMpJ1HnC4WPrisAa/tngUcR+zM6dTM0qtXFq79T0+TdrIZooSymVl6Pu8Cm7hdR7VMEcXGLWowVbtoPVsY5balwJIfgxF2MJYnJj0M9CeqJoLp4VARsjGL5loexMM8H4xXz5S0J01giLNpkAltekL7I8OKbEnSPYt2eU8aKi2tKL4A28u0lMmAZhd1Eid8JUnTNsXHS23lQlzJatMxsRtnFOXI+qz0pARO+9Hv8p8UZDW5yAracBJzm4HVChf33Q9BBHq5sl6xNdniRUlC8o58DancKcQsOpNRVKxUFaqora0oaE7PoR5Fc6U+7t3fA84RBaq+svyeYJPQTo6kR2uZtb1v0P4r7NP39uwkRQu6lWemlRTa7/cFOegp8S3aqxMbr2PNHAr2W0HxlEhX4DrlsN2qo7A1XgNDuX6L+iB3YSO8V1V5ScX0ztBoYfbILuodd+kqU0GjeYSXTnO6JtzOjFglDWltrM6LZCQ37kumHQqH7tDTyrQp/+G4VSp74hchb96Vo18VtuwYqnTc8vuYxRrMtfWZfnIx36LZ03AfqYI/aKEIHoVIWnedscg7/ZGaD5vEqcmbqiqB59WJvIhyMMRrewMeHxkt3LuxQ+XVN5rOBTmnkGTgQQKLJIeY90WrAJ8XNu3FTWKGF/WbAZbywfvr3eZQs9BhSIGj9hUQ0tOJb8yCWnkGS6x2X2gJiAiSPu39Ik+WrGYVp8yhJTK4YC85E5h12XL9Dx62XSinL0MMby5vdIZHD5bnyE1CM0sHpuEsXdaQBh9xzfGTl7+LWZUkgc5fXYUh3aTixakMKYjvcir/sr608KBKnG3ifdfLU1wsMHiegi5JPizh9mBxZwB3Y3hzgKxFJWDKT5XovxUz49+ruqOre4d+TC1SHqoFsbmNKbXuUEQNuOY/HUxaMStwmQWTE8hwCxUXPIMCdRLuE0CzuybQr4WJiy9tzgDn/PQaqpMDBayu9S6vytWu7FVHT5WSvsyEDHwseA7/iF9knY8S54X+20Qmq+GEIENFZn9Tm0v1jOXVJ1HT/3rI0BLgeFgz31B7ClSN0vzpUylYAjU/XeqOUww48FqyD5eB3iOqgXDathBABAHFeZP7Hpp6N/ztRetaS+7xTEdq3yA5AoFe8MU8yhfchONX1IWQh/uSaOJQEWMMpnHzUH1F0oA0E9hc+gTGrONfbBl/NSCpM8EJzO2e/GHy+J2JrPfLLApUm6XCOqg8yseH2UBqyaXkqb56M96QiemO8JuZcOe7voU7XVK/Gdmmysr/pKrPEr/be2OW/XeD8hWhzMTR0qmOAE0OPwUknj9cFHMtrVNdPe1pUqv2O82I+XvZe4M0yVdyojlB8G0kytPNyrf9H89wgyLjcgSCtd6q4O0GO3i1QcM5LT1TZ9ZMzJ5sW7YV35RXqlLmI1QtQcu3/oBk4dOmj+AWYGgrADGcsRlZcUyScGuP+lail/Wn6g8WCXpBXMHJrX8b6AFBF5j3b6Pj0DNOuf3gucN7kDFLm7Ad7RKuii76aGNyJxjfUCwZS5PfZOMmuZjw9kKBplyH/PeBbxAFv7ODLc8m910nyOR57LcZMewcW5y6vHb5rU6BKHwAY4sw5FL7ulyxo1v4vSMk8Gy+8+AhCrf2uV62ZUr6xdGGAaazq8yMFLraVmLJ2CMNE7y7pFK5UNXwkxY/UtminYlmlXBJ9dbQgRi+3ctmVRlI0p3FaLWEcYlZBm7EjSCL+nufL5I3/ueMWvYAuRRtRniAL9gIFZmKEDWNtwfYLmrXNrBuAV5B1tCUyGEWxRygevOMmFWF1K7KG9BMNzFPwfK1z7J5MmhrDWqdeJSsDxlPgCQMwtWsFNQ51f0JUD+7oe8YBr31TaMcaunP+C/gTi8LG42QTAB+Or/FdVLnKv4TrMQUpUWZa/m6KsPAg/opiMw7RG9X/mVbe0d068T27KJp4+dSZpSfi8w1WDB9CCgXnSKxhNQygq0f/zjevN6t/rwQSXxBO+AcSSbnHquhmCOFUpz2YceTRYXMWaA8MxWfkK+kRpl/YwazdE+gA+BAKlYWmvWK8WU1a2sjrUXN9EbaHpml0lxaQdAh6WSe2f0zi7r4kwdfoyIapeWvH+CstnNhGQPBdJkN3BW6TsXAlchXXCVkJw07bQwyNcrtIImhSlIOG7H3oInvJzH6nBn6P10PAj7KKdkzNgKFsWTqsCSUtZI47w=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1h9D1Z5GDtPW+wuCTrU5cbsTyeRnoM7v2+KYfNB8pPDHY3/N/nQDLg73FVUjs5JX80ZEMdZ5aXYVE2SrM7ljDixtoKhF4R5tzsuuZUVsHAV1WPA/U1mwrFSifEl7nJFR4H7JrNs+4Xpm89+HsA8/rSRlw9V/ZOJTQz2GAcigMej+Pm6WUTOIiJ/w3dwNzI+R4ZQkUd+FOMFWpgWTVtjyILBrdN7gZf+G1VecTpkTEe6cbVtAQ5MW/ep6fyRZrEO2Js2MDA1NKXhygiDkZ9GLUa7D6RNjTSepzTktabEAovt+2znAD3CFBDI0PpGbs3Zp/PYnCcCbEsFYkaClaugG/qXuinCWsFMCBYY9Ob0gSyft50ceabUnOHZVUm8xlA+ClDX8MZEiPd7zawg6jK54KO90tR7tL1F+sXQESwYRsPXRmCi87WKJv5EuT2yJR7e8Csp2GcTDa28VUXY7kPwo/c0wLjciZGokVVbmMjQSgasvG6AmzZYJ+Vp1MJv8dJBFF4w2vTi89GCg6JuqYn37dKaiYgI0vaeexueDnUaQd983L0jFegMB23ABef9CAqGXNzWAMi+el4gesz2AF8bGPRTsI+xc55sK2ADjel1aA2vaL/3dUoWAYZ1WuRtmKWGf4mjPZqTaZR2jw9MLSWxfky/JAVkRJswMVPS6FGAeDS2/MaYZlZN/uzO3ucuqtkw8pxmFlUZnaHwgGMgTuNY1SZHfA6FThV1iuO16PdPL7aBSOMq/imPdkrZL3s8MfXDJViz6rywV9aTSOhYDcBNgwXjOn3RNjGHQ/RPyCcmqtZZ2uhWgwHmGOzgHq6nwpORtvsY3hzZyOZStkndruZpilaLrklv0Xymql83klOTxysFmh+JcgIjrFW2qaz69a4E2bQ9eXiUxfUbEXtU+94ZkrfEDm+XKlUci5mQaPuIsB9cjNcQcIfFNULpdSGtGrNMQrh7ICiX0CZLU+cUEk7rG99DHCM64tvw0iwc5Kf04bsNbeQylKNXgoOhZx0Vo+CodwDjoDyh67Iza7oLcFQvUgJcu276iRui+8m2VeIH0o7Ld8f88Gk3Si3y9GurCnXLcoEZSz6KLmTxD/GMe+IFN6LYAuN+hWcx9Bzn98eR0UjtmVSiKmz4IR450d+ckdHycue3C89UGmatKlan64+RAhVtMHD59+Oo4t4emiZ6kelscpf9oQuOaFTgVDLQvRw55j36u2O8DguFP/R52ONuB1aBS0Ts/lj6aBY7tEO+APJjEzqdXLc4mt57QNnQe+L1A1/8fNaegE51WpWq8pcyLHzDvVlDzQktdgMO1kqDL41rRtAu1KG9MV/oGmZbfNjrJirz9lXK/pj5e3/5kd3lupGWcpScpToRBv9y06nqUIKwFLmpERK3PzevpAvqxwwSN0YRs1BLHSB83qFu8Dt8SaQMzawVrXHarySYWuNiomdVhq9NiYjGHZ1vFcnmhd94IDDQ33rOam/TssctZeh4cQzzIthhRDPLB/67wrbUAHYpJJHPStcj3/wA+p+EWKiKfy4s3e9Klq7T7kmMO8brI0u+hRmaIuizk3Uy+HPpifz65Kd+RBrDh/9siaz1kQiPUVqOsVYmgDva1KxSJklkdwp7dPX2C4TiSeH56ZVGX4+LGghwnftE/20YAhs84aL718S1Ev18f/lAmmWqOdbho9r9miA9jU3tcQKa1/3pmELZWzCgfSTwC8CqzOm/Hq8Q3MlKCXeAgHAb6EoO85eCOXPlM1vybeZY0kXlGXrVC7jM4Oekb3qRUoGEV1R7BNhV+Pd5afXPWWyqKUEYCyVJOZBo219bkZcUM7RAV1BKtmQ0CcnsgO1KGU+HqK1+ttGVI8Np/yv3W4jLnWbKc/zBPtx5VqEPJgpsJ6HCaQnSre6DOXmICR6qT01vAHnnRcZwcfwBq/ptcOyPR5f8PTKmbgL3MXk3LUa9rd9P6+w8SLvHcECehYghL72KUhvPZAyykmCIqC3I6KoIgDO/tep23+ZNZXOzgX1zEFAF35olOeWeU4XT5bGIami4OZ5BZe5OuwAIlzLAjb+M6gw4WglK7iTUkGfVdnDYe0guLItTzWPmKQktEUulJ3Gn/fwRdpD3XQA6bpz5VxyCfPKb0T82ZDU//+eT9mlBZy9OsPf8PbtjB0iAQCm1V5nL3WHjnwcNI7z0jOCrxukjBSxWZLzILLu3SNeAkq1zPqqAL6Vw1RR5O1Mibbgg+5nrA7jOzxSxJjVwwRkpYTfivZ9WmPbOnchwfU9jJvyZcJc9V198sD5gfE81T7+y962S4iDNa4rK0SUGWJmY2fOlWgr9miOc8deBKTnlMhF91NMqqoPFo5Nf22lbT2ZA7tEtLsH+/Cgn04nA04/Vg6bmUGdB3WVBRhHMxCMwzo2APiE976qmqFIUSOl7tuW5D6imZN+X4mB8azVvG9lnbYslgxQQKW/ab7xDMAaPNWs2GKlCP9tiCPpBOSIECGxrHDNzYdVfMiGprxqqvlvkc8l2BxO76DcC+Ru6hoYSL6WE39VYG+W/YGPN5mBNNMWSTidS0YzZIP8/N2dDJ+69uGimxfzv5lkvJdpc01DGGzXp3j+UR9EVhEsTO66m6FpB8E+aOK8Wd2B2g3UJDcN/i8FIsxXozT1Pq4JmNansurrPdPakphpTsQEE/1esf+NivWl1SQ3qW/+qJDuc+TZQfA8L5y6pOOhhz0nhDwuCBsaGpqMx4P1IU3LO7v27Q7o+c0SipP6UiobV2fE1r6zh0Mue6pV7IEaW1qLB2imWw7GmYaJhmQcJtt/kIorjLpL9VWYzRKdZ5WUELRUHijQkDHVlZLeGpAytRBqqfSeVdeqxTPhyJuruGUFK3cZ4bvcHgpP0lnFifh6hZmx2MSu+zmkfNtK1V33beReyFQ8ck28aRLoeNc0n/B2C6XNbAXWdWfAfw8iV1aoNXCTwJrgGHp2ZRek4bvjO3RcwYWYjKs+G1mOKWtLt5gYFEP6alAwnLitoFicyxZu7tWhyHHC2Zi8nQmNAWkHymlajDTnw5KsZBX5vWKnZQ4ee31Xd+3QT7OHz08yLKmSZR771vVgjaoWNR7qv9LRYLjGQQ0DeFUtP40X8hEYhiJljy5009IEwTNQqY8knDb13nlhhmiHzZ1YEcBeK0ejinuX7CXjLQ/G43jhSEx30xIAuyy5+6daH4+NShYTQUEe30AHYu1Z7zlb4uywcufo+UlFdAOw6Hh81kcC5pYLJJHJ2zH6DuBqIyGH4kv2wz5Fh8MtvVJ381Zg5qwhTAAuKFFZtEqLUJP5x0wPAAv87E85Uut6TIrUvaKTFymWfZ2QnX6O+eOBpRkF/3X9cHEdujIroLdjZpBFsirCdTglbuobTOYtbQm2Snqav1I+4LKqV2JdwonwgPg6qptD7FLlGalsFlDfeyBXlAy0oeAuk7l5WzdbittgzegMMSTNe0LgiBv3xG1HtCXO5kSHwUMd3s7UDtTn2WxN18vWzB6l/U1MSD/yWrflRTNjxD6cYFdzsQ9Y8U9vXnmLI1Yun4QnkvMtvkv1WxSt5WQWP4msr1G0FQoeuo1kdKNikcA6b4MHu9aPNdi90UipkkIesF3BhPgs99eSQTtVwpvai/YKwHNxJ7BmOZlfdtL9U2OAiTCRLPENe/XdMXV8SxgMbYJif6B5d5mUfgj3BMwBNzAr56NkQeWipXjEJ4/4X5oJwNZrpPlVsPtJ4Ddx6TQJdwa9s8NtMfjFSDfESNhYprBaziUGX4+K5loI9VHtXhb0K70mAZw3nd6Dyoe1h2GsmM3p03/4LNrUsCEVnHn64tZK6D21G714+V1ba6hZFTIcWxarJ+I5R9FtzZmhoJMFU9Rf3UfW28D3biNwt8IP20GsojiNZw6XBQGx1ATm/xhk6AF/7j+E1hZsWlsHsf9or3P8RIhBzsO2Bs9+rgObmJAUaagX95ZJ3ieDfOQ35MfDMIuY7TxNLxT0ik87NAVHlVXHeqI2VRkbv15klB/F967nrGq83nkRas38RR8fHNn+lB2XcuHOtzioaYY19UYJRW8SGXZ6ZVHpggjVHYAhO6W6MCIxy/usXHou4fO4QH95C3oB8SgZNUdJBu/Yxo1BxxJhiVbu9bFM3/8BL3KTa5Jk5cuk16ZPd2+j/WNY62PQ+panPEfVKVFIF1KmosP0zatOlezoPVLbxpLS/3sOGODdH6okmDcTDbBhAlNc/C5zVHelVeYIHUe2ng60AWdfgzBZB1WQY4SvHu92G6sqmzbkcX6TdXKAF1TaNosgN0hZQ+/HLdUsNDI6ixri8uGlB6g7u3vkWtbeWb9HkUSRLI1cQLu/GEWNts8tLOIUAJqvyFy53dKYMjKb+ZI/SyeqMUzozewPfjpvYsm/5B2Y2ctMgBjcHiwKHbdcOnZCp9RMZfdQUxRKbpMF9LKC5xzo/gnCLj3o706bqqdzcI9nkxLZr+P+2x9dy/ZLwGrCB5+Ni2vjbJCVw4iUPD9D9OY6wMcM4gfzXTum6MunEpmMHmQMdT58qyQYm2vKxHFYbOjaHgDWn6X1AbXs0dE6xSzQ182G4ypUWfP/XCwNeLjgOeXVkfvof9bZpf1cYXooUlfYpLsbZ0ayLKlZjzSxkf1JauQ6Vpj/+hz3R78/Iq5OYNtsWZn04EiqkesvWk5BJx4UAQaTzXZ8WGZXx6mQFIay6d3WnO9IVwcmEDSuG9tW0yO4OcZkR4n1k9QUfMqOZQx87nFAabiywPjHwzwNMVnlY6rkBn77kBY8ZkAPhb0vKDVZ/a8XbIWFDq2TKyWmo/mt9QS8zyeodnXGz9UPAG9et+2C5HbHoASXgEnFWnUHahL2KV++pxNwuYaRdjVzScrDSXsz/p6oav251g3m/T1+qCkbCaa57khbTO0aECzgTvB4gDoPIj4Bk6BLvUSYDo7gQG6i7mFRU20L/sLFkaROQRuoPLlzNmLIUdO8hqEgOrnnhApQK+IAAH8zisn+Iwei/mtQcfvrFCV5YeP6IMWhYPar5mpzMvg0rdYb6ksk3jnxI3+iGaaYPbqf93DFhgMPGHbr5Ud5odK766SSKAiHl9i9lnn8VHLBgGAxp3FAMfDsPD7GMGhSeuXJcL2n5JGsXWSKBhdf7Y+aqbs/ezURrM7ThIpissz6ielWNPwl9+3hOxsgV8vDZHzkQOciXAbFdJfZ8pxrsA8PBZh7MhJWqOewu2ZoF/wEhN3AKSwhAtwyD60JtSdTry2Z45TUEeNeTHqxLLglbPUtRy0wfeeIlTfE3Y4tQzGdFS34nrQrP951wPkzh/4jIvkjjvbkYa3Y+IsakUhXnT21XVuTDIvgRr3UV1EvBxEnKGGdZW4KlSH4Xaa2y+M5dfGX5fArevKi9WMp3Ro26mji/FB4wm+YQJfeaS0ys/9sDdbkV+RLIBnYf92nLEANra6OlBTmUtgKJIckJGJlUJdhucuuimTEQm6dGmuSY9VAdABYLC+PpTqTGuyfBvy++t0j37sQtpEiAx4f5gyJiGQc23mfalsuZk2M8tdPe5Y+aCyZ5hcYjWN6sEQtfAea0TkkAG6IR5xEu3tTmYTv+1H5kBOVQmZXwSsBFHoZGWHQdq5Uv8kdgW0tDRtIjChSokW42d7zFD32iCkID2E5PsiUeers+trOfgQgom4M6y71GkLqKZyKOQcnnVl+A1wzLuSWlSemi979TiWpN6KhT8h72I5p1n3osQlmTQjJz8Omo/2JxCAnE7TxKW4T0pWCQpVwT6xiXAeGZiD3IvaHnpjJALN/Mt79HpObSkO8YMlLzHFEyIc7jeyKmFuGTe4tGGgsDxSc/Ej1LbZ1a/jklJi2FsLr5mLxVMZRxaVXGZFg6snzbXqigIB0BLMqtjyve/Z/Tuoyg+ydJReq8zjgOikg9tTHG7Z++NuoVfloHsuGBtEo1x7USNL50/9LpMtoNv/FD7bAraiggi8sCQtWPpI80niZP7vIdpo/OocfX1XqhwiTTqYz8xIBGYfY3PT2DTm3amVxx5YWnC1ClxgM22DC208+Z2Ba9UMw1yzFD901DVTumufvm5GQtTthtftAAiwH6ni7luIy7ODkEl4aGVV6HZrXkIwrxBQoZRWk4h96ExbU7AQgQmR0Op/9m4zm9enC2PmbCo4EyL8NR0r8zfRx4zjTjTvAkB/ZwepKqczSWdvgYKIqKf5m25/AsCKrhngmO7Q9AC9c8o5D+RDyzuxd5SL/QeMX8dlDKc9g1u1fGzoBUcAQdE7+NmNzeZg6IhNlMd+dBYB8X79qnjc/HFijaLm8UEz7Evz/PRE8UMScW7Nzg7skNwp0eywHn09N2apc6AfBSauBf3lHnCNZMxYcIPf18vQB3P+4RX6e3zJzkKeipKZ8bAMwwb4kL9I7djfPOTo8wUImYqGL0SbCqAsBbtVZYc5by7xVaPd5LJN51kXIiQfXYE+UZ94L7g2cJVgpM1JyskwWSxE8/7cSfi2fTizwRkSMyvJbZF/It+httzI/WASbB+QFBNp4zlLBtz82R5LVK5yl1SC3cN61cLUoVesmRYj83D1pbecmW13txYv2jAf9tlzOsV/p59HvS235sLA/+WIv579nk7CDLXmxv+JTxTk7W3omWkVHwKI/CjVlFUw3/I0M7BjVQpxB7hOzoTTXu938peAfQ1gf/F1dPkqbXFRApxBd3YsPm0l53HUTMPla1v74ER2y0XjDt43kE3XVKhVfIn5w8ZceapycsWtyltMP9e2uYavWIb46Y4mY9o0idqeHYpZhAe/Bx4nlz12sY4eafx1qpvetzmWOwLL+a9ugPFvvL7SqeU0gddtw/ozagFR35LCbZZ7s0aoPEmsZZOWf5fAVNa9V30TLZkxTaTVmYl9MbWYHrEImBWhCjwbUlCHfKuyzBBNBV2y5uCq5EeOelKY86A4GQCKXDdWj/liQmATX86TLbwxn80c5wDOWiypAQy11/1ZcKmzne2HmDTBZvUVX+err/wjRnXAZGIRRBPxOmF9gJHgeGq368z6W1MiNzWOUdAWNAX7uFukjGhc1aZXZBIGwBgUo/N/Ao3llEYF7nBXeiPxPPIHFe8btUoIxUD3pGpWirRq21HRUQQtPYY5jzzqEFhfHTbmPoIZvzruLXvGgbSgBDOsnroN9ugiY2tk1a1icvLH/MwUYGz/mEQRqTb/AsVCdgRnwfOqGndDNmrbjX+kpXHUxFt54HWqwROrMr2g9PdRwB1GvEkwL+zfApHNoF4n/ffB+7OoOdmolZsv3krGOGURtkXTUTUT6102fIoaPF3q4pMqtmFBBFgqBvZRGui0S7MNFnQq/lgJR6s/ciy5EzSYZ41n5RCyiMEyvhOHp3z4rUcoIA4eQsiLX3NHFlqbqB9wLkj1pWVn2UGblBxGDARqzNFC/6eZb7IuQIwIuZaIPahGPw2Rj5gWrusvj+cfvTvTIBXZ+Cqet2lfqiVh3Z6tjg/OhApjtCc8Ct+MBJ0sTu5VsPfmp6cquc5kVlhiDsIlwUwsVxRsSjKrf6+//EHAC/F6Hu7cHzniQPc1IKzbfIUBuDFogmH6NYhihiNsTk8rvVKLcylXLjwsm48uJialak4wch3hNdtoYd+bnNkWLG6icqnZLa3eDs0fuO74MACCSrK76oTDZmmxhGXGJMjmEkW4ZaMC1xCv4paTWsRZmrwA9iXeD8b4V9pJlr3V+SeAdvWeiTtxEqg6VhmRCUsXh0nCOEeGsbwQIBJTE57/X7MnSNmY5KxaLszjmlSMwoFgF7rakyZyxg3Q+yqV5zXxbAs/+Hg6bCt2rm8tWism+ta//bM7b1PIrYfmCT7+pbetADAPA1wOcRug6jKEl8i8CsHcE0xVskcyXHPYJ+7lnnqfP7T2FQ2Dw4B1jKltv2HPdSN9xMlFsq9RO5IXdEUFYVGJqCkEU6vM2oTQpkuDhag9ygPrJYKNE4vQbymoeQsPFADL3yRu9ot5/GHPiQ74a3GIjfFdeQBvUb4mFoeaXgUx5JtHkf/5CAllxY5jeWCREUs0/pwCXPL9DR3HiXX1mFIkCqM9cVIKAfhajfMBJpXHDSG71cOhbQpt6JT1MXTyLwCE1GwUuSDIAHh1PnZ/nD3ImpVYsFDiM4tsnI6FH18Qh6tNn+P56Q3EzHMzs7JbKuugHfn26ljrmpw8QahHNqc1fPX8iAgrAMBNTkUilALPno6KNAd/Qt/TBsp4Zm39swrzQu08X48ax4MeGo++CzSG3kPIjgE96ILQLoKY3iXiNtCkHntYrHEDWbO4eRf24WZzIbyRd2hGB2VK4ijBMcjdFXg6MfRy0VxHdSoEYcMZx3rBlGN2I/X/ENsDT2XoYrpMIeEERgXJQwWowPOeIbrHqgDoIuXGNh3SQ4Jb57lj6a3HQj6+mbBU2tRMbbJbarDiFxfmYLrnznNMWSzB5hxlLMDf796DRkKr1lqN0GjNW12W3wiK/sVMLoCXDISV23FrsrPiVXFFJSh+9XkB6Gh13WhxCJbaQDjoRSrNrLi3aR7Ls2J1IIXhI1J08hMmhHkQpQeUlfBJxv6aG7xIK3UazS/EDYILi7hCu51REhrbUovILVVxKxryiBHeEHwmhhqXMIpJsvob6UKL09lQaqpPpFMLbDKr9K3//x50uzR/aZoFJEHJCAvl7jMXhjYodLQqhFK2q5S+2ARZdl+DKFxY14h+avhXQB0JzSHU8+X3PxABbLzCjqnv7gcF0rILfa5iva1iNTq5WQlCnQ1rxuiHgVvrEUb5RwrK5DNEeWLm5wd2uxbE0MEoVlwQzUdCxHipub6u5HDqIX/od5ZGm5KEoz7apvkWgpr14Pa9iXeYgiqy4FzyIlte7vLddsHJGy7qodlB8ZBmvu8DrDJ/iriIzMK9llzxZwUWELFwPIwGe2ZQW9ZLA+BIbBFG9O4ggv4Ik4x4YRg69/sUms59KKMw/wMbLHT7es6RaymOkgad5vbvI7ZhTfyU5UrKuFRVo4pHhICT7FXECsoDt1c06b74jTb+NSZC2klq+bDE7o74KOUwTScuaNvFuMKu/OFDf1Oek+rpTPpDPtkSCqIFHyPVS+6+UaODv1o3kRu3nqBFm2olvXjK+bFYy3JfZ8Zf9wpD2HyIpMvge9wRfZYYVIezkCOO5YXfD0ww+0aleoBRZ0gP49xDRacFtfpLnCNYjOcrFKwWqU9iSEu6nayp7wSuUaANckCdWJVkvC1A3suTuCdGev/FhvlH0IK0bd6tLbf73o3DaDh/voquOkeATiQlgWkLXM4TjMEjcNgtJYq8i6CYhqyoUG8Htts6Gtv4cFACml0Ai8oXIsvwDZn+j1zB6ZDp3BGpDe5U8wR2Chg+lpi6qSIjU4K5Iuj6ilB2ykpjEPoy9x1twE8ZptcQouYxmTXvARqmWwRP8cpAjf/cusQdRUJcXiDut7dXIFE+A983Vyzx94vDTFmZU14t6hEwzaw/1ot/mYcSE5rjaZOEUQQpaNXRdbLHkCBDrCvGaDCvafyQPl1mQoyW8CTJiMlecFqImHAoA2FHJ28WzyTgfMmKSUhOY5npxGc5nGQ2ACGwiGmr27o6+08VDd+Jf8qhnMcdlXc9hfO8abPjZkuKKNe8773yJbHm9isRtzc7pXCxswBH4+8VGZ4gFR6myIcqzZPxqo/6wAqs0PyPNi9Ya8hBqwAzotM8Vkr5mtToy4Vj3nS5D3fcC0pYnsXgo3gg5AMGdJePCuZTGthvU3J6S5QL5VrKnypc0gOIVtKXT6vLqDcYGXlQJkD3Rfhr+iP3//jaMnQNkvgT5pACJUONgvU1kinmsJ8MC+v/2xM4pZoeIJZtxiZ4yr+F/DS86Lb3CIUyhRbszpMf4I2075UuCxXXmlCyh4PpWRUR9Af9o2Nrt+v+mGmT5Ufh4Dqk4U/4cRx20Elehv+uTBncdqy3ViDHIgjwptYOKu+8i5aQnf9ONWHxDQDcVqjtzyYNI1kgj+p85ddF18MSXYSevsZSS8PEyKC/zt0I5aQ1aPbaXx8nxHChAwrEPHnWntcsQ5DgZ0gFpBg5k6IovCE+fUpMEjFab1r39hJ3S4rRu2qgpdE1FWdFcX0GmVE9LqgWOGEZeZlheurBNHF7r26P7lPADpFaOpqcAJV2tPXl4pJE6qCLDBP4m0QbTdhsY/367BLeVFTsETn6YL5ZJjFAz2+dqiP0X4TcZq0IC6QHWxmIGrG90xNRWrM7bk/q/Q3QpA480M56E1Z7ghNgltB+rkmolie5shEAqVp0L+qr1JpovOgQ3BXUvl5whfZzIsRETZ4hMNwBq8sDyQ9790MY2bgQzs3rfrgsrgGFUUGgQ+jo+pmhEmkDMZgzva4U/Hz7EQ///XWOOxNm6HYX6PC4e99iPZX2bK/nXTuoWKkwgGV65SpLMcXSpB9lfLi52nDaTByk9haEOuI/1/wy+a9iwgX3wFjN0sqFbPsaJ9+gFsXPOlNPEU1luyihZp9gMwetqyqTFmhOLrPCmo5M6eI9g5b4A2aC5pAkx0gGvag4QqST4RG3cUO+Y6e7TRRzDEjl5mljoA+cNZuTFawf7dwKNEutI5IvnovgGOGOCb2WH5x5PXili0OKe4+mUqUBMc1DcP40kqQ8mPZOvZXQXRXPFrWzc4vKFIcnXLdy/V1k2hbrQ58RCgQKZvliwDPpafdjgkO7FYb9bmy0irPP51avVbxqjIn2yVH7uCh4jbDPMnOdRNjScMOz4XurnbKAXEWV1H/Kx44NpXDwg9Q2v7FMduWP4qy8nMODNqCmByaO4B1H7Ebf2sV5DAwH+DWehSnE02Q3ihGWi0lix8fGPQKJOAkwOZF1Zzw31Pkx1qxukW3Zc9sB6C3UYMoLZhLBYMM12BI0TurOgMagQzp9ANkQVeDZuF2BrcNWgH6H8aEtHBIy0w8k3xTnWIiXqnCwD3ZKKrilfhCHvKD3nGW4dB58UsgQwiEPTZ4VpRVc9yTrtTua1fOWq6IyXMUNOjrnBi0uoAFxATbltguR5UD84JBfBak22WT+ZE9ktzfKv/px/ZT4bqCYsyVRl7Rr/FapqD0WNz1minpRUkV+18Em2abqovb28rJmSlKbhqUMk5oruihmR93vFut+F9LMXePMyM0Y4hDulFnnCck4139S7xsF+eG2TFj/brgk0kP91CTDsEvrAuFk4taPWmikC+XeDQxq/CFr8l5xbKs4cDb8/UrC/2/HJ6pDON+y9T7IAumjDqZIBbohmGw/miP3VyuBsSQifgYrl9SEz9xqqy542YzP3Mgu2q616IMF456Z8rZbQU/ohtbl49F+i4eloM9D7mpywZd/e0HRspqL44Rr0PrdqivjswYBdA0lydLEBgMOn2fOx0otVIAfD8dRY61PAJhm2y0wyhAnfTxQELxj0y57+M1IyDmoBbG1TJsxhlRAEM/6f/n8MsI2Ysh6PLYCxoZXY1z5gm0XQ0WtGxkWU5kPLv05AdgfCnEYXiRGjESvoC3mmRZAF8zwL8Zw0GNZJG40LnQIULk+CNIayXbdvaQ6rNdjB5GGGL5qZceogUJ3Tr+ICJhQPifUcZfliccXnhgN5VOt9a5PqfC3mozHEajdCTve6AC/fBKkhGcpoxwmcDGxIGRHc/aD3/YV4JaT7TtJg9YPiivFP9krrDSiEbKNxHlA2vFGVSNiLcebdjYScIVcBOQJZWFqRuT3SWXBVQ4/w7OrM2jPbxkr5vYg/l1wkwh8zU6YcJFr/1feETzWe4K26GZ1YcsHUPOQBoQIJtmmv1yjLfumUAKDe2Gl+e3Qiwx230Zp4xPWPYoelzcDjg2ClruhkVbnRlTXwz0FEbvfo295ri4Yc6Rr4OZ0DuCw2t/6GE1yxUoM/8qXpkIDMYMpS4I7rojwxCKRnwIOGIwGy4LSUvK1nkW5uHr9h0JMQK09VqcCfKvLh+FSylofscwVnwaL0fAFQQiAv/p30KpeW0n+R3hp8LoTMjWUVMtlDsjJ+CwXXgfeALBUlM0orAyB+VLky6OfeWnY9ZLM5rNguRvYaUH2Vul1x4SRwYUQ3rz88lJw/OeNWlKi5UydgbdYTZ2VFfoA1+YQRJusyNT8ukK6qWvtAW6SfiLKRhIJrfKOaOEy1I4SNf9Mk/dRV6Yg/Iy7uE86YEfj9ST4BuesarWSJHSVsVaCcUYPG3Gls2tSKtTmcWuTuSh/ni8pyiWJMmxj1cd4DJcckgge0Fy8L8yusZi50K8y9N/961cQNEh6kEalZNDr04cKq9M3Xry1aj2ARo77fZx35qc1VSg3LpddWYMIoe64agsvSbhfIs8cPLbvT4l3Mee0OTNbVdrXsnYBvOG2ErLXDRL+voLLFMrEVIkxkAzz7jt4j8hLOtcbnBvJoDs08TEj8R4IyE9HsE314SgZF/8dMYlVPV9kH3bupin7/2FUkEqNAARU5Fhi3oVLcuIxpJ2AxidGnIQF/XWtrWK5Zrojm22gTOhJlof572oboqPV8TI/ywwQUat46PngJjVFW0sv9rU/gbpDVSPtoXYKNK4/hbmgbAtRC+RHVdsm20Z1URt6YiGZw8EeHZn9rnnzfRnG3dlne1j1xff+t1V4N/x7x+FtkJwHZyhRASsdDRS8fmrB8GEsThAtnseuijog/85y0xDI7vFMgBrBzxLjAEwdhdWbxR1+6TIgKdk1iYAsy1MKQvJP6xv6NlRG6qpAvL4fz3dBNwP6JKCxXoa4oBQ+nYrzmgpmLXjtWW4+KUTHQ24zQPwACaeyZRIR1kyUKTZJedHxLWu1J02V25IVUGzDYDlT6p3W1Sv7oMADw1T1TOwWrVupKR5meLujr4Q9BDtH2Hklv1GiC47jCdqeTAdVfbRDiihTfBnGWghOQIbZ47/qsoFxJYzkOCoZABjCCCFRpRaDnm2KnHnAzl1gBiPfAaOR6mPScejcterIf94NtJ+wdZVYAepM3HPJ+/Ou3FqrC/AatiEscV96KCDkRHo51RKEG5mKRT6BnBl8Q4jlO1CBDDloXCy6siy0xxJzXNDX0P/ov2Llir4YNEBmKB7X7tdKLMxjtifdwdoNEC9KfduX8+zYlhLb2SM/HV2W4YSbAL8tLz74NlIYK7uR9TH6coovfBnaiboP3pWsd/GzqGg9cDlltNWxOilpvED59ylMl/F91U/TPxPYL4k4MxMqL4/VQnux3cPAtmJe6iSIAkOGe01TVlAi47lvJqCQQzOsCAkyjlGuZGLBVM6MXDuqv/aokSYU90ZGbAQCuX7Yb2Zmz/cgkhK2oq04FR9ey6aMelDgZAMgQmIpdtvotonShR8oy1RXG7RqiMllI8gb/X9L5wcGTVsShUOWKxm8uAHOAIGw/rYx8zmKHJKQzmt2QP+Ugo+GNOwNT5HfEdjwDLHzPyPFBCM6lodBoki8TjGxxZb2/lp/qXwt3E0uCSz273iX9BR80FyJVSJj4bx/Bz6ouVxtGn7A4Prn4qMsKxFugPedL+midK3HwoO6LyJLAjdthbTh0zHQgiF+dwJJRaRCSiJ7K+rWQjpsHdkqb1ty88wu0ZY/KErYIvjNw6JGQ076nnJxtbV+/C9dN4zOfeWloZNjyGpoAcfy11QkR/GB2deHOX7OCEcmLeJhim6l/mMMJIsjdURy8dNH9DWZTAKu4MATVeHeggfmma9a9GMDYLmVOhYcKS7uq2iqNSxXxColR10RvagyIGe+9ce+v9DI2/OegeGCpwyFC1D5Me7edZyaEd6fHRkYvlG4CKW8hJ6WgCdY6asczOlSLD/zFuOaQ8ZHw4v1jsgSUSLXuvFlYFeSV2UHAAT7he9B7niR2Om6UlAqS8wzFRLaznKVjbeKCRShXmA8wPUeGErpEcUCYMgMh2uYm196F4WxoEU02/VSNUoJSzYkfam+Wg1SWKrVIf81SNq9tncjoknaKd/N91fRkM15x+R+G7yOTNLzRpldsdzD+w0MXNSdLIEOI/geSSAYDYeuNZWHOiO0vWj0nkqZlq/3hUvITlTpuCmwJw2cN0064O7z02+ougAy+rlKB+Qn6A1ir21tKu3omo64JuJP/W+F2zo4tzgchNz2N9k17ZrNk6Ul6KOYX+nuCjbKYRZs0bHXtuEb2wr5XSsmp3xuAVJiTHExcJVbdR76NtT9CmgRLU5IgvrvEIjQGI162DZoYeHPCbLCPOPgaFYyr2cMl2YboOB0U3BzQKNZfNlIS5pIl5ZVihQUOVxCCYEjpPE7jZYyuv6vnvO9ku9ELijxqw/NZ1o125k//lWuwqzoaWXbePBDiBvt6oEXKa6YG77elzA2d6TTlHiTtS4bHADyVVx3Lp8GrDMEBh3mhsFoPDdp9LmN3XMqSNGoRl7F1vxdPDxZaRbByfWnMbfQvHzp8E0IBV1tWiNU1rBqIOg4naGLGG3M8g904QsaTuF8QrE9G+47sx9l4O2xv61cm8w4URTwt+6fOGFcqAtkEeL0oUBlMDQYKfDgYY9Qr2oCp+pY07juZrPVu1OLH6dGIqW8TgE2dx9twj0CCdni1xG9c8BUDpyNTkQowWzNUcX6jN/SCaAhhZJg2Q3EQZQY6gcSw/i4KZhMNYoMCX7qrKI1tig/oEKrm9CZ9u80r95661NQjFr4dm8KEGyB1sZd0YFj0sPlzMr+33XpTa8DM9Isu/RziHPmVc/i+Pb47QuwsGP3GDkX9sHt+kBc9IIVQLS6IOlWlgCia4xiBPEGbzZhHQzdLA5Sbj+4pafxHPq4hUdyRWv7JYktVOoq6KvVlAv1kEI7hcRCub4ofRAUutC/9Ur5VsiIk5luayf+tESuPrhvdMul7uXMAiAbKMu/wOBJ7MQXyicrp8lywPPcb/Wq0plHRMBr4d44JBG/Sy4dEKbHh/MUglf4QHEZhBxjokv9AE7MZyyEfE9PeQoSeah+iANckAncUGMR4g7YS4WZQJbuaMeXiAoQBFgWnXUzIDU5ZlNagKdLCUyLoi5u6c742MKN0wAQeC+/+amDYCukx9ekWZ9Ft+NX/xlb/GYvBaSU9hPTLd0CyXhGgQe4NGIVfUdhEFyYCwTfzvkj8zhF3NrCGlS7aNwB2z20mZdrWKLGnkAFVUuvXrb3I/l5+LLpy3Np94pXt/KOG6UmLLRyVPflS+eyaKMpaFRribv+Tc2Z/54Lq2kTgW0psTSu/hvdDohCFdPM1+GvrNp5wPnqZuAUtYX6AEOE7/+9oXgrEeIa9l32CQ1wMedeaJTpNZiYTILsc4NIatXVvmP6TQMDLmDkRVlf4+ISTI5yM8fpZT+y3xe1gfRbIJD91FbxFLbBBCV1AirQKICmmwLXnPWpqNqCFUfH43GFMzkbMSwq9iBFTbGTBbRlhyfEmViG+FhpP7oLOK28rdEktpe1eBdYwvp98sn66KMnRaZSjvLbeVet0JbGCBmh1oZiOaQyJltQyDxOhWyVTz9QrZMvoqmqGqY4P06OLoNfrINz5/t4KKEAndhkxVucOH8i+uEiyGwmA+I7ZGj3oXgS9Tf4ipJzeXwJdWnT59FvNF7r4u5KVWfhAz24H1xWk7Nenf0fpDv1BDt9pv75n8saJ0/W3lBdVrgqCQdb1MmbF9blEfRhSfG43+UiaUaDVW71pCC48QQwalelUR5OvoU1FZs5afpKVw7cZi5x6HRbFQcxJFnp0kMSjlpVbuyCYv/it8XJpXe6whL6Ja1ZmjbTuf6nBiYwLF1a1vnLF3fE13p1uCR/g5cAcvFKYV0wqFWRY8Opd8b9V5aIxw0M3HioDc4rV+zE/UtilXtp7yuLVO8cExYhfNegZ/Bd/92za45PomWARLwRMJmeB17X5rXsfVCyTncULQWwy/hWD0bCAnEckEF/C5+/D3pUmheTbZPcPg/RZyVVWIn3tZvgNb74wZg1L/fWmj2loQqN5qI6Wh8L1RiRMrWhQh3ThR7A3tK5P735Zd6fbISUD4kfauhs74cKlcsXSkinhhnXd1+PsorK8vkx8NZxde/tAoa+o8e2xTGjmMrdc/uICOiOjoAi8wMuW8RRwi+8eezezc6KgaZtsytwytbIxMfeEtumQ5KwsEqUZlJlYoSRHHcckT2P2DXn/aBrDBKbSvleBH1fBwUEajOD4OFpnV4mmDkstF+07J3WElJU363EaInY4vDRztN9R6UqouM2mUCwT85HqqWrhnirbENNMovPPZVCoNxZXlVGOXjrvkdij47DVWleEYSWo9Uw+vOq7LqHjlu4Up5zSpJUp3UePlIpgqQ+5Sacm45PwR3mA/AwRUUQQlrKux13mxFKZHEWWVC6l9GIUTvjYwqU8Bng0PRwsbvBtJ/kreFFyOiduB/JEmP7rNucdKymvP/xH5cFY0XkvtcdiAp60CCVFbEISi4OKvvfpPn9c41ZhMhaHo+1nbO4B4/1fGHv9ov/iQeKTpdpUn3rUPKNfdAtIfcCJHM6XMsUCKx3WtDRV4C1VRL60M8bqFw8njtRJVRa+E33cq8x6Qct2+BXgu4rt8wJI1Rwvj7kEOtq5HzkgKJzrzOynLvWXu+qeG2B8Y4v/Ss+fK+T+KE5EXSnislbZRDbSp05Q55BkufUMt9wH0TVWjHwAXum7p2KzVKQTmscTG6/A9038vWhnL0uupzhjxkDlY1XZGI9Ky2rqUs6yOLYtTGT26xY/8W5AuApjnJmEJB2/hsnvSZl1Vd+qJvKKg2ODh5pmPfHSHs9KxNeqQW1t91lb+JLU2NHtlCD5mII0pshioKNRlMtdbfZl4z9oBwhcB9mJADPZsmqgkgVqqjmqqBIxiB0Pry/qoK5GlcssszCLKOVwIEnVQLCV2uHUO5oGp0QJvGUXghtNcYJ4uWrDb6Nt/s7TIzSkbNIcgNd1MxWr92eZpd23xtvn7G1HRNdZ0VqoCuFXnYdDI5XVkkdQ/BGpSARLmoDFrKXg8VIaK57LErnRxrGdpKqAJRgN9DZY4GrKE88v+1WXNq7K8Mu3YAmZ/qKsjkLrTwsZUq/+HOJhPmqPi2618Z2h42JrbF/vPKJr7QDJcH5woXei1Q9i0aQ28524e11wukziTZzM8N78/4ZiwYyQ4ZD4ZlxR62p4PJ8yoReImHuUsI9J5phjoUlpjDpsUfjKsVgMpPQcWqP1HteQcBfWhEjbldUmjLjEPAg5x/FpC69kiQ+9KW6OZL7/WY6iDUqHOOTzYAZiDA0CxskqynmXKqqoYPlOBWy/X7lXZtLgKgV0FTjN9Hs2qmOl6estNn7RJstZt+4DmrRY5nK6IkBjr7rbpH9NfWmpLC4gbvwx2YHytEtJzrzdVBSjqwWu8rNGpT1WqG11r9/STWFfuYuLwaOAdXuP00bFOTVdk5pcW5JX3G5K+vcYUZAaxK2mIvz0DYFpY+gu1Q9C2R9itaOgkA7fyeTgvjlxFg2We131WE9XQYF04ZAwKCrhSnqWSJEWFq9mYGhGMJm4ek/YRdhJ4CA1JFaWDwfGwCmOTPR4osaVcIgtC9w8xt+0xylDcDcOBsl842Lr5Xnh/Mtx7vWi8v6MK8SNwMDFyaaUM/uW9f/GDSjTGXygCWP3xTx7UtYSnPFAhNax+uB10C2mBm/ZX2EezBlMpt01SN36hN+gsHgMtHwjWcEDW15jw0qNkt1OCYRcBUitXyOC6kgFEEG7NF/gthdgyyg0GSbFoDSYcI0YdXDkruksassGmziD1wfF4r+WAyk/jF4M+IYcoMnXsO3R5/De9GWMq2yftQka1KPMQzTovf4MylJO34WsmWhnlSVpswUPMGMFirSo4YxdPeq0rSkqSnQkeARfLYa3iy1gFQirRB5iUSTyd4/GZhWg8bSCpZD7L0hrGQXkpgiNOXeXP8mqkjYt1sP9yRkjWrs+/mHuILM3PRZsn14WcQWCzvGXG3wNggDP6ZLxoYM/YcVJQIBfaX+iTx1XPQULpB4J/plaNjRe82JFQWne2IrW/G8NzeH+9GnTT/eT5BdeYXxRkQCfP763+rjSM65NpOCcYAKxmw/nphnEnAfvWz22C8DwUxuGR2e9qo52HNnvZcBSn/FNpNwibiBYsxRYM0me2uuI/nY5rgVDVTzdlUe5ertmSZzPTI0eIYInvJWleTg2yhnABjFpHcLsjsAkkF+zzq46WIUFo2lhMC3AiEtWdUMwxLZ8+n/SSt6s+m7iRfEAsnov2VHAXZa9/nEss+kWQab4jHhD0+zEICUjfSECJurbhj4/m+IiODrZYE2pR4V4YW28JMsC/SqJH+MzGJJCh7gA8W25g8H4XRFichwtJRhssUqyjcj9nksDeoOQ1LwlCGmlEksFN6PqYk3UDXmsUenIEMabU7sPlZ1j0ZwhWp4lhOj5j2sWyV42VNvaVu02tmgrr0x+5JGGhKLJNyb8NPvk7MVGsC+j6Fbs/abRRhn9qN/bW8VixjwKyj9eptu+QGP3gIt37bE9GZCR9AGRbc6pmul6KWAObfpK3KFLcsdtIajOvXljG11or8QKWL973Z+meCAOrE23Wd5Epe3tDkfRnHM+kcdugWhuu8nLkfKEmACh5t2xaWtskU0xAlL4nwxCqTrJZL7qszEZsxCOYGoXIrs+Df1ADiUDQjUQU7yHmXM9rAmw/hDWj1qfDdOhZ/8Z3GW8SGgVewSHCGXIGb1J2qnpiSZIGcwfkxFF9nJhogccz5KUIiJu2ojoWfsJH87LPUZklaGEDtWBuhZgZbguMwZwRmF2pUQYL/8XitJAWmIMqNTkIkbp11x3E2fgN0GKLGwiP85/4b0vSriUrYQ7j/DEv20F6N3fvQRgxqm9vQmFsSqjSKB20kpjG3TgD8WyjGOzLttiRqH3nBf6IwYrpmFmvsrCywJE2L/+s7J5bL+tHaTJBoSCcV6i0gExrdLzaRyrX+yopjKxpPiT4W69zLhVgLzweMUBSKkxEseC44tdM0JLH8aONCbZt0AszZMC8LJ50AFybj8m2XJqIeSibwGOhfZYILeWxl52dRRWIJpygIK25QgW5FJe88fq6FdZTOe4Ax9PrXs8f9cnXaMTm5LvU2l5gzXIuxSoVcq7PvRPERfrmpaLB2NG97jqUbLMGxsqP8KtizQxT8GLimDTh9T5SlyZvjrvqaVzXO31zn3C12oSTESyb57KP/Yc8Ac330hIZOz6Ngsz0FNT2O+B9gMWHtVW9qTNej4DhIE0bj+6LWnsI4/QKO5kr/haqKGcWJ4IIqq9Ql8oaLMeQFy+2DSWqgqRfLVHSF7m//wFzk+vMuEtTbMzZZWZsR+yCEysVB+Uf3cqwZqzUw2GEwdQpLwGCVR9p8/F4LbvR/iqsFFWS6Ga2LJ+1VbbVVZdDlA9EgRvp3npi1L1WuU0j7I93qA7rwy9J1pPo0c/WzMxSpoxSf7Kw3UexxX16ZhRoGJ48YxQ/+DJ9J0hLkx7CBAOwdupC3voIKttNC8o9ApDR7xQwJLmilNH0eGJ15RZmbjZSxUxRDtGx78+CE8A/HoTlGJVHTcK06icFMXE4fHZ0+kRKV679I79ghONLk+2XmBp2xb63PBsPmk+n1ZDoUPYKpgdxxpWQZLlZ+q21HncndnFRK+Hmz6/6OCN+Z+T9pR63kmn7eHl74KsOu7nAvOLoBDB9Sq1Kfilz/2fojWwgKPyuQsKslEwyUFLXm6cq9LOMiDJi5pF55nhcTXPpnUZezIw30Gfl266YhGMnmA7Rka+OxX6lXY0eMwu66ExsUi8Xj5rx+bWf5a/cl4aIzndwc5L1pUC0gx3JTvnY+rOBUk5VPpwh4szym8WfsFdK+qkwVUEDhWJn/pKJ28eer1B8Q3wTi7pEMgjUqcZFV4MfyITnf7j9TctjsSAiS3SecqnPSTmWCHOI9pL5XdcMQ+xr4cwh5PexhMesuw9fac2xiHaX2NgjNzgRQHIf9pZnUPoPjesZoYiNTdxv+vMvlmfuXqP+SPIM/wTTlpBG81qUl9+WvG7g1VOjg+WXpusoZd/pAQqAoqimklt/4b5cznvDgteI0qOHkUrQPIvq0YBNezCZkQuEP4FP6cDafAKJrYennmhlWMAYD+3QSGzsu9TA5OPM2vHU8oYtekUAnbREJhMn3cRXc3b0KNAyoE/29vRpnP6juJv3LbV+z0+Ictw6Ltyt23LYIlV6/XM6IaCVN6Axk6k8uAGSP6kfUCGgEZxTEZCks8OpYNtIfQlvARabfO33If5RWFGDcNslxfdm4n09+ZYHl0cn65ydH1H1H+fvUNUF7UnjofgIBs1saLtcfXX6PiTeWwN6SUvMrzFDJ7q3Ur+okzDUtpOI2cUNLNO63HEvOdRBswibo3IznEwUXerQn8yLEQFn6da1emOojxPXAnbBJ9Yx/7qldaK3fKalXFqahIl6Jpb7GdYSJuXAumlQVMlxm8rz2/gWJiHs3wRKa5fb2VSjSqIUNkc3mfdqQ+FUDRJtsM70XB7PrYFEht2jCpxZvbTSstHnNx0qUjZmvN2gbvm96itPQXD1AKnC7rgUe25GNEoNH/gMRy1RwgCiEP+ke72+ttWeKkEL59mm+yTBlprLgE0/8eXqs5srRqnf0EsPSDYT1gErINIcijTTaD0+GXHiVB47ZTrUa18m70TlUkh3NJpdkkWApzgvodC3f0T7OFCyZ80tzQYeMkW96LAEuvLQArWjFpPLwZhGLwhf6tbOFd4Bsf6SrizEH3jtNXdp++3mtjpP2drPWXftplHASgOjUM70lqV4xGrFxpUsJ0j59N41tEwMFQh6675Kk76dq0daVSVP7jnKUkBqCDPPgLxBYWjC27B/AgdsDFJrEE7OUDYkGr31OlLkIG4OHpKyhw8/n+6zMJ4uX6yh47VllxEN1YYhDzMajF6Io2FAl7RKfF0diArq5FILNd1P6lcqAZjXLYDk2sgC+Lsg+uLOWVl2TKDugO00qOdkd/uMzoEZRFjDS7mOOXlCia4LKhA+Q6is/U2K8Gtxnfl1iG8ff+HPqL7/qvDq7AueGpGUZQ2irE5t1MQ+46dHhorvuWWIaS5oEkHQ31ptGD72WcqnTWhr/pxdbp0CgeKUmFILZfRbU4mqwl6Kt4W94DXapxOkrhXsGTPk8kL3NUuv3k10NVPfJEEcHMPNHCoiuWik9Ju+OJ0YeSg7vP0NluEfXeSgkB0ZatxIInP2tZyCwRl+/iFhsuhiupC4zSJgtHjrRkM81y4YMTJHya7gc7qq8nq6QAwo06rlgrLuGS7gIFo+voTwg2bGETwtZGOMh+iEoDU5R8eFz16nOr0gCoka2nybyPvrfLct6CVcFjDSKirI5hQJVC5ZaimNmzLDsm19ABYaeLG+N4N2WDUINRGGi3VmDCiNmSMoUsKuCSFq66rTlyZgcHzeGsalSoge0dzyItSGyjirPOzTZDx7Vc29UZvm3BZPeXw0HNMi+RznrbXUVzIjNUV+VNXJvPG7IlPVMPTol+mboP1xocJJwHjZheH9hHnhC+DAi+GfQWmfCGes/tNIZrtexOLuWieSCSu6gs+duuFbEe1jBrqpJ1oQ0NvCbsp/H6B4WBUiZ6OtkV4eJMtk7peNa9LV612V21W4L2kRZkS9fsVqn0+HnCE9D0z5oEh/1gWIsdxRTySbrfUtNG/JLqBm7y7hMDGtcWGUDs5zu+HMzqkOdbLzQdw9FEkGApo6I/j44um0kfZ1TVuTrCaKBSmV2u/xhQj3S2ZzS4s64Yvj6d1IoWECMS5FZpEivR3h+/5MdoreTU9LgXahIvWZYcBD6zMnNq0olrQKF8OyqaCgT/vGc2H1fgNgfj1yNKP2pbbnNJKeS1AWlrAk5fvuoJUDCqxFWtfl3NgI4qGrIT3NXyOLPXvjoxYS0YuLMe4vTuXcyV8e9J6ID2v5oTAxn5IzTCo4kDt/ZROmWc82ZQnBvwmrgyccEd2zRV7Ox631Ts4zOjKp5iOuuB+HlftWsrR0SqHL5kr/gSwdTV46OPdGcb4KE4r7/Ilg/B/p27HIp9gpn6RHquvYvXyBJSv3pU+Pss36KVumjhtrBiBzEsY7A6LpJh/YmqBT+13t7+VL1eOKLwUzaUJGRM9yADjUDZsxZtXVlMv90l1qM4Bhq0pspcAt0KqIXYOo/Hs33qp5l9djqPLh4Pt84Gmj+VxtrJE3hX7wrycBmMTZ6/DFfx2TdhQErjf3Mp+VAvLaTbbNZJiEUf38zus+yJeuIO7HY1DQCcVsvh6t07uuBnAOO8ElleEgl2+OZZ8aSWPmicg4z2lgroowQGJUryrTRwWTz+06VkuB8wNDpGZnOthcy4E0m2LTTncYDJYVkUWfGg4GsILkKRGpNhAmGFKQUGRkIlIuSsza/EU8JbisTXOyOOKhYEtN+iRxqugL4Do6ERfsTPOQt+Jq0RYs2m5mBwj+VNgw8OnUkv0lGxwobao/Df/Z5kZVbMSnW9DNXjd+oHwLK4HZ/Qq4f3utPfExrPTvLatcstO9bOanUb3jtGOh/8qeGJhtpmiQerK+yBVosWNm6gxp3GT/TIK98p5qjRQ1vQi2pZaPfabQIN9BWVBOMOluWbNAQoVw59pRayOMDOZ4oEnALWxwsAvZ9h3A+5UbmndNTUwy7ZliiktukG9I0nSi0t4ejPHlBhBowsZT1KH6/fjYAdH01DYmxm18LZNeieVyabltmRMZcXEkhM6S5FcUp8qYTnf7nxsnV3LtjnHdca2yX1wqnF5o7cvDGVqixFLvoAyyVeWs1O1QJHk9E5Zd9LGVoMq8mtjWkPLnj+pmnze1rJoLJ3On4CiR5GwCU3N5mM1tVLVzfX6rtX8d9r1Enmjrbcd7z2Bd5gZBL+zQt9EU88DJaDO1dW/6Mhu2xcJQyXzyWqilyxPxXMbx2RU4J+HZzY6om6ntx75du0S7co0Uje160dCaI8jKmf/zyZ0qeInNtJnPGxJ4hk4bzEjZFPsm/LjYL8kO9sRJucm4To3nlKr4H4yVLj76RZlsfg59mpor75aQjbfKG5JhqG6qQf1NdJpxOpNI3YgsCbol7uGYfA+b0l0IWnzgo78e40QjRn42+piC9Jhpchtegq5de6APhS89hrXFM8qHVPyQqwh3SLNNSnQJfLB58vFfdKEfp2GPtsHK52GDMqVDe6II1J/OFBWuDnfOFZw4nesH74q6iMjwSiOtehCwPSXT0h9Q0BuqYQ3MUROYdCAvMbckeA9A7UkevijDbIW+RDZx8crPNakm5gD72ofm1ceXsL6KYQfCEPA+iSQwaGWEblWGniEp1Wie9foOs5mqv+emM6Y6fPmhLvdIgEE87mYPYOXdrUf185X/wyYJkApG+vat/wbwbzxeMbO4IC2I3I3B930xYIImY1ZdTlK7hsf9uozDTQwUorfKA+NUi/DY7SckQOY+S6Zncx69N++Tszxp+9t44cCjhnjjmAHeqgjWJP8FRUsV2R2Vu/yy+hJKd0jLP9++0xxaGC3nHfLwRbFckFDGbtlKnVfgmOPCZ32fgX1dMlD6bZzxrdWZg9ukhoNSq57lZXXZg5UlIOfxu7c3UToJPnxZt17S1hcUlBIrKMJdcTALnISt0PtpQfHBgHtGBnFdkXYXXGu1um6FbRzeW93A8vg/zOBM3iZMdeQzWV7PPfgFuqTO5zCy8criQ2PEUuDQn4mFjillbuaUNcMyxnMEUYreSc7Idytq7+JmFQjYY61DWcnFQe+UDHKfP+MlAYxdiO+k97XU1Q5AwBBphq/n1zsQid3Evr3cixvNgNZdv1HiemCTHpODAOuhX/ibMnHkD1tJNLSrW/kRfDMUtBH0OL1bEeAQ4us/zJeDDHpbMlzD+9G/LqNaAApj28K0wA9doFm+a1r3THVM2FahmFIpPTJgV+2ofcRk2B4XNGb8u9rytHuP+bLWqVdbovwJlrlmdIa3kS8yeqMNkP5QjTydiw8B/gpXhedErhHY66/g1ARICh3H4YAuNp2KT6C8UJ7zy5796jQ/oASykLLWpjQj47077WC2tA2cnuJuY/36rd/ZHbSeIiK8TPY2XsEHM/5AXFy/1nxO2DaUJrENLxHo2kDZa9/CivN61O/br/qAMRwHe3L+oFX1spDqVA2/QHLktT7Y4eCKfU9h5af0eib7O8pxRvC2Dn7XKQz+Xat4+IE6VSJbQRzT9CI031yb32dFijl96Psolthe9RZeSnKLgj8Wm5QR+K6CXG2SHXeZMJoHS4BHp+x2qdiE+W5em8/054lsZzFhFBur2XqOY6ihl58E0F5NZ4qnVCShyWuwEW/s4HzEi+66lG4+H/4s+Dmq4m/P2rCaBq7Zt1pgRqerbmQv3KeR05jIBMROihkTlz5BjXf73yPb9lokQREe/uWH1M0hW/QtzA9M5poDz6mSLnf1UV4wW4zsaC1p2uc+swdA6Z50ujQG10NdwWBhPPqZ5nYiO9V6zh43otDfk4IlmPF8MmxeIq5PwBmSUVbNqVkwm3QYLlnH8zCs5Vp5EhF9Widu2unkLD5PVy0mHUeEBBvP+U5U7Eq9arZEC8kUHzctimxu3Bx+sLdAnM20JVIx4Enhr2h5zxY9Hn3BIRbRIH8LpNYkKnpUa6/49A+XUcrkVMRr72ytQUfAH3Oevp+CBjGwFjsq+E4b05uAUly+O9XA9a0TzsjJhPecD7fHvgLQu7EpnZcHDIz0Uk+b4P362X+V9aYxAXJ201efqhpNEdpeIxtkis2I7s8FkpgpXC/ZuEeRsDVl/qB3mCe7hHDx7w75x4iqGY1O4F2/vH7m7w7P2E2q/VM9e/7Huf45ZsNCaAQwIF1fHzMeyDgqtD9oD90nLOWSJOcICu+IsdBi5VStQ3SOR9ejNDBsCmoWBwSmBvFlu72pCx9tpsBupWrOyp76Y1P7GJTCKD0PBUTR9tq/5ENkRCWb8oZ3qIpbLizHFx6n27iGsgEv33Kt/Ugl8vmCsEZAd9KeW66YDU/f9frQjn0fR6vUoChdKvddWRyDyGbVgkvClxlOAHrXH7Uzh+ke/ZjRI7vdLyh5li0vpl6l7yviiSQg/av/6Td7i5+TCNgpMBYrz43CE+fulyiGG0234rmcNAe9nfguc1Bz3NSSe/SqScIfUsuOln2LvfvL7uKPxaX+HjsjzqIcI0e1NCxvO5Us4Ofp9BKx6APjCWobqCVjByjTQpZCIbRx4YHXgn9eRzgeLkprkDt889pPTwsfIOHuhhanP18U/bvfwWo93uScj5AFXQPinVMaLEe8jpXl9fvbDppu9nrljs39Ifg+YAPxpsGMlJQYaU/+WIsMETfqrIu9PHJaSUG1hkK9ZwLRgmS26SQ56L4EbpsB8m1ZxhMnqWK5c6xav8rrq7V+pHPLcBIpVvG1Z5hOCool5OcOJY7hKZhZlRFgqvovXNBO8VNCVh+ZwP/fRLmxICp2sLf2IRWcu+EhMQaxpyNIhSAKnz9+k5Ph/5JU+rqHDQC3Tm96cE7SRVlW37tu1IGCCj4hFFrz8iW1Gpl8CfleJh5wsxCbWLNFyAAG8mt1Mj2Tichy6phVKJmW14ZJx1ayMixOEvACFfVnl8lcgRmGkW5rr+ITeahnR7IejHw8R4nbT80ArMtDRsF1jdcmt31EJekDW+6852wSGOT4CTIhqNi0pugcBJq7Mz7eZTmaKrGS6XOd6opF4av4b9hrZXORcfcAGsAXdRFi796bz00YGnv+Bnaihoj4owlgXJ4eYfeHCufF4pkZmGXGo0atG6CnJMLRCX5gKdxnjiCk2iei8EMVGJue/uQbJy2G4F/ggjiaZAGFrwH/kUyTImgeB7hKlbFcHw+EN74Dy4Y9a6aNPZXZ9h5Sv0kHChbTYdu4L29uArZc50VNZPgZ+SVj03qz3ti+a7qjeQcV4Vplgk1f7haTL9Ess+b/HkAbMNtn1XfdGzUGw+Qf5uIhNoMDPm4B55CIx6oqogCFeW2azBclE2R+d+Q3ZBQxEHB5azWMmOspsZiLuOIywJ2UYnyMt+sswckKhkdS+j5lbBMmlZRC+tTj5iyYlzXfxKcD1zKyMCXVMEE90I2bh3vw1Cs6H/f1KT/qL5LhVojpdqZbvhfdZeK4GkxIIv7y0qZHNyR+F6cL/Q9QIf0B5XOP8AaYbiYPrMx+hd6G2ltK/Br2PXhierPgwK2u66N6MzPaT6L+bSAdS7L3Ly1R2YnUeCelYRDgz/jR1pFQB6ehutIE5jfHxiQQL0YdmLe1hjmI2/B3PUW/AUtUI1kzMeMyykmEewadt9zIdzzBSgqvntS1prjqdJEIXkRlvaCzE9NtQAfsB2+aUkYOgB0oH668U1nzKDS9gZ2hQQJVe16HvbaOBoqa7lx/MkkNxC5uezB0kb0ZPnQt6qVLcZ1k2zbh3efRXnN0/ALOCyuKRiMRX6ssceizviQwD1yc4I9nO6nqH0e/gsNtYW4xAy3LWCbxxVl4AdcXPMiTwgHTcQb4CmF8chqUMD0cAFciKENPvnMFAksj5SgZV6+t76jevtpXmex+UZ/lQzbzyEIbt8Sst3NaiAXaIfNhdXlTrkw5/+Em/BTZK5FQtCy5/RErCqjIm/g/6KeqK4yghYa8LFVfxV5VHr4rAmOHYzIrlGwYth1qKWIDIeEO7kBhZ9PcOoqR8d0Uvz+ZDn0RYFvN4DRWdHm2RMhOzzrHjlrUbZH2ARGfH0OytDrLDUBzR5f/SgaesoLqcofaGL9+2Mah2guiQSIxrDNsxZGSryNx3YZDjjearqLPxW7uKQCyZb0R3y7EnQ6PEQndyc0OokPi39nuPhPSYC0oafJfwip2RATvHLmY9TyLN34kp4Eyb9Bh9UDq2rZJO2JLEIOE40QWVTYJ2CAl2cztIlrmGNKOzJ7E2Vwp9N89T27wlZMrw6WGbjI1Sdg7cWfBLThmbhzLZhwvAG9vbkUnYYdbVgbgZUkRSUUUphvwgB7iQQEaCm7yEmPRKWO/qlf1lXQMTPhcWJIGmxzkQSrSMfubDrAV9chLNkn75iEI3w8PDogMnB6PRSxeqUwtyaw1oXAcR95gF7HW/YJRE0hD8+ZoufQ7eHn4XAfSG81P+tSuYvtvweVNEL97hQ0sXM7A3uhmrvxNhwCb68zxvYMEhzCL418SQ/A4j6P5jTpt0c4Mjcja2hLCo+XrNxtOj7ISiZzhxXzAOfFlRsYW9jb3wavvUaUWvqb3SPM2qQK3Om1qOiFySHXY0vSeOVTiCUNAkwq4NRzlY3fz5hm8m7LC47cWQd/naZjzecX7Fp3VtTfheXbIX1zW0y67MOfmga8El9m260sasuSyZUyfNvHzETxBaxT+qYsDoFS/sCOSaKAbkQ/aReIWH6yfhxdfcpxGtSVcSpUglDKHg4KOjUbZ/jr7fd79l2b7XzMUXyMYPMcBuyf5PyGrei/CYpx5+2FgTUO/l0tHJELmDhZZ14R3iucJY2Ozjqt5GLw8jf6alhdZ/9RXyOhMzPoIbZqottPulNAFGl/jSXe66RE2UzxPjSmTfInHZV+YlpJEjiHzrdvpbAE2YyLY9FCkgUYwWeYE7N/DNf6ShSMujpxUqDiW9TTwJS2wJ3lyLJ8Qc50daRzEgRZNbPiB0CH9Qt8BoNAU9m0GNZMnoo1OZ5Aj+Ky/ICFD+tGruksfuF1jAOrpVhimJ/GXcVTQnpNgMLGBvG50IQrlYzkiYJztu0JW7Wa75NCsV2u3GMuQ4T4+l/u7YIN0ckQeu/R4cggG2q7Zq7Q27O8qI4EBjG9NYh3uUF0rtIWTkWRUIup5Lg/IBtRtqYaCX/APwff7GghN2epvE/LJbpXW4RWxUqU7korkfzq538bE+86Xy1YqV+idseJRIwZAyY76zQizpTJEZgYMMy700m4bHhBOT4Lja18iOF6KTEuWrB92SzyHKLCZNzAFrksius9VTnsLGanARhUbcxFxeGrL3+Xi98sXUC6fOOjqNEAP7AQSO9k3I4+kvHQ3QLnmRHEW0k7EYSi4/ATy1G9kxdGIBWvoAgJgGoD6H5JRmMx66HpOqHd90KlC3Gd1vjrI3DFYV5CZNJWnuIOXJTXfz8UEggd1Phbjo5jRqlhtmyJLfKsUIIfuKVf3MgKsgH7sECjDmpcrteKmc0Sd0ZXwRLpzDceU7G2K6d9U8E5Rb+kau/SNE5lwAGt0XXCPpKJG04T6wGEq12WyMuNlGY6bfgzumNv7paZZfRZJHqyZVGXny0+Da3irNxtr66rlG/H7Fc5t//B9FAtP7Ygz+xBDFkngade0Zb2Q5NYHKfFx+OlsIZ6XYwIlIJghQuq5ybyt+/1FTmSd1XxyoDKOTb08n4un6MFCWQPiCirnlUUZcCCaLHbMIjMmf8l1WtMSqC+x38175/5d5aMeFoEZR2W3Pyi7i5my/mOFHgwr3rUs9SIx0mNSUck4cUR9EWZ7jjy1PPm4oPAgX8JkWLltkeIuIVzRvxOk8fVE0QFLQAXIc1xgnUVDagCIQ8BaRlIpOSse5MZv45ba7TOrj+DNzfIXiHzPN98AEMWvTCRimI7WRmgWXVpG6rQq6V8lTpx5D2sXxoakvoKhlJrk67yPDzH6AcTO+wAxC/GEhMeUHxM5dr36q38cS8Rcb7EkYD5GlV54rjC3JR4zQnW5BrBIS9kA6++/fsZ6m553bstEH4gKuOKiSJw9/7joXFiO4uZOo+xMZ5Ors7Jom3kxj4OlKd7Sp/VIevP9q6+XkwQ9FijyXscCshx+ADvzKIxZfy8HQZ7E+Cw6dOMZb9ysPGYMxONUUefbPPA6KNlPZ5q2N0QZPcuDUXSzjOReSMocROi9ABWD25BNQz/YJSL/u+p3aCJ3v/1XHeA5wHfaslGpWkhnrzjW/evqPbNPtjr+ViIWglSZdHU1BBBTNTZzbckYgx0m786uxtmw5l6Ji790YBZe2+3ngHyIV1u3Q4fRXPMHfvea+f2CCS9qWH5pnhS8nWxLOX4iJkneAOKFbXBIQYWVaX5eKCH3wnW58FPrDjQf+2qcOm830cu/uIEOWH5MKZrPgAs/ysWFwUgg+AXXvMZ9xTE2n2jESp5LUeIP6zdsRDMFfpCoDYsgpwoFD9sjXHYRUGKDKXOSq4YabBWp3NMOqe4mhdn8slNJNiW8j2fMYjoziHhI2fXhKgbwrCtaAhhWHsMJDz33L3QZ0Rw76cEaGSzIlyvcP5KKP72HgWj75NWSV+fAm5E12a5TzAG1YeeipAB8SAJkldZ4ejM9NfKzo3sqs6nMcV//ivaMC/PyMGizqsdPnByxOEiBt5vlLQV2JitNrpsVQjvf8STznr6jqLBxeEDoFG7TaPSRzW35oab2/xgNgILTgDIFqeKD1Lt+HXoa0ZQj1h70dIYbagEJv5ajBbu1OD9MD4wd2yGv1t59BaLwwpEgPPv/L+FgfZ8OXJUXpyeILVf5wwMENUtadphQds960ZixsqPTgRYvFbtnROHK00enka6ZJ3os4C7OCK0+aaOeAHQcOPuh1zDneA9AC+MyhPt/4UFZbo28MDZp20ZADBst6I2vEXSk6nm62Rx373bnXhGjmqt9cMzh5oh6NXew9ZPw6jeP231jiizVKbPUmKY+vDL5dAX7tuDrxwf8UB7jyzar6hIaN1dj0UtE2vemLR235idXhBDLHWPzjMiNiPT+niS15eug2mupAxpE/0yzu2Why0QuuIFGBbzMbyRv2PR4DqRCCYl3bMFWlWFG+QoBGkcACnOD3r94LfYjbWRbdHRCEoAD3M0oWvnov3ItgQQy6iXcWOUzfsUnhHxvCTL7Z4lF0iluKlYipTQb/TKAS4mkA34YMPpkeXDfbTUAowtSZjw6xna/nYUeyH9E7MBlMvL8G9SQpf9DSuaH2a1v86Nmp+K+B0oOgSfF2trcEpBUJ3tmD+O/wsVmVEn3hNDluEataorDOtHW3Lq7LvPhQ1Q99QzM67iKe95fgiVcyB0hgUhGc7gxfvi9fLqvJk+KvYgwUONxegBaTE67t8yqhhTEaoTZUhPjPfa0VZLrQZ1L5OQfWRfJ/hepqs3/4p72TJaW1x0krtvRtMDr8tH50UjSykUwkaCwAfUN4IQropZUk/xgiapAidFUc/493PNHtvgyxpAqk/o7sWgfoNGHsitEzpSOc/LvL8mnHlS+3F5RaAK9oeLvu925en0k+AlcNENhEoTndy1k286cfiSJR1XY6BnY1w3mqpNCnMMvmy7CbrzkP/KJvKx12cmudTTAEov+wyWpGc6GTe9i7Pdfk2bPuGVXtXQPY8exFkTuVP1x+zBW9u5hgyFOKsKBS6kqk+WPZNXEFbXbFQOZIektNfXnkt+AIdPCPhcO9uTjY+3e2w1XfvyRgyj3bHtJLZX4c1nY5/mZhSNsl+GpjPGMTCd4zSbpJr4H8v2drWl2tx8m0oXVI6fMJ+5mju1LU+vtOqOqVrwFJdJnOQUiqTkEPMOV24uFAzjPhDyMhtnvYPr8FOEMYHMzt5AYLyT8l3jjn1mXM2abJEO/2Bdfa6iOMWK9HI49GpGZ4kt/TITxWf/uaVy9IyE7QAalv8bScC9rr1C+L03nkKxHF+4RZ0KOtj+C0I9WRdkr9VKF6JV1MvokC4ikdM6TH0a3JXSZiGPrhh1YQxeO7E7re040gZ2tUlfJaoDt+rpH4f2f791BUc4U1vGLimpq1b1+2eQvgD5brioai6DYgMo4HjE/Cm2y5+VXkqZ/obtkpD/ESDR0woMvlrS9YB4g815VVTHgLNWMTTrpI+iOl29NCeQJ+/Gbh84vTRc9JwBkZvvnbr8kCt6YmCwrUvyP9BdIwOfSBDbJETlNiStK4ogwQR9dZf36Nnj2eW2PlZ8mIfuwlqNGQFaqYjZSCzngMRBXbZyxYAudO6gjX1w3oRp55B1bDgQL7I44CIhJ/QPHlYi0Jez2qzYOhq3ljaF3DFh4U6aZMvNtHpLdQ7zAJVHATNUpWvukuui4gzcuI3k2qvdAMAuMJzuuLnyjFhMLh/FfdAM5VrXhnSkre0KxnhPE32uTaE2g1Sbgq/sAkk9krowELvGE2950TY117Nchb9r5RHFhzx+qHWNix5mDfrBruAyt7LqZNVtsUyBCTde/eTj9ey0CFTwMFV/iPdH9sk+/jJtySQd1x/hBoSAj9sWCz7JVtzmSJ6lNaxgKFSkzoaFyyy0Fesb+qCY4U9exhH5ol9gXVqJY7UnlrrfvlFmr7Qh5UmlJX4+6ZQAUCzzD/V1oKKGaPCbVjRgHbTsZMynsgiVp43ERrbFBkomxUfCmjMLfS7rgsKs2M4Dwt60Z6TbPuQwDMY9yUmsOTFcC/Gll4moXlDj4cD2RsQw4J4ENFj4GMJW0k9qQBM4q3v9tQjnlwwTrbY6V1TahLWzrjEB9ie1LZiFunm52P0HTbh1nH+LFYfvKfC9JIXw/RLx0GgFbBh7TZ09ds9+yu+CDko49R6xU1XC/NJrgYChaIMyx+uNyf8aPWVXEjStbxqybTRE1OvXsDnAh7MbQSQMfvAzJoXyK3y8YvlR72b78oA8rjf9Pu3LTaRVqAkVPYDHE0gddNVOOYmLTLLuk5LuntWW/Km8qRmJCHn/BGGsNgFAR5JbkMT3+6GVaL3jb+glSofbj8DrKNy2blxi4JHqoDV+/mJE8vx+G6+sZGBmpUAWoW9z+dIAsD1wfOG6mw+UiJKsgMRJ/erO5AAgFgKMPKq3TYTaUIiMuigm9mW/yNoITQ3YgPxfclQ8Aiqy7g19xuuU8U0IHA1GkUIpmM5yG81oCvUZKP1NZsUFhTg436iFBJxKgOKO+DRwzDNS0GBaiBB6puS2Yl6ZQhjxsE3862kUdMXO/ubm+/E85sOTZKCbWaDCW34ZD2OkugseWUNXp8IgqP1oO0KWa9jvoh8oTvRJdKtbKLMjqSXNNiwOhMbHIzeTczEVZy7afz+nKIOriiI6jj9xH3hp2glg2zvzhHHqFrnLhcQtQUb8VR94nAFJdci12maVzhKGKC2uxoNwavL+0KPdGJILEI0pdGhGKwrEPfva3DGd3VholJ9bX8P8BlZH4/s7sfw770BgBNSLF6yURLr4W+5d6q1fauEySz7Qt4IQkrWAIWBEFTdawlmj0OHsgG0SbYjaYSfzYEK80X4KVSdcWg81ZUjcdyfluLoV0+13xwR89KbInrgCp/DIIUplZYRLm1LhUUdyqvM7AF00gGg3nQdQZejhnk1QBjC5vCqDKRBrJKW9ndhy3pWWfhxS3XzxXSzD4JbHOWC9vbyl3Da4s2I1F+4YprWtw74a/ZMy+XOaouBPfix+So61BgZeU5NYkacjTHJwO3vCALTXXfDR9sHXNGrdJ/zgbunWwwX2mnd0Jlppg5UlJ+62qT89vaxpqq9bN+ef3BuWXWBdxXRbvKSxKX0goYjNefE7QKHmll/o9ove6TwUTCvOLSBgFVBI22XZjlbKQrz55IjF8JRwfJnCUjMQUfN+wpEw+7JOGvImKUR1tc9UWRVF4ZPhlGh/kkAwnpOnK1wFfR4ONFoMLotr/pTqxilKUorLYZDs2jhYAelfRsP/tYLZjqXqmh+56/ygF8N3GUL5sh6PjUAjfMMXgwUmeDC4yNhdkCwoVvyvp81XFqWXTSZYtu3P1pLELCVO33905rYEwzB3chF4uAPMTgD+qsJFGqBf9oocW/6wgGRW8CNp23ToGvbX0n8AW+zyiMLb9gqleDU5KnHtghmCvqCGJOFaiOddBNzNEZvT6g8AWMjThkwJqam1P+sbgVmADy3KxYF9JVuV97mOeOybW7VULO2OnX+0uO49eDMkmFr2StmIx2yJdG6Adc1XBYWMJJtkZf7TgSqVF2Tu6bSxDPKyqRvkaKIm2ZbH0SlYwNsPmmTdTMAFOx2YFIlv45ji73aivQbTtz3Lu/FsQNqLzznuJVDVF0zM0/D+yIWz2K3yHWEfJ6jeGtGpw3eMKbe8B1q+LrdAUYqpuSqBaK9lJSLgHv2/sLLE4gs0FD4cfi5nftHvw1S4FQdegAsVwV7sdnBEwP7FbCp8BY27aqB+X71SJnDypNYTGu+XTpzOSeQzrkD4pj6pZyf6YJYoay37cmtmFLsW9KJZRTDCnNhpVxtD2fhuoDy2V8M+kQSwa5A1z1qf31eSLYy2mR6VfghW2fodUVB6EizVZAaWRYb5LOKTFGCEst/9eEF+cmhEm8Tr7BegbI7oA1vegV015OZl524Qde0OX2A6+uHyECanSXeSiyG47BUWU6NUxvikkHHaCi+hYhGdmsTZ4G+OgGAZaaaZVZ9ErsrjNBs0vG6dWMX7fywH/dmUltp21vf6GJ15oLtolM4QUXrqAAnRIShUGdcVsP/S1EEHyReIbk+sq93puZE1dF8TUlzdUhkxcB8aqlDDCE/i1b9kTEtpiLXddlpkoyIsxMzQR0s4vJQ2QrdKmbWw58TMao5Zomx1NmfQltm8z2FCqUaeyBd678VpxkB2NGRQImkDlN/uV9m0bzwifEeel4or1dtgriL0V8GcvqqJQi1AMc/HYKnYQ74YwNyRHURvY5IAgEwS1lvmclLH0ezq97ZWIOTp2nllkYpkIEBigeXUyv9wYyYBC8m88VTrBII+eC4WR2clJcwwSaf/hnotHDu9KFj/l73KCfMTCqDtzZYxs6NwekbrtdPgewcBCexY0UNXgE9ATqm1C900ZU9QRGFRSLpX+/Mbk+LDxtsU+kq/e1uS44R8B9GfJkfCC2M7v2RZ4tiBGkJHTpgFbg3VtjmIG7NObKK0BdLOQPzEPf+piP/BOz2rY6mNXdA+1P+XcCv31RrEM8qaJjDadHAYwvJokPcZQSIMqAtEjCG5SqMERBAiiih4+wdJ3epY0ZghS+mNJA6ws9/qxyKpDVOqxFbG1yyOrmmTptiw583bwDsSRglQYnfU6nyInSof/c8KsygmI3cSI+Bb4ldfGyUqyMh/6+SPtLKwTVksfiOmLa4QI3KO44C+rvG0ivQL31upsl6MMuRCq5Qjb9biDEvtKJSpdAhvYQTYGzkV7MLEUCA3GGWlMBZ7F1bhDeElShF1vY5NGUzXxi66ggLmxp2sv3vhXBcs7Lazrx/z0i0FInzBFeZbE1NSDdnCqP8P9PkMI0pNh9gx7bPn0uGQ4QskHDcHFSEU/a9YLkaenrT66+5UZ3xJHVmhfkvB0qgC3Azrm46w8Rvp0j54rzoZHw9JOI/1QC0D3ElIGZXX3iUDp2+CUlw6kxEHutSwdZLoVWf78CnHtMRQKvX1LgPR/oGTeplmUOPGxs/R7ggWi0PblfqmG42zsITjzDwKmv80+oXvX4pZJXx6f9EHeMXFIxtn6KHZB1PF7ZfJjPAd1LZa2sWpbSlDxCBoYpdydEqndNRFWT5Kv9UFkvd5GyTbyX4QpqHMMh0F6PahLpXoOyj/TzLaVTTUuu3/S6aM4PsJ7SML8EUdrF6YOb6gJTmsq5M8AdQrwa7r9jBQUV2KEs41OkJBZ8dUcIDedLHA6PLtNxuiSWQ2BDkCcmSY/LauA1a6C+Yks0p+yzDfkbrQn9xYOZFA1xrpmc9kyqmPPWyTQovEVd5KwRAufLU21AQ3u+FD+ytwRewN7ySqvGxcuJQp1jG1UYQ/SqYdnBE8ah8e7HP8KOeyovXqEIOyFBKijtyA72ESYyYaieoNt12x+9AnjQTlaHdxll+Tpu7joOAtA9ExMsCP0VbJTpWji8T1pdyxZ4sJYXv4fYx8pYTkJzx/j9WD2iQLb8Bxxr5bL6JZ/KQGTNCf8b5sx64wk0cSrQDQngad+b+CWflaebMFw52srwn4r7ZE7BEMpduTz3zZM503HKbrbFpKgETDlI5nrFZikfHAWeDawbMTPKGHH1u8CYCUWrlOGBbHTZPY3pCxWHpksOIG406LSvTfqDA6H8F8r4ugYu8sJr8FrshC7TeDEJ4LQ8bvuvtZrTZJH4LYwWSvy6vv0mrLHgZJ+o59hLrd2Q2/vbcENkt7PmWEtOjWXY5K7vcpBOm1eRlzlcRgbjD7EmFRZKMZSqoweneAW19MZDDkvU1Toy9catySyBzHGe90IpsG9KIVpst0S59AxybKo4R+jRH+X6DeKEtybKJRH0JoxGNalzrCLM8z50r+RUOIuize81RdBgDyS1tXw36fQRumnp2R3clKuperZomCo2fyVRl+yTDtdE23kvXa298m71hRvSfTh4oavV3M96WPFJh/u9sjHBuvo4zpvHEv0aarm22ZQauWcP7FHAxg/PC9Vt761edlA1sOnWOvXGErn9H/lnn/XOJLLSsyZXFlLYymKw/9NMbWdolWoDZkq7FELXXD8/8ablQnu2msMmz1Nv8yiPaExyW7t8pAe4L+bze9lfEQfvyA/Fx5T5uIRrPlgrwGUPxXmlUsIOeZbn48rX5ieNjhBt2iExnI65SBpRC9I7SLiqpffY/IJisS5bsF2HRHD5Pig3ZBZ/mvhTMVB7pXXC/qKohgoIRLx/SKkeRKDGV6LolH0clis3G7SbnEZl/85syehSU3LTzsXECLwgZbgeRHIgEFWtWQOzB/4ANzsUMAO6GEdgPUsxAHSxHcDREtN7h/U/RVXK49umoYN9dIXpVH+PL6afSr5hJ5fougEMgKDF01rbrIGwnphfZl6yPWrN5V2mlyODKcm1Ia0A/d9k4VE17Yphjxitzig6o0v/s2TFN5ImwHXiZVaRHTbWaYTny+ncTsFu4i/lwLsIMhdQSmvIeyimVht7brBjAUUYBKB+SNMvbGFbRSUlqmP5QShUxiPidGBmWWemPIUW/RGyacHFZ5LSbQNxXu5AhL8wzS9LEI+V8aNM57y6Ds8WFHleFuJgcNRx41yCMVvxG2AJDMdDJkue0msCtE0t25Br/1JFSN5U3UyLP4SK2rK7S1fmZBcfLjGgZ5laRXheEYoGwo8ucsylFAKLWau6hTlSENHpqH31u7inNEqk29bwLdDQNWS6rM/w79GZIk/wFhGfaG5VrH4w/znQvQDYALKl5aHJcPwEDJPZVunyCK6LDw3tsxPepzH6eAiF2YkbVTGU+ddILsci03iYeaCowKMs9MUj8qU6XGy3XNw9w0ASw3vQlBeK5dE4htelizB7UKC5KpQAozUkts1OC7C0Is+WSxWN24/qmpeWospdRE5t4w4NdWZbuWLbo4aGkiPvl53c3Rzlco9dZ44Xs5U4uJO6WyW+iIs82yfvafkE2KMqYG1e0tfT45PbhTetKV/DyyA0YXcGPUZ4IQQ0CZ2+CbpsaAdyOVpvyEkW3GLkk8SOtR/njMMMMybkHCMsYSdlw6CwBTMOtCev8iFV43NAhNoizzNkbkWAPCgfkRmH7Z5XvGH5vPDgHh8s68UxI7iDGY8pxDoFXMJmyJxx7WIg5/URi3ve5RQc+lSPjkke/mGA+n9ZIi6+kBS4TJd0nmqUS0eFDN+nMi5Wv3nUs+c3c3uBiT8L+N5xYjWo4fkk9zF7MSg7MpCVzWIAoQZopYrZVv98IXz12+ZFzqefCFPWTo8oWxD1Hmgwt8UxwY0joAO0RPCgMf0gJKioXv1lYxlAmDzGEquXZZJkJkTfUyBcyCdRbfP3HEk7zPMOCzc9Weglt3Rc5pnXZY9dC+x+v2w4ielv3fJT6cYfhLuiLBi7uGAl50ues/pfh3881kd/NALKB62r3XbuNHtl1/OgGpsTAHEKtpXjsQQn6Ulp4kOgvv1H6d/HaBLM/uchsCzjSSXg3VWtUkhGHuoqmL5dNQOJxzaCAdeg4vrhW0/V94EdGnvtNl44rPNMJyAHpLlayHSjRBz+M1TOoYjr6cZLmz7HtLAu6I3L6/3nb1fJ1i3fuB8tmKNeEVuj9U2RB6qDyilIWLo/q4XFFwKsdkaubj4edCQ+3GT6T8/uEF5U56js9S1OVaaXfmSAL/o4q7nEuN3Xm6IEka3ROLAGzfByPm4EPI4MsWOtXky+eHd2xOEER4D21uI/eXyoYQprrxGt0ucWwtzvTFdbbXrBJGylkhlufWxSFkzHCfO52XtLJD5Mxp5xHbK9lGkoWaCYLsMgzpDFkgEyAmVFp0hRBOhfeGODC0dsRZw/VFHG1/q7z7yhyFR2cn3GO2+sbhZWADJ0iaqyel0+Df8ACB2MKic3UgTviZ8RjqX3IELrGByslHH0YbIkVX8cjlXmBi6M64uqW5L9TKVWFAsUZ/obH22DbI6KLLQeE+701pfCvmRJ/h8mYopb9Y06xFIM/YzWAZlJiNh7NifRe3LcrJ0k6PWFeCskt2PZBXy6uZS47zhlRxhPi503jj1/gCpUDG926+UULVF3reHjepKvVZpjxV+UorxLb2U0Jt8MbCzGfsHVlz/Wo/5uB9ALJndN63zTaldvrijr/tIW7zH5nC8j7vUpdSTFvbwWPOPbuoTgJ6mv9uMl7NvelxcTwo7D1YV8wuyoP9L9nUZU2wjWRUCzlEWzcGZsEsa3uFVwV0zabRWyMiMgwaGc54vVHje3dAUISynd9D637YnbFNaByD/rKbKxR0TJ3EuiOJIuuDQn6N0jswv1cbnmXe/xWK7XkLIIMjzwL9Xm6jPR67iLx3SS+BAPQwksMPbso32ICyfr3Nxnp5yKmrhqZK4OcFVr1knbee8gwo40B7fnn4IJWW1KIyHZBJK/Ug8Z/XU6k1xwmu6I8baDtrcLoJwdIEwSt/GKy2Ja5YqfSYTPCyqx0usNTymLk8BucJ+KLekshyxHSaogn3dNvA1a8QKD8ag1VfMJMAvGHL+YVUhg0G1VRHrrlM3FyBGan/L/L5MH+vzrTRoOKesUUyxgDoAcTDQMEzqPG2VIxdqLCo1IsKxUHRAVaQDFq+WinZSZPPpLPABujijBQiVXTmdZbCnKPfCxvgYon3nNV/tQfTmHDbyki7NxK7N4JQnlDnhOzciWksNGvLm54ObtjdfX9RqA48oK5Jib7yZF9zYkskxmbxHpHLXAeU+fwXTtyNXzEYShA+QlH0QvehX+exjprbf1xWMgLdF62UkS6vaMaBfweRUwyVRd7ogpcuJsdldzw3Gb4I74zXWPHrlcJg2YN8HvvuM+DoApxEAPA/gRw27/QQsme3Q1xFJPMOlI4+9OWACpagBbfzeR9wFp/syD2bCr8349D+k8zp04qwyJJOLeu/ZcRdQBmSKY1/qSBAnKWl+mAsOlwYwPL23DiLm9/pyGMFR1k9k8i3XpWPk8dArxHmnB3QeEiWTDK70kfzkCaf0FdLZDrSEwPCWKYqafF8xDMnMq7TBo9/QRwWjK6UMxA6I79cXpoqM5VSukr4I3GVJaPR9QnEkb78V3fOWOc1UA9aXRfYb+DkMkv//j2bqnDiMjwBC2fpBjuUZYWAkD6X+ik26bAb8SoEOGZW+eDj49gQDgr3CFTMomvAYIsPhw6xtq+OMm84YuRnpRP30fk/RJ7vPiv0QzF7zw8YXtEJdmxCkyPNwRtJVwgrwM+pI7/rF+E5xq7sFsCTrnBxoGonmYj6WnE2udPaNny9dUotlhVb4bNRIXe00yu8yy7LbAbe4nfN+wc77eSfG2C6DsOtuQwwLxZlXaprxGt/pa8YHhbBNq1y4gie2nNR7Lzulo35ot/wL3aqOxtRmRiWSfDXM8YmYHqwzBTfMBTbYcO0en66jUOtLIawemO+05gM6EnQEh6tziUDDSbPvvgPCm71hx9lqVGiaH6QdmEmw+eWe+L9OOBkgSHyw4zcQZ9MKsmDIfwmRozoQLHySxshFYCXNX6qVOXVFsid4Js/SO2PYY3EiBebeCd/arHppxQ1+xwVDoemI8HmuUpyZu5VoGV0mlAzUFKeYVIVGjD6vsy+R/rfAtpMBzkfgt41FGgRs1MuGvu4DZ4rwnKiDuf0mx8sHLP7mprs5r0Cjsvmr4fyhroFhmCMjOHvQi++bgKbRXkvH7IVSFmC3rlGc0/KmCPhf5FZrCFZm72yovlzBLtaNI38oyyjR9K8cj4pxAOOcjisTAWOVyXmUB6WJ7j++UlGQypTDiDxbQ2UbUwTJi9F1LBrP8ATt6uVNuk7PltU4l+fzIxTMgYay2HGbNPmEKye6VABYBUtV7xv9x3D0TPvmp3LxJBOnEufORjMcb+kQXqdsRMq0Nz4akT1tMVOitEq/rsBxlYrdKZA2ug+OfZTc1o3nDZo+nnvKeOD3U++TvfcjwSd8QlGulMvMaRUJmGVygqERf2WR7a0OVvQ8s1PhBdxGjNm5MvqdSqELDJRNwaX0sU0YN8rH0zMO7D3rBpAU8IaWTWN/mzcrTzzMsol2TZ2pBulo8x5V5qO5li25245xUXI5C0ap/HM+Echu9k34q8EY20fszpj+DpJxJPN4nh3Cna5u4qx0fwqW4QIocAMnfD4k2hrp2glZO0CAm++saoomz2SCPCqiZ7DtBp0rmwuqrwNsJyzJ7lu0RuCFTVbTilmtTSQGsd/mDjOi7hN3S9W3fn5DncKOsQBlse/ttgVaZgcIzfPeg6WZTe7kJvVRNmbuPsgBLP9aGy72aDWleH4iOZ7r/tvdbttp3728YbDed2Vhar1N77Qj1WcpraVOQzXSMixoTGNKjQcUMpbD8xtkl10Vdvb32n4Nn9YzmGDz+c/K0oFxZMgGDiqpFnMzNsy0mDsx556Aw+hN9M46uWBbEbOIsPamxjxuzlGQXIk3/CC99/zuazrmXMhYvGxdJPlioio3khLXjIlAGikt/Bh8MmZOZ3wsPBqcSq8jEABB46pdVRo3oShXujUHI2XaVK/1Qfib55BLV1ustxooKDgoxsEfgKbcoWhuAaz2cCrM0aB1QMdzX+99i1DQZ22YjeJlIy5zyLbZDnPxTdYhxInt4mER5JDcxNxEUzl6gQreotChbOy/qghLryad2OLfX5P2gMRb8PP9AkYjyWppUBfx4VWaP48NEgLFTDFXjpZOWrVNH4JbpjpDGLJBA9k2HJqhIBc4nca8EM2EWrtDAR2itM14feZo+/BIeP7k2+RgjaB8QVVSegEG17tSlth6HAJf7hrMS/HUE8LejZLs/6wa36K1n/Mf8tqdvzvfYhXeY/2J2mR7bSCty+WgPyPx4MDqA9oVXpcGqofLrZ9VpeaD3lSpa9JwogU5Gywd0CxH+LbSMSkr0yWp+qG4pwaXJCT4/qxFiFK8YutPnaFNABz/02gG2OEsm5KzOxHHRT3xAGrqye2xEwwjXdd9RT46vddpbV7gEumsHFQq5DEfT5y8H94f0Rcwpuui9xDCAt28lu6471UYsPuZJ3ag9KPHYSbsl8jfTSTOuE8d4zvua32f4tNb44B2uCEuzcGkCuLXsL9sm9eIa4Uf1d4HLY0J35t7JOHtxLSO0eDs8x8hwsMW6x6a8NLNq5FODZGkkwg/eMYO6zfp/Ayb7WfSEt11k//8KWA+3LnoJylz+xjDDhXDQJTR0huktRFvjeMe3QBNCsBT+9j/l3aiftMaqixKa1iUyCx/4fwXD5pch8GJJiGLHryAJFgC64dvfRKttA5AvCeiBPQF+U+tviGdWJiQtj9p4K7rHdI17Vv6gwN0CCc6nZqJNCMrGMNhWwcoOHJ3H2bxob7eLQMX4wnZZx5wCp5KGv6HMkQIYKl7rehU/c+MSQj7+K0XAgh1ymmAOcKrpdffaX5NFwUZ2JZGjMjJ7+BQSulVpSqpzvSUnTR+ly8go36oNs71M2e5RCwPLwY8XmH+rz4fyMKIxOQUpx6MBA8s2eVxQREFd0D0pIsVnzoiKaQP/22vtt6lwEUcRmuahG0MrOx0Q/qeQnNwKq6s80vC94SjX/Usesl8SeKjujYLKxcJHmkYqe+oZF6HpqrFQvdvsT9+Njqi89Utr3m6T8VmRYOgmUZAnZLI8KVrBGZETXM2nfJymTn/FOQFJxtf5sf1Ar/vtKzkIreJJ7r5rYCBM7wKJT8FaDOa2HXvscvo76uK98MP8KkpdsQhj/gmfHAvrD8JmyysLCWKUh6ZybYBI1Ixh8tNpOFH4XZX8Z/XYVuTwE+id9Xc46uOA3i41pZl9AhNHBJa3stQkruBrelrGoV9Fu0LUUsBZ7BFwVYL5tqFHKsPOpbIMiBbPXTSiLiShkIzVpXHC6F16YuAkhx054Pv3z3MoDMrsZKDn9walZ0qa4SlVJTZM6J923uRRtKpLFCRmOkXC57cc7hRfS+xuhe2KPCI5pwflLsaC2a6MQa1FPMuwvP0VpVqIe0KcB9Wk85+jmLZ1A1zSjUXojfyro3M51dtyWBGPrX34NGuXK5qPnk98P6fwbMipJyXmZwir/6crUIjcxZ5/uM0etXDCx2755vTqCj7vkta3XGbdiiUE+bfD/YDO/ciLaAievS/VnM1wULPUZ4ePO12+8BfhaT/RO9rq8nz0ccpD1qvup/uOmKV/dM6cs8BIlVk6YOGtflmJEiBoq4AIQgVKzfPCzb9j6zspBo+Fc/V95zrT1tKzrAqnxOqb0ieF0y20TeoEpfT9bcJb47jaC8taqOtIT+P8ToL2kMJcBsr0NxJAQdcrg9yi4YDBpGhepFPzLAgqu41qqupEVxbfCsg8QjlHGE0SEUq4KEWQDRsNaIEX4fFvKLPPMfmm2+NEUvVVVdgUMhEcEOJ1eezmwCoPo47hhX8504/P7OZ7qUycODgGSev2OcUWcBSnY3anSDrMQAkZo7/5VulRyaKB0dLT1Cw2xTsxv85X7T5K00B+CNUem1KAmtPIjrnmWpzP4+dpUJZTIem5EAVcf9JVS7tvTRJd55WCurgfn0GBIqcBxNnlPrwfF3xsZFsdlcfr9cbdekBZEcaSQELdNvJOZ9kUGK103sZPHrU8EamhpfzLkmi8NfCpYmdCGjojYvv/Dwed6qof7mcTLadLUDrt3/rAsFpDZ+NTK9tRE0PjtN4M51oGFMpVQfiyRTUwVNVe7JizDbMvEr723c6oYnJRoSTg15qf4uOnB5mZZjR4u1++GUXKtjVtMskBd0zKwNduMnhU0EHV/eXls2T4lfLCMSrERJF3T2lMj8rxtkz4QOstWRdF9cvo8/DJzZsKUBA8g9GTPJ2ALZpq8GuisPtaDiSySEjJRgQmD1jFnCW5c42M6GEQXtnTA/IxjC4ptjisKGkXBhPN1WmMXK6fGHbwiTi5tTPHcin8bYoIPXw36r8SoaVIJn82sU6rKPmFllcOh/NPjFRFYYLqvnbEPyH5itbOXQO8UfX+gGdO+PLfzLPQzofF3f/CUKXVX9kCpxTJ9gazmSvO7YSqPBt3h/Xg/sZWxB/umJBJUzre+NGN06EKkdY9X18hxJCmftSeIrcEXI+uv3JJW2DRuzwpHIfS+MLU+OIFMxym3QwEog8nm109d69xNZG0KWfY7D/Ik31xdY8CcH18e5KXSkF3BJ6ABdKg74xalYU6YbQizSCgadC/HPHUoC+LVY5R2iXbB9gAHuIeU2gJ4FFONUbD4mZ07L9yTrBRkowIt/gVc1CsSjKiSnnY+mmEsFEuC7/ix6ebZ3HDkSN7cY5limYDpeetuaeKOBd7JHMsheTpk/TZrm7B+b91HkmxKXY+LuYjMZv49VbghxJw7jIN2OMmwPddnuSPCZhLlg6IfC7mfUVun6vXnNGe5LkdjEziPkUV0T1EH+JSh2Lz0CvIFJ4UFgtVgu/mPU1pvlA4CvygKsTZr9k4WJIWIdQIeFDlI5rbz2dSFamT51Y9Ez0bXl063QmYQWaJ6OdiHHHlWzTbW3L7ulS6W2syVVVanwG8MI23z2eEysMg9JBDv7Wezf91a5Yxqaw8AmYyV0A66KZMkrZ8NG9sbamn98/v2K2WYdXDRVYO9p7T/hfEWUTnM6tRNgAJNZkawkDpT4b8kxnxiHz4DEHWGp5n4LWgWYmG+qFC4Bq8uOBEkKkN6PaPD2CGSH1G+J3KXf3EtopF/bsxa16gcD9Kxrh7BiZ1VGQ+LscSbq0b1nT5Y8OhIyViTxadpGCzFNRscFm32wrI2eNMPhceY9H26qebQ/ZoLilfalejmWE4rHR1eBsUJUTjS+Kgj4POK+sxeqpSOPiHWK2VSDcp6Z03eovz45ry3MRRcD7gnaogCIOBGhLAnKtANddnilfOc1OEDQENfL0pyTqjo63iSAUP3LmNWeCzvpAGxR3j+cJgdoga4V5qnX/6IWEnRNet5qeQAzZLn7mE9+VR+ADVsJ3qMfCsa0mT92qAGT79Z+38FAtCt99WDN/dTU5R3tXazYpLpZ1/SILi6KsMpyq2nd9V43izCcc9p6R9O13PlGpNCUhTFl5isD6A8fh5w6R4zofJQPfaTb4YnZGe0rmilwMp53Y7rW9EPOmxA0+P+DCvHkZryqTQe+KFQneERI3HclymdOgRg/VD/QsJMGXly5xjRO1NHKMyRK6CNGQ7DXvFnf/kVDogs96AuJqHGiGeB6TyvdTWQdjBFBEDNkh6NQ2vX8rC8Y1kCuoKO5vqc/BfnlXRx7PyMDujp/F4psAZebcrfW2QXYyMYdf5U4glZoIxlVtUvhc2D6kafxUz/weUOVQ5ms1Cj0H4OF+U/z15KFKE6JD2FitaI5xJzx4AqlmwC2GaC+iCO+5WX/jgJSPnd4TAJzABz/z51Gim46itQAgij/v6k85lT5hmejNuZcuduy4PV5q/audNU+hv1XxsD8BcqUu8iCwGi07tWkf6sBtCBZE82MkyqkBpZyhP1pdDRu2y5V3Sxpxuv7JZ4Aj6bioZhdu4AWQGLzaplIADUluYZAXmLgTW2TwruO/Qx9ojoOkZmVHeRx/J8smbaMfRN33gTS7arLQGmzbsMVpBgibFebHWRuFS8g6cgedQ662fPQVrZoxYJ8WiU0lplGIMmWPGLIz6GOkTocMCy6/G9toaDGQVTT1nN/RXHBQpIvWdkhixmhD1Jle/UZIxy+oq3briIWLngogxXHKD40+q+He1cBVq60zo2VT13Xug9sPkoyfcFte6xKY9W8TCtkAZQN5KdNNCj4M3lmCdcAuxvD89FeH4l3ZxroDc4wLCspPZ50UqHiyxtDiz4DY8myoseh+1GDJcZ0R4De6UVY5OjVeZUl7Q49DvXBenOvA57Iw9DRG6PGVToHmFBFr/jkvzTB2DUSiG3E8Z/a8MwGBBANhZygK6n1/8KFwy01xzqRbdSZYooMydxmExm7smYh8n1w9D89hoPz4v6CWur+EllLJK3UnzUeynWHQFTOGIAwnkrKAZbcgSpnqI/km0uKo6O2QS2unipwanjCkfsY2x8ULtWInHO7vueDloWqtrH+Vtk1BTKC8M3tp1eEi5j2ow6uzRcAUM5uhAjF6uuSiNsKSm9v6r2TTrZFD9Aj6lNvKlvgFVnws+S4BHxqheQIP6ut9sxUe2M8SxYFcfdg3DMUNn2YWm8Os8Kgr39P9E04So5itjq2suX/lsM17P7/T4KhWsIvPS6v2tkkLnD5oca2UC41Bc15Km1h53EFdHz5eCcBn6GxQjAhS9hVi7BNM7Y+G+8iXxF3LK0U3iIYr3kMEVt/ss816o6gqsGmK2e5TRX4fehEUE8ZDIgtFe7KHMw+V3am4HtAFKOIxneiEi1cH1AIdt1m23EJlMbGqX6ineoK/RJcZTRKxXs3HL6zei2GC0fiGin00bTKQmsx92T9gxnm6DwrKaN5wpV8poZCZ3f+rtxPL/h3ERaHm/KxBufe1hFIGk+T3/5is7Y6Kn1QNtmncq+S9fbpBgXLwUtVkDMdgU7vKyAGwmchQCESUiqEvVNpRaXc6MDWUZVrwp9kqURMWe6XI9DmKTPMSnDFZkOkRIZLHF6qKhUPIYDjNGv99nyIM0k/uBEw84WTaFsW+5WM4NE/L5VcDwaZaPmLFcpdXZK6AeQaAhoxpXy+auqJEdxTxsYd5fmmD9OkZ60greG3vml/jEfof3hlBpMjyqDp5LjN2lchyqJ0SNbuZ6o6iWo9hkZIzOrgyMyxnncJ5NKMzTGS2R+60VA4cFuN0A4WpgxHmgi3KmGpwAfZ7iTp4Fyh7j9Cxr8PW3jHiNougJ5LM8ccCwb3Fs5y8NWev2561g5y0Bz2JPpKZNOJomEAjXOFA4vnu+Ra3Dlgf3nEHcMxWxDXqvVAUo6i1eDqtb9paTXtsYJBSLzuRUQh1WtHn6EUq5yVRIG9DLT/PtAgfJO2uZF5YKmtOdU5SQJEaCHJiFdSz+gzYZwUVIDrNpGBsBDFyihoXjFTvEaLDd/yIXHXef4Dm2PSzyECu9lzbKGWWDZuCq2hPwjAd1DS7t4X7g7rAOrDqQF0ouW0XJiMFdQEF8XkbRe9umrkYzuMDG43Y2AkN69Y24IkfnjI5+0EbDDz57JWTVnbfVmoWcp9H4W99WH3XS3Yulx5dxOj/O95qC9en8M49WICvTJVGyLuCBZ+Kke+b7eCTSB3cisBK2vM8KNvawZF9kDEZuXBFYcio308xQc7UeL97ZJeaZieGbd07jbdzea14qCI61HzvTvLIjZXfWRMSpm+bszt/1NBjryDi2pRAlFNB9WyQkr+Creyr061lDGp0xoIfG/Su1IdtNQahZeM2B1L9FZ1t4I5jzrhw5X22JHcsddXdBt+7+Ujzt6P1Qg/66VyYaRUcdC+U2fJGQKzHEGRTh01YN8m6Q6qAL2pLGfpg1Y2yCnPyvAOiuDrITYd4g9SidepN4edfFNEDAluQJW+/uoTBqka3GXbq6MzgbFM1/NKskvB/Si1VpXU3hoFs1HRmJNMJteBfSC1lShDmaJYqVHFEyeozgJMl0mhaHNL8a+SFtHHyciubFt/LYL3sICl9hNvRbW42wKIBOMPtYVEd2dPsV410gTYNrU6LF5z6TKYqdkB7EEpDLPxukY905tjP3S1FXi0o7RWVW/fadKJCzbz2+1Jq056QoY+JcKw07Aw5kGGIrFWY/v8Xx5DHYcAtcWy8Ivv/cCi5AOwhhiPJ5ilNrd5gVkpPh86E6eC7Agl+MjV+wIlGfBSNeBdFN4/OzxjSiMCD39wt8P+9unmU7unSPIdB20LRWoih7u74E/pPkj+J6NnV1qeWmZvgrDu3F7c8IcQ6IOyobdluN6HD/+p3awFve1jC/TDeH+/V0n5b0GJpzUVWmUfGNNwyyCSyTV8dFY8b5XnCcEDkOD2Oi2u3dF8XpOqHmJL9KpsrvvrDAkjjDSE8ou5vUfZ/+wXAIqtev8JEmP/fPfmMphe8IoU0Lihm5TiX/rsn924+bEPGoHXcgQy/qeXXg441FVmwEMwMKyrtyD6FTFfvt2pwUB6YrboiA6xVdIUUistqN+w2DknbBflItebvtXamw59qdRpo/0nt1J5ZMbD2NTSo6huhiKDf5bDQF8B4F0kyyX49wu1ZYEcclgfrrk4VCspH6/3RIzYUvC4TSElvudJfeESoEQ2zEVyb0XCiRlnAGfWsQSZH9vnYkHN6aRTzfz5R+WYanxbGCS+tNcEYqe5y0sveM2hfOwsiRkONNbZke3SjeBC/T7KIp6dhD4kULLAxvZ0iEQIrBxwlpV46rdMwDsUQ+UK3vJuuP5kxo0JOiL2UOm3dXWI/XQCSkqkcvgL3O97MxcN0cTSYywFOm8HYSlb4uVoWfxcSnz3z+XDpdKgks69DZbRNm37mBTdLTGe0AoDnphnerdIijy4f8DRwttwmVoytYreYUQ+ylWElS+BSbmfu4ikJjJUbILbTUGrAXrw4EK7rNi4xftE1jH8EDvWIWZiaW+9Xqc1hXrzSdITWEN+JcUDt/s0CId7Pa2Cy5tqM12B65EXgj3D6yNlQJcd6s5oI/FTdXHkvtXmQsSP3RKZ/6HFXieWSfwO8obab1CLgBuDTjcpM1m1wKs4te8SfDO5xgCQCcM3xMolGqIJQvkI5kuBsoVQDW4jYIO2Dnq0jCRsKH4eNVyB0vMOKPKeImSZ5kQsQxDjqMMJ68eGFdn2v5nebAYi9QUcDvBPr9YdIycbtoTJG+dO1PWwFEhXufRRJf0S6I5LV99/DOIJZEzvoJcm5rvNq1pI+r9bbMoOYRkDOjE/SgnmhG4NIVvNBAURYVaXw4+sU0IIqwUqvgoMNuHkTDAjEHHcpTqDh1g2jYKsRxwn21h16Ohy6jTAV8Ti6NqeGLO2klT3BgZsPAyplaHYzQSMkGL30rC2Isw303gnJ0tlwq9s7IaMtYiRGfCpUnodtyjjXM4ZuMPfTMJ7GU2rYzm1mt/HevzQZ3cxfnQUAoT7LkoE4N853NUdvj2Fok+sgSKd7ym5ldSg+pl7h9HThA9UgbG5SgfDmvfvlKLcRoQa6PY/0SCbeSb0vSh4V2mBNavfFwHCNAWIzBS3kVR4Ulihos5kqr9NQhbjZiIcfsj+oaBDXsnMutxzGzLCSWfYE103W6GyjynC+2qEdZCY5jHMOASdfzXHq0cV/LF3wzBGSOd4SKOqCvlhmN74/WD4J3G/ebF6pKaZP8ZcdO264NthZy2uIKKHiovlq35IoEOCV/3zr3PseeW3JUdTt73bzO/wb/2Wt3/Aebb5BN8bZ44zbRUa4kOEOCf4rlYJoMAAvvaSQbhP5it8Z1VS+SdKBnLdxtVZgqSKCKJI8CAJKaQL9fGuGkXf+Z8OYEP0V/Rp3Ab+8Ezc2p3L4LXzpYMGcs/f5mCAqvyXBfM80UlEYUeNWKpTt4ksuiS203lk8QcA4fkH922NzTEapwelOqgrMkdQF2WxpULWfE9qJmPU/9+r39vHhGnmVFMHMpa+TobIjEscy7lX5M1Mb+uf5m/gEJVDhT3knExZbumuz5CVfSdq7A8PyUPKrPWpZ7Ov83Tov7n5TV4GYMk/+mJ7VI1Qcj21+qJi6iu1Ztq7KungYeUCCAzOgrRNTxPez/CT43AzGl11Iz81jeREmDgJKGhUJss6xmAUXX3bBz8yq8TOxAC30w2jwfvudOcHQDcLH0M3WKUgiPKxrUy5nAg16XzKDbnE9DmNKr9rUNakL/6gS3rZoXVcN/P+y0TrFYgXdvQdL99L4TUi5ACiInqE6+kmeO2PeBJ5ZhZgiOfi4qV33yUZ5dXPH4oDNVtEk1A8YED0AbnUMzYzyluAkfNM8zWpc16xYx/d7BK8/8CaPVTEcFnwCHOgcbeVFKECpI8zQBF65gloe4RWl5rfbdIiDR6pRoXasY9ZRhuoCPCB/EF5wx3ivCWIPriNEA6QJcG3r7QtRgi62uKerrEruoCSfI70Cfo989TsajSlTgAood0FehKEm7kP5oDhbP0WEbkr+jqQW4eAqVMBV4OFXHixD4FdAaf8qXgWX/3VISl7VD+WEs46XG3gZCDhsXxORnE7+shfxELikhsDHthcZvUZSkv/hB0kShMDMQP8TS9/cdRoi9ze5JGH/X18eiWGOR4+lAZhMsF+w0DLFkQk7tHIaANo9chZoNJ6t4fMcm17P52zJdfnUnapp3jkFRsjDYbZJgPKMccQOheRFLbyA4fmeWChYandyXGQstyzloR1tRGcMY9B4oGmo2FO7y01Gm/a85XtuFCEYsM2JJ568EQnLfGGlGggmcO4C4QrzoMp8qoVKEq7lIUWiO2YNHLe769w9z4RF2sMFPt/fKD+HLLXQgLKuqpgC8vt57TpAmiLp564usl9o4Sr2nN2CrxNec4GFMgUkKoH5Dpnd6eg/hFSWELITvmcruowCD/wqczB/wIKfI2TiEOwNzbHGmz5NXz1uc8jwsjE2UariBKZ7McReFdL2SG7EeIrSV+fCgPpNkfwRN2f1QhHQACLUN8WPlM20nddRcAlsUW7ezlIle3pJlZIndcJQpVH4aSHl4GPZkv3Dxpae4UGHlceofI7yBA+jZDodtGtwyT0hN/lRwhzPYveIj1Hpz+xTjgZfNeSH/Z57OZtcA+8DUKMvslfEp2alQHZbDqkTuEpJoEDgxaIr0xJvuk7jT/f11RcfLjp0FWS16gUDyFqxg+8Dut2iZWY6rGEKEXSuXPPOPf9fJrEu2iwQ3b7suQlXfrfBtKzfUpL4VP6csIcAeUIQ7O0bh6hm/T+uSBkAm/Tj2e1YSpw9PKb5bq2H8CkCt4+MBcFBIsfh+erpnL6e3QX2LEJ5ZplWjnu+FBUH4m7/+s7vbm1f1ED8LmIuNuj7gRlchH3qLQULqEXQK0zajQneTRfnzLitxpXxszoT1kR+lwES5W6CbRkxDoE/1jEOVoFsOUB2so6wA+6bNC/uZPe25SxbYplxCnnPrtYC7tTat2z2NY87XGS7UWeoG9GNY+S2ABnJDeVEwn3o+WyxrgEXIe3vfsEfXlxyOYod435bFMxBfjBqDrW/XdYS2Kmp4m7t+P3liepVVBhTHdZ9WRZR8V4WFce9ea0mJw59f4/SiOVtP8fSUkyXkneat3/YCaa9hP85CqM7hr82s5TinXPOBgha9I3rj4BbU4S+hHTdBBQhke/wudcEnknJKdgXuqpijKT4UQrFewnekOXOEnutfFDOT5JZ8aXDhYqLzyqNFgcd5y+WofeuH81Try7CtIAyZ1ULuUUlrEMqdNc4fWLN+k6r6x0FMdEohDyV7v0KHU7/AQ6l1Ga3+Fz7RKwM/0JO2hFbpFLdF/Z66Qk7h2nVM05ESdUF3XY32yOEYT93DSICY61EVbXhwH5+1KCdhfTP92USGaDMgPoitf8OXdCebeFg9VxnudnCBAf7LJN3GIEeacRYsEEcjcvtkx1aNI2J1ILiKJ2jXXQrjLBqnKCU3cNWlL4RYWlzcKoQm3KcduFQOzqqPL1cDQhvA7bK1JRuVdlhZVTY6ddh3tjqT/6MvJ5DcmsY94DEYh2iUXBHVYz+JTTdRFzPgiT5uCOgy5+9B0M9svH8TCzMUTGboP0UzDZsEE8E9hV02Df88QmNMq1mQzyg9tufJHFK46F++TPIFBwnLIOCyx0Z7p5k5FzhCFV4UGVftjs84Bjlj+8j5OZxYPDjiVTMjYXGWRiXo+5Kg80cB60nhmh/MC00f9nfrXGFecU4LRVzYIdOqHPN9xXpDKiwvrdVICKSAua7i9OuwtKktWL9JhUvkJBw4JmW5HPXCtqjsr40ARcHKtP0k7hiqDdHU2NO23kJLfpdFkhPsKsPZQL9e42c4JpZH0D1tFejHtVzka1vsAJ2jT58YRvjGRBF5Np5GHEXGEka/ydMPl8vDPsT41QooVIjcjFYDrcKuel8r59acDwSoz+RXHoBqPRD2cDFh9yx1T+S7z9v7J0I898nT5tl4A5BxQhM4EM21hUtTkFuJ9a+O7itJainiu3oSoqTuXoMQvMky/yO66aETYQeoVRa+MowfCDz5YuurE45g5j2SylXnLzcgzoKPx6mXAx9kUxxKAqJUb54K4OVA9ZsAyNGYV4u/HrygNZj1ZPjtKzERyFyWg3C9a9yAFdAd20sE1iix5KzgL/JrG+qheUS1EVUWn99TTNXiPzpQWTnMbEOCxcP9fJQqameaIhk30BHjtojB3HIY5rBTF7e7ZQFSfit4JROfo85gvnnx1W+0sd6VPKWP5ujsQehVJ/SyEIalDlWfz2oLGhEn4raWSEaH0fqJtWpKicU6ry3L2gu0Ny5500veFoJVaipT5iuS5kzA4tHvUSSio/e4fL6F51dPC5ME5428ycNs335a1uAR1S8aYDPp92LyUuYA/lE0ID9mJeo4ivPG3B1fTgP0nHgL5wmg82kPRk3Ldj2LzZVG9NjwSt2yLkKDnwRxrE8rEGstdr/I/qKydZBIeGZQHu9kZqn/6vIEkhotZUbpf1nGPAYDFoVsDXwxzE65xc85LjaLmOGGzLv2mwNsDCu7IcOBWwSA+nm3Ul/Fse65N62BGh75XnbAvocor5XnaAiRjhCnLEG7FAdnpG+Abt1fl2Ct25BjIh4y0kIpyHi/F7Co4rogfcU7CZhAQcKnExGJq2fVUkNlnN5dT2NuzdP3CiXYNCHx7n/0m3w39BtuFCOjcXUylUHldy0lLbyjoF7ww53xZDxFB4QBbPm0QDaLOw+tWd4+J7Hu5UGLG5HRUTlxeFqBsJT9QPRL2GpHv2bNWyikImD8upxfpYeJ++h3FPmlK9FNOl3jtgtprrC+k5mVtj+hgiXEyF5ja/Z4oSWvK3uzJxo/1gqTD2a6O5yfpFnhBLNz3OQJ5pi4Kn6dF0b2k/AaZIEOUSLZ33sk5Hk8x2AgXuZZKLV1N0kQldo5ryayFK21un5X1qQAAQYKZsHdw9SY5NjYkyR8kT2xRIpeejAOMVyNsj3IqWOaaSNZgnjQCh88jQeI0+WfIqfsUC04iiu3vnViUwJTA6kVbGHHPSqgfMbBY1laaR7q089cYBYsaFSweS1VLePQ6MPI7cnyo05ZrH8UYPzoNZlNxspfGvDQbw5eYpENIIN8NGQiWpNmVTMHJBln+a99TyAYR4jLTOcT+bhvvgqAEgYsMznuYU5y0PUnoDATcjaCMLQDPq5eEgnh6qtqpgqEaIuadw0n13MVFpyePW65uk9q4Wv/bpNu1EiP+FsvniOKFk0wZqmyiBEQp5nxLIb1hyCnDUtijNcwOBAr8E6sHdQdW7Nyz//u/WJzoQ++bgqJOR7bdW8+UOzjZbZQrN83pIlIy4HXyleTz+/i7WD49SWmPayarScGxHlXe6lOt1QdORJ+fcxGc0mWRAdLm5g+JaCxSlbMnKbzYTQAWsY+ttYDRo+ZciCi99TTWKCqNKzBKTIeWq1xqQGXX86jSydyrmsauVKM8+nguzOT4PwBL8Sp2I4l8G8HXM7AXK1T45uSzAqIzRv4uWfm2UvDfM0h1wS5uyqXgMbqP2bx7jzWLXpXcdX6XGxdN2UVN3X9QkLptnqTHC/FKT+M8fpQLUUIRh1ba3LMULllkRLrn9YepDFghLql/O8RDISpYa0QFLxrRdqiEEaO/EvDZJTevR7uHh6W7UmIPi0MBY6TWJmx2iKgXLzPg01rUokq40icphPBZTGlM3ZEDnUe+D7/UyYSWYMMpVvtgJxRLYNSMaFSz4X65Xw2GsefLC45Dode/v/IW7g81cJ/YSgY0rE0Pq3MigPtiEiU1ShklG4HT6WPvS97WB1F3mvmtT+c3UNcnWIAtmwH6YfH4Xad/ma+c+emtrdpxkIKH0GDSqJlRsTpcX91woF9VaeOzz9vmxBsp4wfi7pZQ7QnAFLsVU6v3WRIpN479ojzZbPV1yW04G1C/oj+sQQ+cuP/mnEqYShynZmA1dREJ23rO6HtOp3soZs49gWiFQg2IDRS4Y01aDe9SpOTKkKMjtkrjZ6ZLda9cVvAxifXR7IaHpBF265Sa4uXmg/kfOlpt56RK6V6/2IvJARRn4SaEYWdGcB+Pkt41xCj4xnUDxfLifMw5MwXTo6jTvWTwSTXfSEgjguMnRO6j3EnZFbhL0Chv3G3QD+Qpr1SBqKtHafdGKP7fvInLuxHv3y/cFRyqGcEeWb9jtz3fYVyfbK1VNoHNgialctM8wblDjoxV/+9f7bQfDtCS9Cuh+tymOXvnAMm58EwjjN8hd7dkzs62gGHpg7nSMztZISRd3qFFxbJB/YHp0g0hgQL+MNSYJ/hayqSYj/0raT4sNWMrUlbj40qchh70ee5yJ/L9LGQNyAPtJVnbLbKkOpuIqRJCTNGe6/0mIjvDKefC+togouFGkgYmFG2VWZXhADdg/E+K7z5wAhA/heqcbLF2zXvW9NLBC95Q3llR+ovQXwK7J0NbEE2k6nJDftNU/qtqP7ak0oQQMRJ/jrnPjaq8Cd9ETNKvpx3yGF+uY6yoS3t2lZyB6BNNQlhqQFH8rTUKOJ8xiFplv44dlwhL08DwYLYZXxmKZwI+SUCcc8amzyWcU5w+xvevJ6U4+JNFaGKufjVaMbH6evzpNWRtQAZZLZTkdnPa7bD77C0mSyKhjhJ/qSedA+Mdq+le++DklaY5auDUAPeD0B83+AA8k4y55cOk/48UZl7p4Y16B54mfZAKolkburxnz8wbcnBJwFiEb+u0qEUro7+UXbM0dIWTl+CSEQezfTbU9IaQ+DWdOZwpyL+7ZInlgYHgvjKvYw3FXzxm+02EcMCoA2S8y/18v4mFmGTUvZBYBbKd1SVNdH/SWJzmaxDsVCYXvjdmWR89DOuaJY+9TDQTt338sYWZUo9s6cY4FSRUIPhn3kak8BykHPEJAkeO06RMn006gPcbYH/U17InbA1AOVCpdT5PppJkFzd4eDHudi1f0ogdeMW8Q7Uzsq749rsPF3PbUTLjHewl8F44m/g5msivy8biA4vsIkW2OiazXmWK4Ux6Di/W5Ow9ltaX4qAk8G+U2ztNzCse6gZNZRmhxgjfri+efEVUwXBy0EvyaNNjK/wYg18Tg4B6J2zntEFu985/Oz3fgvkC3bi5ifamK3L89GQtRbgpgRpbEEYlblJHf70I08qs4FHms0ZQkgCdL2sUq+GpwwPJjuzaz661MYC5SjnE/cK5L5HJmH0oigpy/lyJo0O/xg3qLl9Bm0RYc1tf22u2awc7AOalf/uXFRcjpdIlm+j8iipIiB/obR6CqFpR/1RQ25iMpj6IGQKd92Qm915qv8wslSfMUfg2FCBMXbCxZSI+4bAjj8S8v1+fVSvUWdmIXG7rz1df/Jc9b0K6EanXi7H+IasHPXaFJZSLipxJljR+OM1kYMgJq1q5KX8G3Z2TQ8TqWu9t3QQOPfdopUdpqB+EvmrFyQ+d59HcxF/tuHlsbdQ6thTxoHq5oWvJxANLfS99dI6pTemL5UCLNH9cNwjPN1EdJBkh8ipvc8gMmEe3Y99hDM8AZucsNztcFjcENGa5Ya1/6O+yRNa1fkGfGMRDw5HD1Rq0WI2temEDWFE4PH+t3Ur3+rO5VyT4VCoQILmy+JYucgnsCX58BN54HaiJHqfElT5p20G9ZsYGQiQH/NXbTt58JOqbKwgxDGaCZdrHgr4AzTMbIwCD8kOY1h4yY8eAsyyFG/Y9i3Lj9t0oX/Lr2ydIiq6xh3UnOUY7fUh1LVutJt/sf4ApO1JXuWBLk3BW3p5ieR2mwii/drodyvm5zf6WVme3cGtsw87cDCqrE+PiIHtwhz/U/rCkCddU7nFPwScsfGImE90UlvPxjX/9Utr+z2epiC18kZp6JK9FRu3JFaA28I1m0uW4jCvilHThEt62tB0ld4SC2fGIXpriTDdgew4Kz6VTbnUwoK+AEg++Puuam0qgmfGZKR+KhRLDJeo/BXpazm6cZGysJeVRhiXXT1yxcsqPvaenznJNu5DV45l2PRcDaJasL+Z7bSqbUhfL2eV9InKPwIyjq35+BV2T52ol29D/Z4YS3CTWsbij2iMhqvvdT3Y2Jk5QWoJqx8Z7fcw05wFjN7TCQy97AwuGAiqZsaorX1b0nU14KHtgpBmY1FFpcwo3OoIVk6vpxlf5z0146HRaLbdRJ5hNj+wOLizDo5DgaTLepoWGLK/ThDYnuypJGfTwrBghPOm+Ij22Bx30iy1IaNUlzeAKT5tmaVXjhUKyGzztqMo+XZCc/tCB8wm1+WfyshST6e/XDW+HA+D23DskA488o8QbqpGJmB+G8SlPgmUFAFHr1DBpwBaunhI3U8jY+zG7ifcH8Maa7Lp4QGjI855mu/fRPS8dmkz5vMiOvfKzhyO34M3hr4jzYptigOleNIfv1C66nQcQ2EjU2TwJt6zkgpO9Tlb6oljNTvjvNTSmkDYZ4rA/H36G82908E8FjHElRj28tt9xmxAELVGsKmyqQ/WM/DlGPSAZqhiImiEVNoCI0Qt8jJjlRki5VJZ/XmFo8b36vN/TLvZHoiome0iShba2asb2lf/VxhU5oLLcmdCICqwKFdolnAV8NmVaRuuC/UiWDcEIVtJlyhPgxgHQjvQCaIFhfcDs5Hs6GowDZIdrJBqi7q3Doc3E3kJ+9UCcpP4le8R/xK2UDvp0oI23w07QBOv5GwGczAXmLJA7iHqorSafT0iYXi3bfKa/ex7g/QnI8nCG82YdHSpS2Yo8qbzcCtKH/GMLKnPOResWlF736nKw3kkQY+rSe/P2WWkGOoSIS2YIGo8l+kIyZgERPVBIFkbOFrWmuKnHvlJxlvEJMoa7SByMf+cR7WNI4S8INOBD4L/td6OMs01P907bHEAGUGkl2ad6fdua632iNp6DgJlxz3Ou8ificQTwOaBKWnUcPVogjTo6wU+quzpSt9f3m/I10UylMoBzDj9EHzcZsA1zKAoVj9XVe8YNufc+F4F7gmX3e8UXCOn8TkZgoQbnVdRhjJ7H1Ye+DPfV1Ps8+xVd/QqHogw869hb+CMAffPxLWePALyP4Q7hJTdp+eIUUMWR+l2usn3gQGuFGRV6ClPjIDoO++yPYvd3uhvRQTy+7bgW9UEltFIofvkZlq4VBAUb/+kUyneHpHTGLnYPDkfM6JI5AseYR+/mrLPb9tPR7UQ06ADkAQ8W2Qnbjm9mVLRwMUEfZCKo1zGxazdkeW6XNb+HzPmNcI+MT50IdvWVRE0K6oOts0CoHYcpaT0UCbG9IYdWydmhfQlNKC3JBHqLihNrqGEmULk04X6Gfl8s0VW7b8lkUObRk6XpQJKdotozHFvvnuXQNGwNGDup5Vgwwb9aX7LakFJUViYii9pZoy7fROXymlft1LOqVmv+FuTLFm461zyUcE1KToRlqlbBTr/E+nNjswsuzctJF6F/4E3MoBQ+q93qjaIPyZ+8AEym7/PmC48Od4Gt8yLQRbvgJD/0eQ0tVWHrem1h0izl448bxtw5275ZrAJnfyg2YpVRwl3yHdkdm2kcBKjb7B+Y2GZa+KZTlnBOmr1Bg0J6O5wi7CvqeMneAfyiC5UvToSuEnOWLlvyPlLOdCpNmQnzs6cMJgySN0iGSTyWQcK8fXtdJmtNCDyGart0vGG/Z3zYdD8kVomvLZYUJcLtVGCCu5xPvNLxeaWptgmMn6iTfCR0sFdtEBjNXBKi65sFVJt19kySbIb6CrGQ26xmN+b+ee8eD2yE6zbTGCZwFxIJi8FgnY2fnwI4iQmILneX8Y98KKpU/WEUiwQ05cvR9EAuBodjdI7pxBoAFJdiJ2eZlzY40NURmXM4RiTkyMGTIn7ZcYuEEE/MWqN0bqHTH2GDGjPmCz5QYjFay+MrT6rSlCVipQhw3fEfR+9PZcHed5a3JLlEK55FVTldOdFr0REum/4Gy0sW4DxLuHyavaP48oz6+yIqFHef3FvEqp/juaEhrwIlywsPDi/BJJFJzmt2OXPIf2rD+Xrqn5yrqqMzcIY2ctWE55m920Ltf+NtuVTARKMA2B32cABbGcgez15GgRMCDHvbyVGfs1dXwc3uzEVchyR00QJHrRG29onCGJykVoj6ffEkz5mLVY7B0AwINznY1/EE01Lb2DO9GHlkBm1aNHB090eRDlCsDQBdw+yHIzszBfMdWNFmAQzdTz3sCAiN1LLXWaTOOYeXozoKJp9yNQSh0DRfFDWgXdiKWVQBjiYpJjmZsV7s13qqqQl4eCDVk/h2QuEAkCpIcWxXkMxobXtMD9huuy08HeB3qeDBapkzjmfzzTgM5P79eU0lc7GpsW6+MlhKP5rPSPNqNI6/FKfEYG5z8QaVh/OqWT2FAimOYMjGBrhVKDjq2G9CN44+gvGXtFWuc3Ss8tlr+7jNO4B3vlsduOnVOC60vtDoR9y4Do51YhEdyF72PcKd7lM9crbIkCar6J7cVUIajsigvIkPOj5LhAfJ1Y6TF/tWDbu7++YXiQbbb4yazFldRQu4IE3XSZGYWles0UWayM7fQM3KlFV4Wm0XTI7XfHQwrsXqZoKZkqXtiC0kuIonK+nFcQG4OyKrlnr22pFzJmKrIU7WNNC9lQkiG1WbIepesbzSOTe1l0JIPwTs3JBS01YjY1+0l9CZQI8fuVtUozKqPpQlfQ0iLjC4GND7xdh6Rp1e6fh8PyAzcMSe9Vtfwy8exQke6NN2mCvVmEjEFdvWSF8towNY2Et5bzuKemQI4ciPNbNhA+ZxR5Bts0z4/g2E/ajGjQpIebiYRbfBYWYIlk5hYi5J8Zi0U72+edufgTdpKBYH10HswZdNBWpWF32uHvoU7ANI+QMvf75FaPzEDoEJ6tLQ39tEn74vuItLncTafm3RcGeLyRqEmdypOlOPdfd50Mbkb2nuCcJHux1kz7+bhlrCTjc7dDiOPMBsT4rJev0mRNcHrrMyjxnRsrRD+D7oQ3u3IsJqSjasxz121sf+CCyitCMsOqmYoorgpv1ok8HHcAnitDP7agVPiQXcLopdCasq5o02FPAbGSIcEgOZ/Ni817Xjayzkz/3fvVcqtKMCWHwI5xAOL1+HOiMCK994OoUpoRkTvzJBwHcfomT+VUh2fWYBKBo5c1Lh+1oZEiXkeHr54KcL8bbSlwDdNPBgdPTp8vfZYbv94r0y2Q5iQAi0wq+uixCoh1axTxWD2dHS7Z4vM0aBznsZBBCRReH8ygN3YZmZV/iWKnyWmPhu+gFSrieQyFsfQB/9lvUxMmmvyXN6Nr5BR2W5rcQUSW2WH7nJCcI59OKpKMY/3jy3H2qSbXh+HQijXE4nqLtf7wLCqv6TK242Q4n1bSbfyYHYx7nghfYRJq7eFidA6PVpPNddtgH/qhQ6aXVbBJieQOeUEQXcfGHjbe6wS2ZK0LWJIuijioDMDd1fQsx9upq1Za+J9RkBzJW4V2Ml6V3LNRRtdpxEUD8eXqgvfNAG8A4AoYbfNsZWrWShWdOM/UFqqHYAcRzWOkoSYwed1Esx0onXMtKucWTzaca9xMU7uKuBoGDc9Pe9YvGkWzhOZM75Qkm2BHAhVFHwiPbZUKf66UhezpAGHVnqA0dA5XN9WHfyvEN0thrz9ouJJe5+dJ4qu/fpcG7TFeHP4bjf0ToXz4WhTqoxWnCjJrhrXbu1rk12ENJS0iREPv50zAKBjNQncCzwtPGW0KUTU0kYXiplyedMxhuti05xmb1rXFtBU/Qaga0AH+/iN5f4Jxso71NAfoqFcQZNwppatG8J0EmYAIwiUS9R7sNAgI5LJkOAX4Wcrgjp6cDd/bojLB4qL1TcQN6IBNVByQM7wkLZUHQBKOSYL864LgS/wZvXR4xzKE+XoWpLdmaPx1f0VZ+yv2cgBAmiQnUm8h1pDpRATUl9N3iPFD0AN1zqd1ehblubgk+cbarMIKA/9v+sEj0bzjm1DOVaqxskiO1I1n6+bm8VRexE0DLoe/0zZlAOcLJ5fm+D9NISlhmR/saJ9BuLWhTjC8+UtujiIX9sjq1TIvd434jHNfY1qJ6WWHg5xleBrPmMKho3U2s/NMSYcN16ZK5gUrkJOQm4WFCvZLmHNq1lZok0hhpp//leqzqe2DKoJwXyOcRQAI9zOJxrY8sUyswg2mlXX+WGKfGVO8DQLDMVuPJmH+tPmaEBcYIYslQx2Q/XA1nGQsECtCV2fEUzNVMsY1QD4Aymqb77lrq4PQR0+V9LceWSnxu9Z0QiczXgKabrIySw6qcIogW4RnEEZ9/lzGhxvG/Bxy/bYJBBItO41RxQUmmk8hVswzStHTCHlHDT2BBlXzh282JXZ24d1VvV6esQiU2I4TBnIg1J0XB+322cMC0YHpBJA264ox0xDDUPND6x8GG7O5humVzdUxyG8J0v/Ulq2SLOvguGsqSS3iVaqZNLdCW4SojTbyu34GNkayM4tkh1O2qXts2sQj2hlWWILsDKFLgreFGhxK5KdByLrl2k69OLzOl50mRe0iT4FhEeULVoMdqXfxyrvi3wDI3Qqd3XgjtDp5SagdDMugUElr3/UDGNK+r6woiO8VzQOCpV8qsk+uES+9gmPu0uUUr3mmmUq4FeN+mVnOjNWLcyzJvIcihxALUms5thAMmIou3+t8GyttHyO3zLITRm1A2hVeL+N+PfB5CzlGvQtA6XYczsq6V1UCkLTnUfmwWHiqr4CePA+Zo52EWIUlGixf1hF7q8uOy/Vwbu1fv4V3733DTxCPzdvBTwukVMQkDD762cwqO6+deD8/MtRnZO42U7SkxZQVU56FsN1EVFWkQijYQIRqmE6U0xOqEV2y0lyeAhdM4KZLB55X2oYgjiG39+sQap+WgnEtZoHl7kROfXsmlkDTBzn/oKUK5ZZLhkLJ/W9iBV7I2H8r/0F7KqVrAzkSIMBpe5DUbvY/HmVNpEqTaO+698ByE32NJJacoZlNM77FH64ILgdSTCqySiELZ2tyzjSLE17RuUazL+nWPZZ7ibWT6rogi3GEthHkBj/GuXdioK7MR36qAMiGLLk8PHYhQa5FKQj4K9SCTafav7Wwoo1kjhUDDsFxqoiENFb6fYuVpSaq8aiN3QtBUeE+nuCkhxngSfDeJ7GI8cvx239ajFsSlEgzfm3UVwgFjUgJj6SdopTuAvZ/H4Gtq93Vxq1qaPtR3uwAUp9+lO4N6BFekyUiYxevmlaYjzMZvOW3mgXet0I7r3kUviuswfs9D4IByzxCJve4Uz17UqEApvmWsPekKAuFSKQxzJe+5DBip6tQVnJni5Jf/BqrMSG49YDzN3+jZrfpG3nD93mtYAodsJVAC6hCnXnVp24AEZYBgsi2lJJte4CuLizFRj+cE43MHnSx3+QIx4G38O71Fmr/k9eCZe0pC8ZR+lH7pF0Djdy0trxhkEiYAe9YAr3ijqI7vv9N3DIWM4HC3Q4cHgSizjk0uILz87hkkRPzvevF4YluZUjddlV05QXbW6SpVXL2p2xdwlb8w3FxTiDh3NssrwASO4NweYeoUCnkVXeBxKdtHf4AY6RZdVVpXgU8R1Ue+MF2sH9DAic4ftDKDg3z3lKWbZMiM4c02wkmaKx0D3XM1CkrCnID/y5ZNszBbtcMZIP4SR0BEc2CeBt3GMJH21E4sBo3HsvfqOK2o7yDMyoqCJVKPRq/wnmGCE5EBqocmMRuXqxfm/VyTnVDyQSDGh0yyxOZ+4Hc/XReSsWdMX7F8X83SUdlUvL9YAh47F82btzbBhGnKU9hPE1YSvn198qNWpUWZwOKR5aOLGJAQ0a+3j5fVWXxyZljCxDXUvXk/QmZUvkK4u5rjzC961Uh8he/ZHacPSRj0/bt09QU+mms+bnZDwTIAKhaGB3JDL4LY1dN7LEYkEMvY2Hov+DwhD7YZGuUjZBp/rdlAFipvKqln5je/rIHcCu8wklMrxA172T+8MFeseLbldvF7ZE40fz46fGAiAEcLqaa4IjGRa+sHQUEF9oCm7qjgWy4uZPeJvjF1Zr9l/WwFK/E3vaPHg+YSsSR+uYl3pOqL2Gd9+yHYHslEzZpuAbLc9+W5aTVHefDKI4qUpm/kyxPs8et7ubXF/UIBnlUbtifNbeDs0soVqe5nAnNvSh4cmYga92gkzRL4RRv8YO8LY5LrPadw+1Iji6KFUbqQ0d/Zc5LOilwzWeJqcEEC/+QUiyykI9kRCMxBxuzJb8vB5TFfHAyKRgmcb59XWJYNUjSdmw9xNWjnDGQk4G5etCOz/uUCZ4m2D593ohLnviqFxzq0OuCN3Ls3Jf99m8VbYocyuF1zD+kIx5tYYhu7hyxXnwqBS1pym5/eS55B3WhWyqQF75+nEIl8sHlgvVWSWvHkgQcbGRc1G5jC4gxo01wCKKNAn3DUZkdJCw+Hu+qIbfn63GpGCE1YAVIOnOq3DlcMl7s5OTQtjymdCqCxZ08d78csd5naOXmiswIYDGNQkvUe8upB9hW7vibIh0Rvj+l4TtzyCovf6AJdj8Aw9MC99Pd2duq0T+Tt/HONsFge9lAMogDfRniizx/CTj5DGKzMYFFFnFzvrIk+vR+ctt2J0MoqlTNEkNmOVo+3FuHDS+un5YudVsoPLdlQvXhbqVCpA3PnS6EomudFgyLftQzVfn5Fvciio3z4V28YtDliVm9lf+YwB7oxmr4DjGlAo53WvUmaxt2+rk9dPfv6+BNRIJjdt0udT+bEE1zFCH304zMu4Nx5iSs+dZ56eI4BA3gK05XagjqOhFtZsG3hVh1osx2XkGWEI+DbhxMuQJHWir4hJ/7QIlK+Q3L3N/+nmRvzZY1Q8M+3+06SNZmphmciV1gwRtkLFVJIfJz2mvglFl/vbQGk8RmHfkYwkRt4XBPsKAvrcOvnHDQWNIRHobmfnXrJdBSib6YyMqzXNl5JYgBstEoEUWonEnlbJjNhtrTXq6dNuCHhKLy5ulOYFG1iiIS563enXFXVaqhhtto/jFAbqB3fSkdCnN6Iid5wkT7MG+hEcc/8cOnlGtE6bfK9B7BQPLnzjfBbL5AgtANhZ6epMaqhTyfjkStA0z60wdHHCCVSZTfetNlLHlib2udVQIgGrN8cuqXz3F106E7YuYlLSt42Kg6fYf33gNh5bQKtyshVWVZwx3byl1mbiBfZVn2l7tmiunLu/XU8PMP62ynZDdpkeQFkbyz9wi4S/xuNFEzX9tzj9fxux7pCZEG4l7SQfgPi61vB7aX6IXwG9Efr9/m1K7xIAK1j92evUzEXP7WCJtY9PN9qZT60rSm1x5+qPvKB4d6gKJE4TqHuEvyR5CDA/sroK1YJFdCLNQDZtgkdg2AZp+tp3Y1f3uvFPH2BaZv7YMaY9FQozjYhBWSyjDUlRIq5wEdOYcEG+Nildm9I7pie7LhCHqSd3NTARq+pZ4hUgO91LvBEXc3rZnoZk285gA4HqBXLXq1/Z3LgR0dDtTOi+9EcwTpM7fcBqd2v6Y9LQBSrUJNhTrawp8nlBdxFTDcr+aceMZKMJk5y3CIgrep+Lm/8brzEHI08gH4NxeREecnxG8DMsfYcByVFXVCfrgjdRAXusgY800UhEWcKMfrbsPQ60Ns239iB1+QS2duZhh3ZWAn4xGtBdi0lzda68cCKSlYBLaOD/lN785tQiyGsO4N9iTMWVj3IwB5JhpREHh+zGypfEHRStKSyVWrZp7KsNjnKsKnOHZx5vkCeYrdsuC04bnSLFtePYza8bm2LI1SHcY2qOut2I/COvYLZszHu7zqs7nCksEqlzINdfRlnIF+EIQvLdzIs9JTOVfhtzS3pFL3WgIlfu2Dm68YQUy9xxYEVSv1RVq/HEbVjo1uwFVdJSnmQ3dqXA+8CfXPSPi4VxdGtSPvZDSfNBhOW8yi9Kj9Nl2m+j+uKtW6LD3zFbjCPR/ioaAku/WeEnUeot+hS4hUOsYWvQBkVGwSpa7gM40WPiqkRdrcpQAgI+mU6zc5iIq/X0dQLoF3key9iheH2wqYeZblILEykP7Fult+7sbaG9cLTMpYwQ57k//u3CjGso4ytTu0G7iCyjcsTGf3svwteFEDzH6FvVmElTsIi3uVBAF0xeuONT6xjF4bzx6eBAh3ss3b0KS3qtVQ9udczsg6jAP4Pfn6cj19YX1ZMtlmTtHNZ+JF80vEw31EQSvK49hA4ufZvqgleKKDffXfcNzQ9G0US4I3TIO7o9hSYhh4sZAWhnKFs0IfnxdQ7OCFYZTTNFDS1abGu4AOF0qgt3rw/LNjc/1PDxz+HU7smCV4DlKUnuBrK7jGCapg4H5GU0D58+LsSazM9a0cU3AdgoqRXjyt+nUpMbTuecjZbQYoVKJ0bi+ELEAKLs4QXVBCGiRltHlfLIrkk8+j3nVUL6fPj1aJzKOVhTNMdDaK8P2Gpz/mmaFn+3VPlDUr5yVxs9jmwxWHT5XXKkT4GAkXnPXMEi2biVirZ6ll887PTVLp3PxgzjB43PQKuZSU9MkF0ADI/jooy5z5WnYwlz3QAX58jnr8l7Oy+Mo8HcSOEz8B91ayELJdfgmtRFGOHfPSXpQaDgdtuCCr23dajQOQp5Bko2P59KJM1OngmXqEK7fnv5VvDJww+x0sygtxGNFHJiytF/FMcS9oHvt4Jl8yHcTIzqJSyKfZ10jU6hlkj7b4EwRC4wEgQ6HGtF3uFMg3I7U8YKdBgKv0OOKsIDmRb+1bSeIKDEUBveZoifdZ2Jwu858GdUfCdpOpcoPatEa8OIXAPX/13TidD/i9IsNbxd4wN96GGpZygXfalgMtL1mBSAfGDnuObRGgcpejDQCKUvMJ/eq9SMc0gfbEeRTTRVLO7BaUtCJBW/SFmNVtTrVfKP2s8SQmhAUmTdP1KioOyrBxEa3Vg+yhrVf819UB7CwUPAipptR8349AoLAHgnpxWVsnhaIpXXOAILWNfC6Cacc6NMgabzYGOHOcyF1065wcRU+pcGY4SJhAbkSiQPmcQeTyOSJoJw7wGBb6fYyFRR36ScQqs+hbkCqJgbCCcuk0DTBO33MJEUhA5tG1pVhjpRTQoGp8rE6/iQoZmWrsL0WfRIBQLUinP9OWf9nRNB8vrtTnE/eZvpSL0sAihdoQcF0q7tlvmMl27jY+igPlrHG3t/aM/LAm/UNHuHkMdN5NQ0JxNSrN+FxBXKCoigOKHloyYCgjrQe/2OKNUO44AxIFv4KHtG49TQoAogLVnKQpMSN1x49IwUHXV0OC8oG3CdlRii6zw21iazVDcR9KAUCXDANlDKZi+lcsby4qPl5BfChqrzDXN77xyukUanaM4F7GPTSQNQDKGPSTfY9cUQeD8rJzbE8baFExgSnQwYT+ACa+B5JX2gAleVKdoy/c/uYuxrWh4F0JBY/b8sTu3OYCH0Z1ZwCOye14ME27ZbekphJA/nAY6XYAY2Y5LtruRsFAUGnLFYuL+ivEZoXKrJCajbgc9T8PzEypMm2X3R64MPCoWaQZgPfR4GXkyQU5UMc4oHSA/G0T484LqtphWcoOKV8cgRV5UwSOgc7KJC025k9vQFI2AsRpRc8uaF9AQMVqa3ql/5onhhDaX1YoXdJ5PqpHhgG7aMvjP+hbZSyVkUokWJd7Lgdxfk1eNxAaeIfhRLJ45YhlpXRktezYKGXHKjpDqxgfkQX5IcfO1f553ZFFGLCAbcAVpfjocG0a9TwKjYpkHY/ZVWePAUFrD1xMpFpD7fkvjGE4OxHYsw/rNOvCeMshO71Teo6HZljpN9mIKiMbK/MjxfPeDewRRzUrSUqAMnfG+XbhjyF9yanMx4vlN05Oqr5yBoE4/nU+nffXgRfbkTkAc6phguDut/XyaqE7iVu+dvvxpdCS3qRpu9fDFoLOYATHYZfbdq8qbXm4NWHhoLySSEcy6leQ+UCfMQlX0XtwtLxJ6y4KU7YrTsvvfk41c19lkuzLGQ2EkLkNU/ZwQRHRnBP1J9SAjMWIbfG9PwqGGXyzb75OCGHKVSXC9jM8LpowkB1VDEQte1gh+xXv62gGvT4Djj9+izSUkEMpsCtsmfsU0ZqPFaxZtVE1PZoxpwO6XwCseaO5L4/6kt5SolHTirHiqp0L4Q/XKizQc9PfEMBwcXnj37O4lQHRlXimEMXoMFKQWuhIogylhlI1rftlUo9/jlyp9w6Vt1mYJUpfBmnKVAPGbz0ncafhVcrrFmHUKxUcw+8AkrWO4ltDV/B7pPfMdryhPZ0Fw2kUAPwwhcOqqvHLe+Vkn+nfxBlSX1u5b2JHQVt4hM2qLG4I3mMYg+BOCm7wXxni73ADdlBDpivH3YP7njV0tkQkbuAqWkFhxYSrOZXKcTYua1eaHwtk0gl425bLXZkTmN6UsSBHK9/rXFPETC6KEm9uhKouQ0hrYdSy2MlEimMA1MHeTv9ydXKIwFE+07EioGASQtDyo9kxFnsrGrayGIwMK99EsEvPwLhn+84i0u2itBQ7J263av8EUrr7JPFveHrmgWaO70MhWTE95J9vVfYruWl6lSCO/uXmH+nfSPmMftR9aVDb/5LHjU4tpZEXrFYsxQaV3W25p7Se1qcmin9NIRLn8jSGSLpApMXYrWcSgDlSbIsoebzM/wfBEPFtAwv4xL9OLvBrayLawhCiqC+XzlxzjJzhVS7LfTy4r57jHR/g9xPx6pxs0IThcbloSVH123sI2nd3eMyKObLbuhX+UCjcMKKRUdoEjhAKrneR2SojqKkR9bcN9ghvhQVTJ6TtDlNuuh8AVuGMCjvCOpZBQfI0+stwQWeMrRClBJebDXwhjY1vr8FuLsAGzBk2vwYpETIpRfFeZKP7wB+bwd74Pw8Pl3mn8VmyDAzFQee7d1A9Xy/1ZPG5Bc/o2ovdNH0J/gCKtGRXya236H3GMWkfsdTDqIuNk+MGEkRlNsjVGBlYNjSUjIEXWwCyS5eVwt651Z471c1IaIVS4q29cAyKXy/R+OKc1Ohdyuy2ExgeZQRorceCCEMPqcSVFB0Dp1RJaTrCpjs5lcDC2MtMGxyk6iNnaKpB3XbgkUy9lQ0GdH/hqkP5HDfbXTl0qsbdpXOLDpbAuoG2T6wTC3t/F+IngJnnTXs8Yfu7Lc/zcCc4lwCLBsQYcH+VBUhANUZEOLr85qUmUgucd0SB+QL82E44kJ6ipKhTX1s6Vzb/OUXDy3GhZXfj+iXxNJfIX6lcer4PC3bIybeGha6xa7GpY05LFT0dUZQIdEfEWcnDgUsZhzGBY8flKmnVyxchJ4Oxq4WmpubnqcNRnxH2ca1gzQoyT4VPWlwH8KJMtPyn5j07trfZ4E9GHxllE/Nvu3l3WmJ+tpvn6J/nR1MrNQbnXtW80/C1usWjTt3yyhy75hkI/dAXXuU0YOk6DQZMykOkWtrdorOOBiKdVu8jDOMGlkhoqI5wZJYL55RV9QfphNSZF2/ASjBTSbCqCgmwjgCfIadEmFH568azd8haCEfiWjJPvHspwg207fueffZsPdfo1y8SqKW/nWiedI0FXHkWCU+V1VlpHP/RU/0u9tpDqLEbS/dAJAQMn8c0rafxtt/WAVm/DBXHAMonq8g6PUCwxSCnpKsOopi1zdCDpsSKsXZc6rvvLXRZVOVgytwziREF3orsoN88jR31Iz3biJ9UChJ+P2GiRS/Jg1qN+hqXcrUPLCLcudVpPucdKpnNYMNsswt+XjBwWLKFKrNTEB/NsJMkxzQNZxwgMxvNqgIYaph2JlPm7cGdP6BFLq3zoM1KwD85XYNlgJemI8OmqYybBf3oXvH2GGJLKCpUTMPIYkXqrGhq0+D+/Bg5RryPWMyA9OXwuGqZUyckk1nYz8juANOYzUiTlJobdHUc+jiWpZWqvA2k0hoVev9PfPHgdjQpXqDQ1axqgcdR+gNXi3nqCCXc4dEyXUNaaWGkBCVemMgMAEBuSgygovmfc0qibSsybcGjrS2GrKiYP9pzYlp/bn83N7XBBwkfjpN/umeA667sQpiO4gGWt2xVGPofndHzKjO+GUqPcw+/PRemstrwjjeQNzUg0fOb3tj868dintB5j+WJDiJ+B9U7/ixA/S0iGCBZ9h2FFwI7Ez39kwSExnr1Gyrl0VPjpIIbSP6VjmrjD+3QVvt1+rgximuvhRGSehuocKCFT64rzJuf/67h+Z6QIjzXWFMv3M/15Tao+rAAlULQNoiUx/7FBegi56ctdfXY/PDRkqGmB/c8KXbvLmEgSwUR6bkN89uzpf4hRzgKF8NJ8hRJe4iZ/yXFvM+TmcwZvIrjc0jYDWTa0waQTd+GxCHyPiKY7QNIuvAIiHBPbfnHOVKATS92s+Kd/SdU8mxkED6fKpHLr2mBPs8oMME8wXKoTRv2vNTlgMrsxBmrWLtQhywRgF6y5qwPdwW6oxnnZAzXIZnMq3T7tUmNYkRI4b64kUoSSxOA//SMOZaOqOmSoZVDYc2Lz2MSkofFDSZOjfCUivaCLMmkM0RB0FIVGiDw9OTksU77PRyLELTX0ZLdVDF5J7Z/GCZclGAX4jfJpHNmz1bVRYYaZnPze8QNcT0NO2UG5yigBA/DLqJAQCSGsgiPPb/q9RoIzYIf5sHfbDZre1ua8OsqApzpfuBPF4KOoczyhqExlk53UwVrMOoXNx7aH875tq9wlia+ommOxxiERqe8EbuCwU2c7INTod1nKYnKboxpqrZFqfHyjRp0LT2ojZgixKUm7wdWKLCxe26/AddRwDVaGwLijYdC/AH+RGt0pB4fOck3cojs3lY54h9lCrGy+zRUUAqSyfY2R3FP9/cHLJGDOdeXLnxebHZix+YJ9VqA4HP7Y9Y+iLvFCtnsx51mCECr9zH66brrXlFYeq+uSxHgjwhhK5cvm52pTqwEvhjuVdLoDXwOiw4RvfPw4g18PPChgkeKtMAQgwlD4xArGRtiTDcPGLX928Fe5dU98XyRlznBd7F6z92bVSDTLF5ChQEVL8/ZDzg5Vzkp5PEkDONi+dp8Rvc4k5fGZheTcD8VhymPJ0e0Bf0z9pEPyFtM7KL0uoRKDord4U9ZfL2NniHrO4JbOLWCEacsAN5wW42jpCoGbUu/AA96TG00llzrjLFTbmhyNNedGAMEFzEopFdODZpuQ4sOCuLGCtq7noQ3vUsY6ONlVmUcdLxYDwfv3cDmXVrQD954dPTedPe+j+jtm7eyeE+8RNbxObXfEgI5fN/1lwNgtcd7njCF/HyJmm1P4CnvAvtPn1ijrenC9jgVJvyyBwSP/N2C7p3bxZBnU4xDIbR09CdJNRJct9TSe4TKvrqLWtF66Q/kDXP+JyHl47PRsLBwo2tbDQUtfBA4CA805QJ6DMbw5lYEKRVj4sDe9MmoWTTYtpOsN8rxt0Xe/u3JnYWtvOWOZ9wE680kcGahMXmZJUCWjU61Uene9JL+5GvIOMpk0zb+PMwPe05A4Por9t8qTTC559qdls6jSTWPMn/YijRL71INu6A5+4PnCbjvMVR5rJ4geQE3otdcjYRxDT2Qy7JAI3G7rtNxLgeuQdhqbSx9H0NmoAbK3SWwkaEMwVTWDXFVz/TI2++Z3kkmeh5tFfTyOXjipjOItUcbSB15H7j4sy4O3BLuHNJO2dftPjU60r2JUL92EaxMtSIDUaay5LarZjvDcabpjaRG+fWUFJH3cRO4tk17Bhamk2Gf2l+XftWcYXY2pvrHbbfN3duL0/Fadv0l4KhKNBqB7rFRfLwyp/OR9kDmbLqKZbYdo24boClin4egT3QCHm1db2JbZbocXe9lG2Sj8kOiCpOFrT3OKX0polK8F3GRMzIJuTsx+KTv5il+6toKK0hlQI1VN5W2KWpQOFap9DLwNDmlzYGxBZAM1nhsJnjJpHXyaQTpHcZdGIG7GuAtDZbLgYdUiHaLFnkbFUcsXC45pJrCEckdt8m6oreXY5mqT1pUSah65oTY6dJ4T/JfR0zks+ZNxfDdInnvsUURAWXWqn+ZE/u08pydIi7ETYK/iS/bDKmKzEJQsjM+bkvyHSmnTJ977WYUdx4VX7j6hrTajX/DMeBKMUUbDBqLDPU12i8txXFCdW6njn7jEogiIDAAeBUk2ms+wiJD6ogQaE40WPbTPoCXYZ/tpVCpppt0J1P0YQd2Ns26sqeAVpeuFTq5p5z2XXz4pEwe3gGYsW/uz5He/tmyZfJgd+lwbfs1HmtBVkA2aupFfj38uDF4bheOWvO7LDOgcU2r+cBigl8qP7F/WbSmnex1+9j2Ud/exojAyuBI42N6T8VM/ot+sklZ6vMv+dys/HMH7eux/DTCz8eV2eIltYVJN2jFjz+xcTZSgxEG1hWlK1WLcI94sC4+1Txmqy7oAhPhOfXT2Do8M11iux07hejrshSiopPRek8AMnve/ermAMZhpWA0wyZ1R79xbe+Y/mJrvISykY+t1Ds8UbtIiZkL0N4IR9mB8a6y4Rm3vrPgqWDDho+ILRMm7sCHP2gMIGGECUK/Z7vN53hW0mfz4bHRcQ/Rkmp1OR8Vd8fap+MA4hfIanx9zBRJNAPoPBjjtvlHGaXxR3hoszF1U3yd0j+0yEG+60dbXnooKB4/4VvVvyodnpuop/p4/sSvESqplc+3LOAoOYqBmRiofXMKsChoniOcbSs/+V1Hq7l0Od2XUQFM1DpYhc2RyKUu3Xhp/dZbDlDDp4ipcZw6RtLtWne229P9bTbwFxRmdiHiQ2eIjxkTjO1/w7zWQrehwnEZuJW/DBN+Runm5nlo25LW8e5UKiutlZMC515Pkv77ASMTMMTOQRTbEaA30zzB0OY6V9M4cwoTLze+j3BE8cIBqq/Xe9R90dFljAcjWk26OcqzVZZcAfckmOnGHF8oEFHlfn0BH/sruowaSmwXSELac7ac51mCagqkY6KoUu8176iNlEahRgbCJrQ+pTXLNli2/4POPUe6pVTe1cBbFJ3f/wGVu9u+kI5HPqhuqbO1VYNsOmP2vEgn0DSVJz6nl3zjBzG1GXPGR0QJjSMnDBgO9uax5+PZlZmhksjZseq6zk5c15lJuvkapWT28e7Rl6SrJezgOuj1Hv1DWuhrfRc1Mc/GzOFLTJkX7xebi5F/uLYXCxj4HER+LY/O7/RXcfufjJUv5w/tfawIfgUx/xN1do9No1UqFAQZN1MJPnj8c/SnAEzX+4ZFbXR7PjmeNyvKw9V6TBNTelmMhp71hiwuOCoXFsXGFufviO1FBOznX5xsoKODMv5lOdM4ew+c9HmtIUYnaUZjlBOLY5mPwPEWDua7RqhYn4g2rHB1BPvDkuqwvikuTl/TyoHQzOFhfJlQNWbxH3s7c7KUxDx9W20Ww+KMF4WrCTb+EIjpXNl5qAHAXtMmABZM34S+52DJ12UfWZVGs7Rzj3qPzL26kE6ZEdXWnSpFfG3euYL/3Mh7o220qOMLZ4/RYRO33F40VC/DzIsE4Hst6mY8N9tz1E1wEwh9tjfLPtJSQ9qrkZlqHQkl8fm6Ex7ULU6/AExxMbn/d5GDXhmh01TeCGWt3EZ0f6mZy91AsQtq/L0drIYONy5tXFRnCMc0Jr+auL1FGogLqYGdtEyREL+TIymxeVuIz8QHTB6YB0cFGAXEmeeuwE1//NsZ3Hutz9uRinvmh/wPENesUN7rJCylAdNlbMnQJze91rXwGoDE3ieiUHIG9i23itz7NinrmDW8S6Uv5A4DdVQ5PkQ6lJ1VK4HJdNLM0w7siF7tmIvi7bu1myK8Lk4D84TvbX8/9pHHQsNWJJfe3u9riESNsoFJBKgtWE3B35i9E7PfS2gblnGkVQg5JN7R1LMeotB+iciZm5FKFqu+wE1YN/blp5ylFziv13ZmRc5vAdSnxanuHKUnzwqGfhJrSDGImvMvQt7uGvFqZPprLZOvjDarqooAvGSNLpHle5VYZAnJbxRwHNuj99VbUyIBVPpqnNYHjnEZKZEvkc348d0YnrUZzsajG85NfFDOUQD8OLmdpdGBDz4se9ILczoYMFjv2HGVKRl4nIkLYOtgHK6qdK3HTY4TD8dbBKUikrMBzyW4+7/SSuebszMPPXN2DdFJyJ9EThsIVPRNrGNxLbfZdPZMevwBDdXQ2Gk6jz0QahbJ6F30knvtxFgaO3OOlvRDJdhdsZcU3i0BcJ/V0sly3LDkqsVd+3/x1N5Zlk2vau4TaPSOalHtQDPOmqgcvxHXCvVbm48TYpLtJNrOSMe99Rg74ZjON06LQNcrUGbsafRzTpnKw/8+JZWz4Gx/JVgJCfCRyH8rb9+Usy9jCY5HeVTp533ZYFlZPjVZCoXv1p3wKJPmA8hoL3RbzEJ3nacxN/Q7KvMf21ndvTCFO5ebY1I1PRMCavzldG800zwU368L7PXf+Y679jfFQQ+LtQXdpE19AhqBYjd/REkA73AyM/b7EAX+xIbShs9qmb0QXRPM0EcPE9ufJx1drJfV2XMep2lPmcU2Tc+18lcYoOR/p0TzsGF3XyLeBTUhNmjFYfD4J6D7Frvcx1EuFJoc4VBSlG11lWugABi0EKly8AJVNLWI29zyU+gxXc+GUcstK6L+7DY3VmTb2BAuWmKquJfayyhW/x/5UpW25VLip2/4eSNZy1wosAfhMrV80amBFx5hoGPwRptYUuDNKhxraCfX7hJpNbDWEjdO4ChuutaQaI9vMyc3P2FVtNl137TL3V7G0uNQPMs3fF3Am818ty/kpDxaIiw2iOMCzzN5vU6thV4MhcNCHJ3ZMtuI2bcUZmOKEXUBPKfsf7EU1tey9Dx0LwGufywYO+JOf98ICodMfEsObmY7OWU1YziyKsl7/Lri97Sv7PPKehh1y4pns7XQrWKbNVTsP0UHjElM+XfpbGt91JyhS6tJcq6vipvE0eWDu2L4qkeVmnpFMbDK/ld8IcbTccMZm9ZWpseGcU7CEUovYa/GPTaRshUMCU2P5vqkQTD/6ZKniSV2CVJgTs1YMfcxhtL4Ev9A47v39EoQtg9jePEse430j4at/QGijMWAwuZB+dAvxumQmbh9dhqsA4G7t0tGvB6BSF4FZHgbr+lwWd8B1ZgviJQgDW3+VByA/ish7GGgsRRCt7ub1Mlchx/mAxtmMK6C+qXUhl4JZO9GQL4cOaqsxON/qbxP6kauwC+MNcMxfTgCyHo/C6dErarpAI7/obw880CgZvphoEBcaVYBk+moyu8Qj+57lb+TpfqhhueGS/IKZQfXOCfelBwy0xVY5xOeAGBeYRzR/kLV8isg4wHZ/g/tJzlox8BfvvjWDMf8xEmVgvVqPj3fYm//LlWKm6l720cgMNHXHopnoKZPGeIzSO+BH+X1ZhxaBu0o7Fb5gN2+0J0P3meFgKc8NnYNNN1afFkiOt5z7tEZ8He6yGLw/+VWLPgmZSJU0mFllbuYU6bQcKef6wx6M6xC0oZoQNiEfCAy8TJsEU1DnfkkRLESGvVTQzRlfKKHsPG20/GIuhEGEIXRKZD5Mk8JlEMZeeUw7Mlq6jjE5dp0zAHdYS3BjkzP6fnN7ILSSt1oyB3Rvgsd51smogeleXCMKfYxNcRU3K/McEfSeWFRnOlWPrPGZ7d2Hbbk4Wos7FiZJVP6EoFgdmErmPf+aaB4cOZLVRil2cAoY99Bqz9TnDLmKfPDIOHAFxck/78niP62MFcLd8PqpzDAaTRYY05ZAV2PEs+AFpbWxF1+52N4NaRqdKP69vElS/mwbHBVOiVdoyXH+Z2YRQDcLAl+zXB5tfbaWI9SCwMkJ22RL6DVstwjI4ulK2Pe2+m5jCqZFfBxCZCDRUV0pKa6yBVEL8OVNMYnd/SRNWVhjTG+yxeabxXQOZwGl3qQrxRIgGGUQDn+62XbBUGo5lUPCZ9GHHAIyvhzyS8VkKqtwfT619YSaoeg/8dqqz+C8jctTu1krVTlhhDVZ5kVAdkqWv1QMmsH5cE50Pz2X78JcCbi9oG7SQTl2BcRk1doJiz0PRhg9ftignViPils57mQMvwZVtfSIBE9BY6MbF9ObWrDraaOEUOMI0B5rbPFoeQveJzqnfXX98Qo8IVbF1Awcem6sWFZUbnLDe5HapkDyXZmwj2TA3Ue+EaYmtnZYQaJPdLXjiEHrYegn4YbP3komLifbKketqrYdcEATn4dGY3FYGxLju6rdXzdo1lic6ZVJTI5IReU2DIwKfQQgoxAA65/GFyAIl/GDQxpWwPH1hbxIUre3z+/J0gQS+0fm6cMEFCU3e5iRzWAz9+D4ZG23Vr/7mXry80riDySbtn0PKqDUuiF2C043Q8aCbPo7N+5sr/QAwDRzMZezJ3tnYwwb66eKjpzOelcQeHh6OSJ0kZYujmqCBLqJbM98kSBmz0qZxO93BsrFag9uvH9NdRyctJ7nIg5e5kVjdTGpBsAhoh3jzBP3ZPWhmwc05H/aEvyBnfm+JExoX3q3wQA9/nmdofhwwc8/MTrNc78AgeAXnmH4IXb1k3Ina8RxeIyzEDCgefrmRBm5hID7dVBjXBgW6+fHcqPPRds9y8cpoQmBLQDZSQGopCfu07M5yuXw2h3PHj/FhS1pLY3MxHKPUkNdu5vFpbwbl2P/jRqCfkOvJFn3PyyPPY6pesuDBCUOTQvtFgsteuq/QDxSKghLVMQw/u1T7PgHJM9EpNv/j/urPg1vu0qyQGl3WX4WBenFYusRBV83bD4VaIlFpxka4BmAayDDyMrG0TUmmX9vHRx1jus0Ql5xMd5zr/8tQ1GSoC9mKPMhdtw5CG5/Sdjd+D4mZTm/t1piBKjTuf6y1YiV6DjP4cHQMNJPthUea4Ip5sXfhCZeeoPcog6KJnvgpaKYNXFt4xdneqawDku4ra2jukOqjWe9lKJ+6TfgghEjTt50ruhsWRBNA732HoBV0H4CSn/SPiXrgesBeLCvGsQ8NeNXmDjenk3PAXBWIf8DjvseZv1/+Jc+Y+WOnuDN/opBc2QE9IuJ8zPn3ZVVcgiusVEe9+j3QqBcoTE5OxSLPsQHXAAjbUz1n/XxKw0E88WLBJBuJUYH4HAO8naGcAdvGhsfVN7PZDmNmOhEq0kRcvl4BNwBVxV76hpO6U15R8Ul1maOwBjIeuAG0tB3atlUaQ7xs5kLpi8/7c6u5SKCmLaU6cZ5qKBbO8iEfCvTOnD7PpnYuIffCHmgATZl2mL3jXjtMPWB1LDP/KjVIdwqsBYsra+jw50RAm89hCsFhNhbWo68qFX9ag8PP5cOoevY8HLle2FLI3lIdopFf8Sutl8Rj0uw1SjP22hqF0v9nBdUYkv0JHRIudzt+5yp+NWEphabpamTCmFfsBD9tKRncO2GJ9tPwK6aclhYwKrVwUKPpZl46LpKbrat+fBUPKM7m9ZCGH/ZcVJzp/VkMSiwAhLQjcCLf98U9Qkep4hF9oZyNX1va7LTuKPL1S7GRvcKIkxkTXZXgSXOpyfXMFrrzXLiBo/BGU21YTMlRLGtMXqef3rYE9c9ai+m20TADtgN93cbFAXU0p3vozFc0F39bgIWFEIAM/15DzQsAhFq/UqEdheW/4XWl84cHZcVnasbT15DFueQC4FjH+q9v48C3/tmh/Sgr7NflEOFhYjxnu01ugAO+enPxlyuO15G3m5v9cFMFfXph7nEhPYlpqfv2SXoAtVNlr9F7IWmiBdePzR4uT/x8B/ld5Gxbw+e3/+YYz+KQfgE7/wpa+DqqRKI7rHTAoVpfrVyuqzu+Luqz9+zYUU3YIrpWFYJcXrl3GsvulIQ/ITwqtXI9SX64ir1gONlc38QSDw/V9CiAn1jvPs5NliIot0giatRlEvdgfq7Om9rkOmt/py+t+ZflQODXN4VOPE3MmJtBhLZG4PGCYw0YzkqkNIjqF3lCCJPFTf5cuJ2sIZphNMuFQmVift/IdreMwsxJlxEF0QHMWbdV65oUtbMeKAysYMQw9ot5pzG/fYIvRTBUDeZtak/nsRaMtOF8rjLYrKoWS0m++UbD/lMr5G7k7nIB7YTS0s0u0sTzSwy47ZGSLiv5nqY/sn7y1oKTSLOO+uTu/kU6MQMEaYDR64EjVMkhDNb+cO6nsp9k7JHlp2WN3wR3IFH2HtKCFe4iqvbNucvOb0PbBshRfMndrN3f0HMvfYX6SAzkG+yxYzUNJq5+g6q0mvTHAayvtq0Sv5K9TOl7r+cjlnxcWgbCgSG+l/9hOR5wBa5r1B40dmYSbNO5yc1WOOwDl6IlAJU0vDYcKmMjyCbHzjfo2cjTjUH/0sLDW9y5zvC4o5pCxdSHDXAmwVlVIxhb79xnHWZLtSQoxAzUtCKEvS9LIEjwfgIvUepGTFfRM8riNwtY6LNrQFnY9q9il2zmh1eXniMCWUQjCmicKaoSyuuhAvLOhsDpjKD75SnOyObCH64uJ0Oe+Fu5vm5GW+4M9dvtFFCTbtohIU/hGZV/IA1eyfbB6vV4tzxL/ga6aAuhRYasPOSUxIPO8PpT4GG5uB3Eo0YcWY4etwsQJrUp+NJ8mGQ9cF7+Pe+52m9Et1hZh5v9j3GtV+URexA7jGuDSTdL4CuUWCgsH3sRiq2xQkfYtJEkJbp/8Vms2t8EXvjWNEH5K+EcLd6Lk3iBq7rbrnY4114wE1CHct5fILWvvj8oWdiHdHqexq1a3F9LZo3Ya2SepHM2oP4161TJ6elIW/wVmYFqDDhKCuSf1KdehPRcMJ8O1V+CAsDquQWE6tRS4n0nuYPE/KKEWYsKsmh7rBjmJH47WBGgAG8x/RGpP8g0o4G+kBzPoj953rHTz2hgBv/RqslsgvM8KTEhu8RWcofrFSHE265FMjMcjtNPcJrkiT7k0j5DtcdmPEjkmAalrKbSDlSRv6F2vV6eyPoHf4Q+hjxV2EiQ42NXjBc0RNt5nKEKLdaHsysPekUhlwhD9lifHTsgg0T95XT1feu3vszYQh+9Ke/5qwK2sWVS2t4hXZbSpjbv37KHvMLYdeb1mUIXJLDwitAU6khooVV0aQMyDFh7e/LhUdnJObZQvciXnhjpK0EsjqTQPsD0Ozz2uEB3KMJYYKZNJpSHEdM7hWUJER86ulon9MR0oCz8kMPQ4d4pY2JmzLHBOHrP+qVYg/LbOuIFBBljwp/FEjRC1MT05YRn2i2qI7K8h7iqwNKGbBxgdfZb57E9Sz5ILDqmeh7fLtPYDp3jhBf+KlRKnRrRKAkQgOIcHqu5fqAW7RlFCmT906Q79D6jjsJ+iwzMgcMdTWDcpIFFiCLsW7Mu4vcdnIdA+6lf2AKF7iiImr09MBSG6+l0z8LPkNfHNbw9b0A+FZ0cnpOwwOOh6my7pp1N9TeDfX4WHZtDKxSCz4ABJRuJBO3bZ/4us2cmTC+dzSMn08ZEIqkHRKFiP3y7+rsWCTOfIrx4oK+cmkt+4ulMa+72UuwdVMilJ9ZPq77puVSN5Frla1wmA08ytOhhjV2sabyoAhTqaYdx80uSZRBKYRRZSWzY+JlNURFHADlcZnusq5F6JayvontdVEZwDJ8c9mFLglQjSMvkNDhHwmA8NoNOxN2RF4tYe+ksEhE5bUgWg/xaNkYbnq8HHxPk0h5NIeh4htBJPnIKual/n6MI4W+0/swUzQJXi6tIVYP2S2Ggb52qxYpmcLp8BA=="/>
  <p:tag name="MEKKOXMLTAG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1h9D1Z5GDtPW+wuCTrU5cbsTyeRnoM7v2+KYfNB8pPDHY3/N/nQDLg73FVUjs5JX80ZEMdZ5aXYVE2SrM7ljDixtoKhF4R5tzsuuZUVsHAcuNRg/S6dWV3/DsdPNt0wsSzx5+btAwE1f6R6FQ/Jl2dB3wwdlgH4xZ9qIGhNmoO9NxvfQ0A++rrVltUHy5so8SRD+ORZkdpXSsmGGIG9OmShgqvoYjnbExqaQVBTuYYt/kn3nyJzDm/4DWRmF7l3GSelCoMWygFWAi02v8kYrK9cKXkvNX3//4nHhroDXL5UESKcn0BJGvsZggPvLGgg2HcM6X34dvzhgkxxXqNziLPE3/Fd6MxWYsLVYw/SJwbG/cgtR0djVNSq1WNsi3IGGgmy29d5R3f8G2FHPZPqhBrrfCcwWCTh61H53C/OS3s88wFCpTKxA1/jzFMt0iK0bDo4Dv0H4c+OSSXf9eaq9og6MyrxO7CsDvV7UCxvYsosZpqk30FyrRO0/1LHiS5l3Wzl61bSLoPVMk+vdMGEwxnNwtkNe85p195mD4E491AwcmdbM05moZYEVDoyp4lGYhBD7ZiRRusf3sZ0pjubf/DB9rAiy4bUb0A1Lyjd00Pk2TslSfw5TT/DVCXFVOwJwxL953eb01tzQhYPFh5CkpYaZgDWwY6gq6Ct1pX8VJb0HNqE0hsn3BtNlaq9sa3e7Lgd3vqvvlMdI3jG5SyHjWgQes9xbiHalmwNiO8+JSgs/impxL9ygSagx+8jp+q6lvF5rsN85q6stkvGDOAkH2dwqyFgNwGaaTU8azTRKVoLpoduIWWGNDpUUYQRPEBcz4mVVGnQ+y5s17JX2WvTne2a9WtP56zV/BVKqbkM5p8hXtj5zGu0kD1B60++2ivt9vPnWaj38f8PBCWaSzoVRAN5mTBTYxsxJPcui5wDm7PAcpHaagwm29KQO7JJC572U5udr6lIrd/XJ34m9UBSTeMR6SeVqA7vB8Wn4Ql1Drxwl7YnzW4jlN4tK8300dfprvG/one0y982anTP5Du5gCqqUItNV84vnpwP8rdJKReCpcod5qR/P/7QBWOu+4vuaNzW1k4wq952baWxlkHc395UZiqMm3w4RFZs74S8oehWflDbCpTpTbgV66Ptxwk2XhGeofH+zu/QoEqI8ftafbNU3182EMi0hzw6ccstrYS5u1HBGXYu+c2P8UDAw/u7afonh3tT5kV5PAYanSe/LFzUPRqFk38eu9P8d+3ox+dB4ORRHCOlW7B9mMV8908J0Oj9vX1CTYQ7FlUansWRfXp85SQmUayWjJxbfadFtk0af/S+X8u8rMMN4LX5mNSWUu74HbJKgaRI4aHDN5GQMMqE0ZrkwcDbPtTwt9EnSWV4QTcGSFD5GZw3jCZ/9PN5llmq32IAn8uMK4M27ipb6pD8vrRwYLTtr0dCebqdKjmOAVuTO+XYDWcDhUJFXWt7kyn07Y210XfWlVMP41lke7nMtOl1+qluTQwldqrY6ty9i+nzoVuW+GruK75LQJL2GVadGkHVvxixFkkRJ333eFdDvMt9LV5+y5NMwFDX9W3Q21paIBzRdpspLa35u/E7/ZQR/S6v+Ji1z1Uf3dJHUe+XheN6dOv06kGymC7jRoYqUKFfBH7qiSGaYJJz2KP4xYOqSZRSXjxrs31HYP2B8EB7008GSzesZn0qgFhnSyAT+f0W6KYaLeAdPV6tBvqEAwUOGd0oaj3sceRYjG6/oqw7up8LAs3evPafNtaUg3Ao67ZnLetj5ysetFTAUDqhgS+mJrnWXNiLZbgDZCWTQVm4n1bUDFzGOYnlpejjc7mGTmjGtRjdu5+m+NKFvyWMfdANuDyAkTiuFRxQOqLJGrIipvzmwwZKUPUdT8FiBsWGa+M9rQ59IXYWzQaELZcuR7WkIEFc6oAb3zKdY42cTeUwFG57cGSPzlJVjsfxIxsqxi4lguD7oDAk6bH2kefPiOjJGwVqez6fDR/QisjHBCPPMDzICHTJTGoHbtozlTHrWaFIa9Zsfzqlb1HtReumroJHOTZ3IfudGNsMHXuplilTFfEIuRsR+9GN3xfy8zh4hnyaaqY9Vwzs99q5YBJ4C9x66wQQg8bcz8YFyoBshHH06JxUuczgjgofHMzVRpJ+ytKuZ+0A6fbGgjIdsRxYGOEEenfRtST7pEFj7sOiot3Av4cm3m+cYCydv6sWQQVnsy/O2OoX9P+mXcXV7POZOcpUqkGnJ0AFkuhaoXIMAnJst2seNha3VSVrZvBfWyJcup+Q9bVfDEHQSMIY7dVuMwdUExVEOLVtt8AUyBXy93Wr8YGlVf2yd/AgvSNZQVgiP5QdHyD1n9FjrpeVBi3Iui3wg+vGt92mDdmmX7bTBviptuMIUqb+fYrAs5HkJTVpAd6ZfNMd/MFq7uD3rEPF71CM/DudYQG8lrxpNJkNrTQDUg7+pwY/wTcQaMx1GjBm+U7G7I9dwOZme9Q8yey/g1/NsjFm2orYUgCndN0TfO6ktO8iGldz7hzyewi69TATTBGJj7+sexzetc0rIgaKrWhk0J+iCsFIvpRiJDJVZ1PnSYYL4xmLg1mTJ+7cm4D1TMH/nhpB51EnJFRaU7O4YwlvpgwU3nAoavdxY0LZtQLRfOiHOgwXzJfDDW6k3jCrE8CWxIkanOJ/gh9D7qDb+3uqDuA1+MdeGc+r1hwEoTWMs41wgUsVfeyjRNIT4rC53RrxfW0qzR9ppBSa8y8mOcGNujacv2M2F63Zg0YgjM7hctKrjPFgOM/iqUthsBl67NjmCT882jyQMxATheZh/KAipavhyWs08bIdLZXWNXwarcuuJlxOPO6h5hWypZuRyF0JkwTP69INgEXiUnQdSPDOuRlltxNWelAxCLVxsMeVhP3GzXTSQ3q6Fd5cDMim/XUpyMF87/2ZMFqj3jFavNmgjIeDjKIp5rYsU5ueWh6jpMDTXL3jpl9CdC24RXVXW7D8hGLsOYkTq+F5J8zdPm9bIcutiLnAHP8Lka/yyTGZ0DZs14XmY0LX0fo+K07Ib7MPfx3lwcecZ/bbVVOUZgVwBtZWk5r5YrbuIq8PAtQPVabt5T8BKyGock1/E/IE6T4L3OBJbi23mlivk2NLlmOwuUfMzTu8i3tcNb62UL5mGTu9/PxH1LfxSEdlNplCayrIY0/3BME3tXL0ul475qty0Mnbj9RkV9QZPyFS7j/jbpbTMPmOGL96b8AtX1B0XoiLXOkqCX3wtE08kARobp2CBa8u1h8eWkxotmXLx2wpUo+Zm36PzT5wgXaFVYGt5RcXcJbwQZm+wS/JYvCdnBA7O4O8NCQfXKrGBi/5KBDNtw8AWZ9vT/+x9u6j4hwttxzLX8Yj5/FdWxf9M9pjg+gnMzG5u8UtMpkRDHglCO2vGhT9JGNE3GsjN+ZaBd6s7ZcoW3udfoyyoQNYvf3FTO8fY9AwxeckzjinfJrhurpOiU5Y5yMhduQMy5F0QdrK4fFG69eM0zmLdk3y9SxQ3uInXpIOdMNVOJZ71BRGmNxz64OV8nl3CSUUOuyYF2BQXmf5CalX7wjAQffIqnS3N5xfinfU+4/YOSZalFO7gDGEU4oLIJECVrqq/mvX69cMLPfwrrJdWnYM/TK/J2FDc332h6K76RjleTkRnn0NdO5kb3aCK/GO8Ds9gu5+109ix8dl96EsVtwoudbfk9L03DMUGjI7Z3Ny2qrsu0pYVslSrEzfkyDFaJTpvtL7ANuF0SUAvJGfLcbxwXD21osNFWA/mCTPPxPwJz7I2S2ddoN+Shm2nm61LeoQQ26oQpZRNtTdzn6DoO7Hn4VHQlJNn8RhjN8gfNVjrFh6PvaGns1giUlM4Y04cVyMWkv8YhnKqrYfD+FVnQSerLR89a04A6ByzJCR5cG1cMaTcgaXgetIVk1pTPvyeVxWRLxtMUDTerArvvHwnyhrr/hsWGcS+CV439gpithVOdpdp/CgcOWg+ELbDwNszdAUG92DNy04fQyEpkdJ9FbsjCkV+EABFoRhX7wXWz8a7b/d/jYYX0s2sT+MgYXIOzXuumaIlJEX7HDIxq4HO7bOHlyxxHWlewHkaJrpfeRMyNui7n2Emt70w7SwxbRfWmGksCRIR63McMpZK7WjysQ7DWDryKKHXbsaKDUOwkMXLhYm95wof91zfiCxHyRo9k5VguZmBso7mt1zXdeLktqMtIh1Gm5AhqgJVMnrbFQf8mpQEukdmKqNEfsyAhW7XqtG9axFueWavgpBEPUCsLWt9YtxPIV0lifrt4lUx2+KnzZrxox13Cdo5gmDO/jz0UyTnJI7yatFEDlLLzDkvPiC9FFaY10J4H2UvJ5uiX+We9vaO51D0/ZgiLjppZdav0AqsK3EuA6/RGCqqBdEWXpEe+SFmNFRrA3MzGHNbCO6zMC4fZJgiMEz+3mPq7cw0Bjqs+bhQWHI23aim94xS1msS+KYh8BxWHV7N2paATqKBL03Yi5VP/4SgbvVwabK9e2mdOn4iC1gVPSNWPmW077HpiJ2qEiDaWkgr1s6IIayUkskHV4O+n1w4fozVR2f3uYvYDITNto9VSZGYQBLh/WcMBQd/OOmjnDg+aHQDe9rwuRSt2YKhap/AYOF11O82wA1RBYRwXXxNK1f1aLs5O3gDJKcPQH35lgm5+3e1xTtEnrQ9L0qOmP99nime+MUP1OUxA4EJfiQYzcACjXDcmpv7MLG1T55DqjzbzXFS53BIZDbPZyq7jahQIbdCPq++PnYGUOrxeVz77ztP4JyqfAzS5TvWygq3UxBAWA6AP1dDMzMr4hQY1tb+WwbgwF5kLrO4c0hIOYbJ+ac27zd5DCyMTrrwaQhpmkYGDknxdEYKe0eMBmtwihi26p6gvplu1BGoa+yUF0dZRRbOzYDLF8BxZujsteX/O3iWQVi54Nnh+p6puSHHFGGcGZOrjCyP7F3rEbxjwCDfE8asJhzm1zDnAeCLTIRjFrvaEhgr/areVW3I97MLDmJteXCRR+9aRT0tGrbJBnU9NAkczLx2tieLmwwyPt8F5V72v9E7kZtLkH94nx6arrNvjIA8PDtvkr8CF6Sx8HUop5XCAZDm3G+pTEsdaTFXXOzcLwMjxwv0hRNrCWeeUmdWo4lNIzPgWFrj8Y1S5rMZGd1cnJNfOM2FW7BwD3OpDvpOIb3dNWtRa66z5aJZg+Mj1w8OS3U29zKJmERfk3/FuXFaafZpiqOguWPInUd9PlSMEBCY8r1Hx70yK4dpNJye5L/MoRh9kCKGKWVA93WFjdYAO1f1vL/2RRgyc36VG03slYSeaUrqfqlKB7vtQNr20Kx/s3wWUpB2WkgI4usdk4dcWTy3gHXUgSqZ70UV/WiZizB7rghQCOD0pTj6AYxAQPwV4O7FMViYntwZmwKbD0ZHWXK1ImfFalfCZ0lK/m5/ehnbU/ZpBdULdU20Xkl4TRMNgC15YClscGZ3Ge0v+NTQNXXxI65rdt0KTCThLXvXzrKQHoC0+raJFwtPkxIOPT7q+00psKllFXtOguGGG9JQ4Va8nWEvP/KONxqfzvPYpddMLHczXgv6Iv+j/37nYXhaQmpwGRVv9JHx1h8RBMTmi6oYq1AGQZZeqTBsWGD+FfXuyxIPvlLBpyl3RlxLvUh6gqVGEpALREUydF8FjHNV69/JdMo73AcmsSXRJ2JWXp7cPO/ZiWHDJGQ37S6BtEEOqgVxRN2KgzxeLWO9dxy0p553DDvL3vHuHlJgJmnuYmIqFVHSvFoRLfsU22FZOOPFGLHCbNqkaA2n3XQEMhstzIdxDniVOnTcez7sBrEzv4ZNCRx/oDpPtmwn19qS2ekihZ2LQ81o83LP7gdlWcF0CL2uvCU59Bv4p45SX93B+3MNUWYsXhcaYeZ9wVZDTSj7fF+zHPyZt6WVNkPTUQqt7DWomiSZlZxTDIu4wOvM0CprKYBGjfXYQskGALAToTB+P6pkS8sfqi1EC2GHKSA9Xh5wivfFaoSaDaj2BJRaniYQ2ZptC/XAoDxqgtttw0TbUSgHQBaPXbEpQxuDVHtNtQTzX031GEWrp0XTKluIzODZ8pdhV7Ih7w/wAzzAqOhsJQqt0W1Qoldny5athQQgKP3MCXqitnEFvCnsNz/7I1LB87+uorCuT/+RXbOpvNddinw40SK5dY2e1WyXoREb++HHmJwHZItmcwYvCLraRW6VzOBX/JH/IwVRSbIh7/wa7pAXW4brj95x5IGksx1NTkpVyOiS18jOePoHBnpIRM5hZK1MwfjQuba2DQa19T1KmdIAhr8coR4/DGqih708RXoZCZcpjiWLFEaoZ+LeqNwTctMK8cdvUT8/iVwYSkKWGQ+LppL9mqv9Tij5xsldoLCULfEczW8yKUCcdUtEOEPMxhWiEGPaaFtO6S5OeSmyN9RkV2j3+LBOD4dsQjw0TNrx+xmDj736aqb8sPoCq5NWltahXVVHqGwUHMwLVKLO3v6t3bAGjOFFgKQFEkLep5FKmjrIKIaNkBkbdFZ6HNLhMDMkOZYLiXu2qi5Mq7Ba8cCuI+F5+U3ZGFEs7C525KQ6ljwOG4tgoe3UsCXHTvAsUopON4er5ev0EC9sSjVnksYcf0HlxBfBTRhJhpLujEGB7jnetKTQYNSTC5Xcv6ekOUUd61/ms2relVgkvK1c4MFBGIpbOkjGTFNsPRMary3GYUep6ZllhUQMyHt6I6zcMNsKSYUCQfz9NFGzESq8iFI9ie9zH+ofVj2uiSZRpLkd5X8V5LpNJGUBWVEa+VWMgO/RX58fha23ETYLAwE/yJ6muapdqk8ao6sP1g5nWldmquz1/bvVoVlSEfPrgZotGw4iBxiVL655ZMskVtBfYlcmbtIEl5/vZtuQA+08WKhdkp9bDZAdLpMA8hb7BmE0z7HNhbKBnM+7PymrSLO8fW/OWGwfv8x5vA9Y96LBlZX1TlNYySee3uuLuAip2tV7Ro3V1NOy5YTG3UZkED9diOtRlgkUG1n/ZjEyG4iNjV/p22A4U/SmQH2ikfpp7L5KfSbErls7qSPxR+r7l7R1TYJrznJMoAAodeHighA9skLRPES5SYElJRxCMJlJfUdNw00rkkEXsJjj1C6aVfItQNCeExqs8/vwLP8ifCRHqiRKxsyvlmIwRSiv46Nx/lxF6/XmIkFILIFUXqGZvgaEWo4t8fUNqN2JbaX2xxR7Vun1CXE8fx96Wmf8ThZv0YF97dbWXF78liwIYBzEREbrTVsROy/0whwbBqYb/+Y7VGdNIdiISx6SmBCS8KkbiUIsMJsNrMa/1j6frjRNb/4X5TZosrxwgiA8CiUNBCHknduvzWbqBWUGNznGkT9bWJa4ToelTc73VNi1CfvtYDvW1cnfXBKjJEaARSrNuDF6+1q6TFlVKTipyrkMAdAIMrAEamVX6XXBwhCi2i6TIneS5I+iUMOiUpcTrmWufjFG/ZqVcGUAE9dBBjkeKOa3Jf7LfFMLdG+87g9odDmtx+hwX9WDYZ+YWK5lNsX+7m7Zm1xEyj/15Jgi8mcbDHw+g+qvuLFcGLu/xfQIP2CdL+qUuDAqA6nc5i5vxQ0a0uStVDhLDiQmm8vUAnW3Q+xP3pVHbqsWkNsR/GM6IaFZaak3OE3XSqvgxMyykR4z3jAWdjtrrUYMdLgkz/VmlJ2o/TRJggJaDv3iaxdcjw7F0EIxfTh2vTEAiv8DSX3/OvQ1NHbiAbZCkLaHXi2ESLU/9RkAd43kDhodJyZbZ8BM+Or+LIdf0LZOx/UxTOmvbBRiCDKIqgswymmuJwV59QDyCxTpIbFWXN5Evy8Y3s7hbq4tOXV0qJ5b2Vzc/BrswZclx7uVDt4zXpD1bCBtViCHjM8hLdyWu9pyONGpM+XLRGxCzuAd5ooxYEP2feC0rm9qnWm5XkTUVLeiX64KWGWahPqL1nDdHXe0Z/egitg8NxsPwv5rmFD9HwcWnkUyfcj0BLFkMfxE0tmIRZMWoq10NsQSHXhM+EkH3YwqNzA0qNlfSWVA8acGtey07CozU0fK8R2RYij5KXXr+OkDQ+2UdyYpF90JG66wFy67DAzhwGx01cZGGld3lSDSk9uAvtOxlnFxk1+KyPcCOlmDG4sFIQZ9QFPddHfnyJTBLdhu4Q8uGN8QM1jigJcWvJ3Yz+Nu/KRqwQu2+QK6o/J2ZRcndoTJC1GDoWVAnq1sR2xbHNil+iaOuWVd5XdjRue05KFs/MEvJLlnQsRh3X6gopPjh/mMd54oRM+qHjTKuUW5eZqL7zzJejqT/WRuFwqp1QPKQHY9U2j61bDGbV86lUMFWYDbICPzi2Z5EI1pkObharbYUqZ0mf+P11dcBSwQ76oYY+q3VJ3X+UyYoEcA7CQ9SXW9JGHsYroQKo5XBawvfKKi1V4WkYb1xXv+SJ9kpAHCDxabm8BsXhtCNTZ7L/7ufLhUD+SqeY9SPBeN8xHjmMo5je7GxDZD/EN8z9PR0y3XbBDDMiQaiIsm8fBbCEieeiBQUP+2dLrj51DMnAe2j4sr3nfSRbWmWgLRx7jokkEXjM6inRppcvLflHbGEQeY015vuJTkE6AogytEWu8Vn7/uzbI9Xg4EiLDa2mldXWlyvVaf2R0uPol6ggozwQCrVxsa4wEy0agqF2Lb5dmsSByaPRHewg9ZizHjb1yK0naxNApSOndDZa6W0IXlzqSci27NGn/gljEZVzf4iToJkz9xKoE+njJueArxHR53QKyw9sYWSvlSO4cnslodOvuox+o9Yk8OUyKdhIRTV97EJuhNA9jANAptM64T1GdZyyU/4g1BBTw7LT96pRLl61YJVbvYEdITypTlyTsgvQ1aqiPbE0h+BRWnLR1vNLUQoNQJYf7U/E1ddVtzch6aynj+aBV6ioGDKkRhUJgeND6G1MM70WB8yXJTtuH90Z6RRz9Ne/Zc0kWk0wdHweDIsujyTA2z+7ZJS8WXGONV3RvMQSunnQoTZnvZ1m/0PzVc02M8l3vYxdUgcObiyFcr4+BxWkpAoVOMuXeSUvXAr7ZwOtPcuPKd0QW+NPWEvo/HaAF98J3+012465Gug+1VZRoran15SLcITEwIvrQIaN+Bq5Ql+KETOPL9aLrFC/P6SeXXmXiexB03kr07YXNSFL8634c5wAXfydFc1txkqh1sJNVkEv+RrD9oTpZTJfHX1Wye2oV9I9G1EpgokfHSIz6h3z+QsdYDxEfTfGXsry5cPnG92DVYXpZozeKO80r98lt9bx+6DOLDd4jVMZ/JEkKPnH53DgMBXvS1jRV3FH0X5TRYFVFEUKGoYZ5nF/PkQdn4ng1ALHIBF3S/4RmL8AZl7Qe2ToXhWi+kWq7helqaS7/MY1oZurjKhz2hqY92UKpElbpxL8EKLU81/+lEdrEBZjK5Gw405l0FNQJOAXDrlAdk6uqCdGnhptLzNsSqNEmpNOK6YmGNpSM+z8VUKV32221oETKRgQyHhbs1DbJg+PY0SV7XphLzrKG83188uGYaouQ8YXkFv2UClsPHPzhV90VKMd/mIUU6rkzmfbaLYPpQm3sFNhXSGllK9cOe4QkBNrjM/QdvG/mSNneaS4fYi5vlQGsYRPIKycpRyivUE8AFh4zzaoTSQ2C+RkArXvu1ZVMDHPWHZzsmtttZvxOIuTUynvSGGUASrfDdoxmilFEY5NMB5eCJReAOhtd75ivLFXR4V+VG4qCzwThXDlf1Ilz5brk/HH2bydCKMQ31nLNeyScO0zEHjeQnOL9WzIbOF+QLYXe/krZRntH5S8SWD9NN+Gwo0KvDPBgLAdIvkovmXpvd8/4WLicDgHRzyBmWdGESD/r5UIf7S1mZjjPNOsVDLnJAhRW6r2uCb2sQ4NnHQBIwrjuT7jqp3sfnLD4pb2SFJ38Sb0DDxI7ZJNzYqYxc86qPwem3jl6KkJVh5KrHby5gMr7kK/OQqbpFnCmK3a4oHS90MHwL5uPFYAwT5FCiP2VpIq8j/Ra+rLcW2NdFfyX9e5aWPvquGvQL5pIjo9O4jQHeVJsGKAIvKlSohI+RRIK+maHSFFjN8eCqq0EECzUVHY8Ts0HVOEITz9Nz26VH0pBCTgQkKgShaoOb3osplc1PYd+hoyUr5QyVrN0SB0I6dY2My6IbtvG3kDnrTFNDmZ7CykOy3bJsa68thOjeEV9PxH+k4G/ulKE5lKlBn2vfA1tOjcMsTYkUwGhb7ZdBS/bf+iW7b9dF29Lv8rtWdmB45C1t0SLwRzvLuEli3kTxKmFS2BPh9NjpF06NweSDJpllrTNGax/MhEWMokSxgHPINj5Fab/00PfC7BbJkxkl2EGHIZtVLHhWooGy1t32WjR5FYLg/22h+cFNkVdHeWdkZ/moMNCRhHJ6rMEO5auzxwajBTkX8K3+D3fA9ju7BeIT1t5GpUEtVqpGyt6dy4/Hllec0fzNJZvKt4KqzSzQAuuRNJcj1+Eu6wqjQMfWAa1Vae4wsRj1lSacpgM2BPoiRddcHo6k8jjxYNyD2hKN39fIiL82+UAB9svRggzmyY1muMfPpcwa/O8xUxaUB44YcxO9SJDAgnY5qoun4StBw3UW7/V+erkHGDywEsKasj+njA3un/a+HvSN1hjWYIXedvLy79QsMxTl0klRZe6V42cG/9C+0+7b6cMfeTHCUT42mI7fhBgpw/vU7j6U128yKhrRXDXUpNmGG1vRDkHs4632mPoqaSo9np48KdYD5AjPxbrtWvO9Z34q7qQqpztn+kOMQBMRzdzFeFeWDhDVCgCMV03thtd4qmWoZRlizFNIEfKrR34yW9mQ1shf4p08jLW5ttZeGwz5a9Djmq5ba8tEVNHLqHbOfqcdbpZgu1VbG7SMlp7+rToVT2hnAEMjwUY1AFGXSg3HJWT7KSVjQUNNEG0UGItAXfL0NAvDimz4sWSxF8jCJfHruS6U0PoNtWL/Jr34AOHLl76eBDSodsEakFofMI3VEwsO07IMg09sC415D1QJReeFehJUB8R/2MB5wb86UoHhZoaVkf+9DMCtSCfygkqnj7tv06WjygdhHgWEAGGnnzDVRjTNV4txuALDGMyMm+LMAZj+p5jscXDd1zbM+HVBuAoYchbaJU07hjauJDmpH+JDH7t2DAmmqgs+oSD3ha9xi/q8zprIKJVV6JMShcoTXaMCLxJbk1o3DZkfYSN9v0mQd4cDkDuA9cp3awYpctpse6BsGKXkxSZPlJZUiD0iMY9RwB3GtujW/impjoMYFdVkt5A9xX9xKX2f+5fzk78csXhTsqdSxclodMjalEmgm/BeAS5wHrMuZaCj8/m+MfjHuxye1D7QhaHy4ykyK2cFgja/+WsWEEZ763ShNiPd5T2l9/4F3Hxs9RkPukklAntCcZWd+gzLPVdIhl+YFyOPaWA89uAhaUwxaIOsafk0VoOI8CHskNpoOahPXI3SR82M/olZyfJQ95PWecQbt/tFyMu/A5qJ3dhkBvDqjrcAblkdvosgV3mxiGqme64SO095FTAtiPz8YdcDm9LLbkQaxqGGC0Itq7rqF1WFQXvW1uRiPFW7VguqyIoG9AbTpDXhcU+VaNCRjwThQLJG1qoXTOTzX/RjnslWhRcS8FAucGUCQWoqHYuUzq89kGRwWjCcryoFqk97bG3o0IXjVi3Tux3HLgVcWbz70BrnQNN8NsQk3CwZNoeD7Dj+m5ysRRWvDa3/myYb/RKBWxjpuumjG1ydmANWqIwnf4QljYKP1+XpqNnhh/MFhetCWI4K6V8XrxOM2rN02BLOZ8xkOafM/Q9UNX79ztRgxjkb7F9B5tpoOCLjX6WeLq8m00GraR10m20/yGr9ixFU3ivJOOlxahRjJuRVyBZ0BFbq8oNXfrMWdH8/Ngw26WerEeJfWQ4/szGYoqEh3F7rUrtkhm2QJ1tWJtUXTtsJG7LTWI5+ibwWGqdqGv39WRPTe1cOYRLbEpYsdtohMhpJ9LyYUNQPqzmeFV3e0W/jH8+MBC63OJmgOVTbzvuJ5rl1oKgoaqhfij1iRFG35fh07OcpO+29Fb5ZRyb2ecUf7lR2yhvWqdfuSjod+Tb3LMdD6mBlaLYjAAXPub0xST3KZkB5D454o/FwIPDTbSz4veUrG2jSl2cmL89hq008hte6QlgUdKW5bGCQKw2D3BhCm5DkYcRQcInqoGBgixewqQCpHpRQhK47er61hiZve2Gdg9/R/ffDgidMWmAfxXalFdjgG0eXuzWFa2YdFNoXRRyXhamlvuRMF8rmsXnY5CFp/2pzEWIlEw4FJ0c5VOXj6UxKB0MNlji6xhIsn1tvlUeYs/B+nVNoQysxCdBN/MLY7FGEdKNWrmdWYQlyNQwJ5dCnO3hAiSdoOj+tSpC+pgddyUbSZ5dKQcOjmn5AWpk5cxVxgTb+SVdi5pKm6RnQ1OZVW3L8h3ccSgFSfg0YU8gQ9ro2tgpewY+m0+diEikaUgmeMu3pzAhody2lkKmdokCRwUPht0W/TTNhlg3WdMBZO/y1RywMs2+6dUxUg7xoRydHenfZadjd2/btoe3alubfDvS+Yl4Cii3zi2bSqPe8krvDiH+ZszikagT0IsLqovItWkGjH2X3zzRWbGhRazQN505CYUddJSOMSUTrLHg1IjgFlGdTr8ltbYivFGfihLXTHTcBVUi+YuO9+PGsP4TwrW8plGvv7yqQy+TJWl5Ev+kzxEDRJ8UcQLBWJ97ijOmUsit+HR9S++FsVR716keu/HINAm3pPMYcOfYHY0DCrYbcMuHGvx6B9AavVwob3mgkkP8FexzybB9Wf8xd9FzDWagOF9V0s6XKIGRzWSSOnT8YQiBW6cD8FREy+aDbnJyIKsZuIQOYzMln15RJmk76GIRBRaFG19+kbexVPT9diTF/UpHwoSpUf+XChLLQX3Nq/8fR/+jfAoZzvsRwDjmPkr8G44bEV6fWSPqLmMs2/u0d2yO95H/+21kJYOdcj4E9dRi3CAHK1xzslF0VpVMD+azl4YdmXZ7OJtFtnjeIkAGQkI2ocQ4TLM4XJq4wKNaRhgD3aNg9RjbmjAPH/X5ucQMbQaaXwUfvthG8LASbpl6xh8+JVhg/U6/1IjZ7g89evhWyEeMGMDF3xa/jWXGh/iVMMsITIAFybTIJnFrfzXKJisksDQ3NolNpNXbtlpqIXZXT+yraEsm/0YwgF4+JInp9DvqsOlB6n1GemByM9wio8plUWUew6dSy49MzjdhGzA1eZ+haGPAEkkLeP9ewQgbIe5Ta1XyJBuNaaTgyuPVtkjQ3jNcw0yLA+GjLht7F5SEXEpqJmabXuv8qrcMDwj5JlvwCsF14ZDUxZQKBMyh8HEk4rpPfX5Exh0zYuYVwqAwKv8GjOEiTD8Grh+pAn7tkYW15fHhSjjWyUH669lBUedA3jnhJmeTVV/TWWU0bA2f0OzWkg4S0k0/W9LcxBEXlxJSpbwwT0O0b0UpLvuqHDpsKmUzstsmRgVzopTyJpno365yxi2L/A9p73tS7iIzPC0NkAsDzcD/ZoLrMKu5Onhi9U5OLTj+06AFWW+IHkS2jAdkDysGWGKRBWFR0L0RLerkMzfGUqUsv/NqwrHMxh3Qy0Gs5T9UZ6fIv/XgqWBe7q4yqeDv4o8OpIMF29ZwtXKwMDhKDtMPuGNcvkINctg4tNXpyQQaups/X5POR4EX1oAedO0/hRATYzQh1UWXOdmbIwIfGlpcmgcFrRH8y1m0nzCX/uQHrvRpR8hNg5pECFGHaGUKnaIE+HONfU7VpjkfTvIJrq0Kk9GeBgX6uJy60pZ8vExfUVKUO9baw8zRkYt6zhV8RRwk5G0LFv5NNEPLHiGkvcb6s82LE0JM/Ae68HVLmR+0F59ebbq3S6CX4+Se6helOVwVTLq/6QwHF+UIMrNEzXX5cQSpK0qMNPTj/LffyilWQTASGPq8v5WyC+Oa5xNx50MQK3kmybet1JC1XzbrB7s+oqVXVLy5qvs0xJ3QqNm+zJXY6NUzEjGeCs8EPWCcIzcnIfbdHVDx0EaNf7Xwr8dDrkH0rKPfnwafTlZEJxATeUWFlRaJEjUgvMtriRa+kKUI060TnxmuoqBdim7eXKbHWwlWmQdWuvqZb0a1Ts5rMADKNkIt/3Fr2L2n5SzR1uk2fDykFXGP5gVBHnruwLUlyJjAnBAsx2lIZ+eFKzvA7C91LAbGcVedC2gm6aysXgzhCZU42ySZhHGcwRrTuw4vTlOW+V8cBA4yZqhhY9BTQSSR3mU+LHAFQwvGoWkjHy8VvoHkXPS7JgCuWXUWzy/0K3Vo3aEWdoCfArr3PYdCdGzgSR5rcaG2mfgcBh864SrxgPS7lqvqlJ8jtYuHSjlDLxESqvUjeuKDaVx3FOlQ/uGeh+mMhNQKkazgG38faQhPUj31ZtKRuAZPbsx5d33xdSmqJLgMCO8oyLbUWcsPoRtB2XiaKNTJgM//pt/0DeV2yLhwDctPsq7cO3XKJa5A/jqD+Br0m35/ciYRdJyH9F9dJQXpauozVz42ptPElAYPNaa3wP7ohMXcxlLHOno8gnIHPKFeZemocR8YWFioeD7Q+GQVUsTIvOD5wyVel1fE6y6ZXh3hpgdvKmZDksIriHn9fCf8HD4HnTFcj8ggTsrqRRiBsNdIZyvDveKuN7t51rrqg9qx/BlaX0uxZ9EQQb9LO5hwqmgD53K2upJiXnCGADfaxLfu76ZjNf1hAJqHY0kpquc7q/FDjljd4ZhZO5V4Ls0psAd+ZFugkPHnZlaq9zDvdv7n/Kr2JmmZBGIlU3duENcs34BuYTQqtpmeuiNvtrQbZU7/YDrZvqzS1I07Jd6mc8eGk65o+qesoY8RHwJYr5zxbmfUQtYHcZdsj6ueFEl1fnyiiX9HsZaSchT2/pM8OR+jIQt2grkguiwhnFEv9zmbwgkf44f+st+5eDCzFtJULUI+Uby+cnJvM9IZ7CpohlITL6yd6Ycx00IdpnjyeA0LF4EYAUuwF2akdrWJe4PrxvafzCVnBVTNAOWqKyKnvSi9L9UZp5TePoRUeVoMHVGHfKQwU4tXKkEHfmu9io/Y9Eph+wYYqShsCIGFsYgAFDQ4PnOp+uNIkEhJb4fKbTaes1tq49qcdbdt/0o/va8ajE7BcgGwouXPftn8kzkAzqA0i8z1jKLhVhMt0sBzfsDLym7Sf7OsEApknRa5qbL39tRWfLrikdw384DQ6n2cW0ChQ4tF2O53AjkSZrWGBW2jpxtDaKzpjEGJW9VhEY6LPZO5VgN3xb3G5qQEIM5zi0Rk7DU/xLszSOPobKU+25oHsnJhAfTqZMA1MDXw51/kKOzvbc+to81Yu06yA1nd0J00iM4x0MJkjJSq5rrd0yz7UaYSHObK/72tHmgFw3hpkd93l4Jes1/4gmZ6NjijcFjuukrh/QrkS87FmABDLnpQTUE0AKo2Z8Ip17odgQqotmvdI024kADyDN/QCtyHdeZ1Wyb+rJFcYMj5UQ24oAAQA5DK9tUOLyxC4Vm5+L2tBwop+Fa2gCSmeLFaH7kJLlsWHYEHTOQs7jDmAj5XVhZmCKtsGpHGwggYudRYkeqZ6DMODDrUV7N6HaXNSUvXcGv3hbM8Ibek3cCDmV8roncn+++lCCmpVqFdiKcIK+yoBM1BWS9yjmwvornHb5kkuKsozeD8Y9JjLGbFUkS2Vk6XiPH793brTNbVCPgpK0tp3ppchzLEx3r3/2yXJLp+qlTBZtWoc4nok7TSz9H1ExHvy2M0PEdo/rCrOV2kwo+RN0HvPEz6oxpknzYFbbFZw8SnapkZq9BkzHRzgOOdeDcKoAlyKl29XQGkQFaz8hhlGKsWFXwekhgLE0NGGQl1NGbrnreFniti0y+l4mojI4fOxa/BqnzeFpWk/Q+qfZK33E2Coorcig/DTdX0zVorgrH7VTqOqHisqOjr+aqlBMJAjnsWQZJod088zvazLZjoei2aWovEKweGMpfYrQh/+7eG4SQNtKbaKC2sp3GPMGXG6jvHAEUGLRELsOm4Rv0+CiTkoQV0d2CAPpn6krvto2YRE3tWP/Ufp8pKhrR+VJwAnQE3fF1HaK4JEo6fgVc2j0DrPvgGFjgMxFyg0Vew9h5/GDfVvb3qtPzQqDjBXkqBGbhCnAfCvhpnV5o28GviV1JsUqF9ovbOJx+yL5/O5c9HzuecOt2Bofy4XZm/G+AxAXQ7+1/F3CZJuB+clCVB1a3MZpNLxcSxBGQJzDV5SyzETBb2vOGzvM9sUL/iN9/kxu9O7jj2tUkT9hKF/RWU4986PIOLYStqgW5kwVef50NqaA9lWBf3EgeMhDXxkL5Yo8Rn+EiD0H1LfJGwW5gIQpdAPWUMaeKTjwVhhJ0ml3WpGSRlqmFba+H01H2HgcaMZg0pn76JFmbaGSpyTHWoSAQ7rBHqW4l4NadxpVkHE0/MfnGqbc7sSC+UjGfw9jGfYBIcdEBvBKuiZR1e0PHzhxUU0ndjcZv0jTh+woOh9PB1aUgiDDq016BoyWmt4HKk+pivqj9Gojlmyu5uychHtk5CYqefJsF/kRyhDwu3ZJ74lccYEy4k7AJHo+AfvU2AimVvBlVRXkPkX9LiLgvPEPFaFU+fuBh4URnaEwmna/uWJbGBNfWzQqKvFO1ZrAhSU+j9d9MROiYbzq2UDPKsSVxbVbacwZur26El/vr/W7fGWBl/LoeJzwDA7X+2QUO7EcptTvsVlwiALivcoxPfEEGeC8qq53J8ftEIg4BTq6qtuy6zpuc+9DF3LuoaEfbELbBfUKNWHRU6ISoNGn0xOl+9QdQNiHbWRl9q7izcaBxrHL/GrH3UAFggizpSJCHR5YHCYm6eEBiZHCoi5cbjCaJddzA/JRXMSJBufUG2Qf7QdVuyNHlKVdJ6zIsN7w+Reh6cqsKxZskUMgzztgyk5Ncg5uHIYxHRUXWMCpGy172BYaDTZg5gmpQTcyt4cbry252iaAGmhRWiPfBtaKFn0hnCA7vCcSzVZ64K3eJ6tyhG2Lc8VhP6PbNyMsG09vYd8CAmivQ6U1Iv5BsFYZKP15Y0AI8KQCbD64RBqJE15ohCsxZ7CKgs8LOHwxd3LcIDom4VtV51e0tdaYQBv/xwooVlaB+P7OgJyUqejSPFPOAYGQK2fRDqLbZdTJLBkGaUxNzMsuTupgkAGUNQlUay2UnACHzipOdf6mA7e2+ycjyNz4rM2BiOnZhT7ze2NoQikoh82nQdXL2i7Je3glv952Iv2Oiarh2Mhaf5HmTrhN/COcs23Jm9O41nNBowRqcKIk43clzArbMCDIUddjZkHA2DHGv+uKL+A97+5K+esltc2WEiewbFr5s6hfh2jPVztXOAiC1vdT2xe3upL0yhswgLS4EPxFK5iRZY0kHg0QBGqz2ui82QeaQ5OfACFM4GJWL9xYFlf00aqswkaRd51vYbbtcgxQuv8zz2oGsWfmlWEnLcBo/MbjaJdNmUVmjIRjE21FsLLPKwgWzG4lDhthzCcHCGcpoFwKECWZWqpBEAjNDlQzCiecWu59InVSc2joCbwQ/TB0pxm4YRFcr76+11cjeNs6o7vP3EivI3FdN7e9DNUUPvnEkaaQzT4RXE7pd2zA05+GxCUS2XzusF7pmnWiCgiEhz79sNDVZEZeILG7TcD7Dv98ccSw8xmUfZ/Dm4weIpn3ld6a8x4OO9fQIE8ZW031iUoDdkfB1rlFnc0zkSk+AfHm2PG7Erpx+dH3Fd8mT0GZ9NqVLM44gxMYWdIaPr2tkIHniJ1/tgFNum5H6fa33cemoSyL5HvVwN5QqM4YilDDYKjgrE/F2HsRDlwOlyvW+2xdDCHj0Ex/1iuY9NNK+kWhIY9ljvKN1XrQoNdMptnpWyv6Hbn5m2MDjc7VnMLfKYUXZEXq4FrjChY6vss9k71Tv0mDiowBxNNl0kOVOIBuQ3ytHdrB5AUlgFLGAJlwEdJA+qIEWzRV3ntPKj4KYTrgsukEIeYVpdQOzWlLbcJziBSshSHbVxQVxuoV08SQ1GJUjmKU7a+nAkg3fII5sgsKRK7vqD8+XMqrJDaAHhc0QpvVbdxxFHAcsXzQDd6kPSXW7W9KgOuCE9NLlUPdYLijDR9vW11XPZaM75wcCZb5ofDepxfAhPuMaxf82hQHm5Yw39aP5igSObYOzXwpsjfOHPyZFwRcLDfrlQRc9d0gBuHmelGiqJ3Ar52/umhmxYiC3WkNpche9m/l4DsHTbE3SwmXcDGawcGDnApLmjW+RDw4IoCjCgs68uhbg+ef12iOKiT2fMQKmaVe7YEvNQhM/0eWi8ccgv4TZB/H6IapTPCtK1IY2C0LFMDzH0MDAVgWMk8+U0v/7Vc/AFOXGpulCygzAtjfHWfd/I6m+OyGP9h2K0S+2xJkOwwaXMxyOKyXuq2EtGCZktapjctyItAd0Vvsmi1KxtNNslCNcq2gLRob2qxkCcs63prkcwsHWROLL4dexqAc8AqsusD8I6YR14/Zct4I4+jwNzNtURJI5QCj4kULdstTlAFo4B1/Y5abfHSBW6Za3Z7vO9t9j+Ljnnv4zPtnXQDVcnq71nGdq/haxusIWXbOx6Jyhk/HpAzyA3vzoniACa1LvWoTCol9vjs0C5SVy9wLdtrlOUfjiETPKmbpINOXwGOxI6jVznFUtRPETLeUWr7CsV2klCvdIumsNeir/+qIT+4hHocs2KdNlHkRyD2ZIWCejhbBU20Et/shtebSNeaIxUp/xqnGgb02seRCBzVnwz+usGxo3yyY40amV1GTJ8OSxJqJX4klr2zlkQQKyDSF0d/OiEmlfN2Et6d0nFVdIHmy7GgOeJeg52sa4pyfbqrKrPIFGWguR1uKuTT3v3stDEJxWnvkpjV/9/F/67yQvy66T87NXKt4mEA557SX51Ah+mdDN0gjZDAZFOBqXEMRI1pSLwtzrvWpoGt05tmZpoH758osxPKhdsNkDFntwkFRZM4zSXBJaZpmx/tFvX9xMbMEFHqbSFKHsMMfmNVHUv3zMq1UM5jkgfEUcSygMTCvrGFi2tIuUI4xWB11hASqjr12MTYA7qDN6l2JjNSh4TVP4ZPng/Lzo5lS7AeSr9A0vNz9ExouVtvIfZjBYo+2ylPt/g0/Zfq7EOsAEEFJdXjwqtzs6Llx8IAxprUk3zl074cz1m8wa+NoFu2Zmh5Vy03Sx+2/dVX+Oar4rSd7vKo6Qc9wNcIpDAlKbyEmRfJuLYJQ1vSVg0OmeA/LZCOoyP6pU+p7CoKvZI3ErCtXdunZPRVypvI7ip90yi19N7b4+A1NDByq+e1H00f1hkvM6P7PJEsp2wshiAA+mXygtessF5sLz4zTKc2R2DAqWUx/bn/ZDRMoYLTcYMlNuPf20KyAOpd8eAvOM58ZBOeHkm1sPWHCxAGCauMI6LwpJOuXmoYB9T0/26Kw83e0qXSFNlN2hjuuMvS3iX6I8xIRyzrlPSiQsRdw2Cny+m3MY3kh1Ljhp7HKK3V8DzLqb/PMubg9hi95X+HhXUXeZ4ZJdix1RgMzB4s6P1zpGNKYJRmKNJ7k2DxthWv5wy9lV7EkYpHXNb1H1uD817Db6fq1wLJE2VuSDk18fQWf9NWqDopS6jedSMZYyMLsn7uUhamZ+P6W1FqpyzOD5oxIrBuqviYUk/APHxJ4ZmrD7NouaMdOLGArFtlQPKeXJ7qBPDTgpx8dNVleI0iwBf8iAY7xI+5J+4PA0B0m0VRTEJQCJaWHJp41HsrW0PhK5XC0/cAUluJX4SYiqnFd6DOvLelmGN76qfvBzuQ027Fb2UiALRamvAzNJ45rw6icI99Pd9lylrLTP1TnL2PYW8Bz3s6rt87ui3gF5KeFzlkC9Jejy1Bq1Wvv9r3Q57Y8kbWObQjOjg9YiBcNHM98kNf6hLPG6riifty3mfH2jdLhOpNc88r8DrcHK5K1lR/zlXPEEdUXZ+xKvkrI5TVH/nzxxr8K+uApHuSS5egfNhQNKK5eFWKVc50QzpxTAEWFdvw985/UCCfkEy1Rq4wtNZy+Zkzu49k2aPTYRh1ea5U/eCUUUkIFYtYzdEj28eI9h80FtvsJwBOWv6bRdYB5jCEL8Ev9HOpG1W832v9ylVp6y4JGv4lWfCtqZcl4fpFM+ZzHaY/KDdOuxXnZcdV0j13xWIevbEcgZpsvDEf2wP1VS0BfiQtyoW6i1jrEGBLbKq/0f8QMuZu5TCkHhoY/YFYuRmj4Co6QrThBAfFtAYkUAjMCMYy+ZoBCTFY5xKIuYxp/kmXUM1uU+T0yPGFKQiL680bEil2ow2QduPCFWtPZFjRKWEpSBjTC8ZFc6m+tSamU8pTqKpyQWPP49G+u5UVlSbEnGZOyv0bJa8Nt8Zg36ezgQnABLNgDf2QLtSS6eN0iNyTpStTpRJp4VKdRMwmOn7Br+8oGxcCk27kwOks//BnVSx2GxxbomqrMlKakvyjKFs18vaJ+/q5nCUUmWQLsCUJvsR9Hrihu7pI8TdEa+3+xvY+B98oAaWDn4JZFPUpyzwnmYgQ9BK2vnpKd23KRobU4MrmYSW3XJTpnZiXZIgMoB/0wQuOzOHYmENZAZCyAlnYDAJ34UKvSGT/ishEjfLtRAF3ofgKoIs0lzdi9YOtAXywKFcSkBiG665JTrwF+gPVaxUXTMpbek0H/VZE+CgAz58D9B6tBq84+fUfHPG+9ym7GorEGBa/JMYHdsk5ttZo4baVoinjEqp8riIirYL65CyIludRqaFs9mWg23RPHDIuH8qjShdMf8QYRvpbWRN5IHRsiePFDulPCUqXoA7GvMLZQJithifbiiQSEge0Eiag7YrgFdjsEMPIfo6gRe2TfNUpbhgt7/w2hWssh0mN/8ATBlzoeTPR4KbY2RNLDKZRMrOpt93cZb/TEsxhwPzSpr41KAbiP0m0XFMvP0W0DQIv4rh4SD9GIAlGz/TDIKPKOIWuWrJqJo+gK2JayboQ9W8n9aj/hYBCvzqvx0XPvlELkCSlEErLVmRPQoSNYUJ8T0F4Qj2fUfMOTVmKla58/aRva54fq+EnQ0IJLZJohMTvoQLQJvmbDiWXJgJKIf8bFpyaWy/IHyZ+F7D62X5KCkXKpFJ9MZbhldfnWwwGb85gjtialJHn2RpQn6IVMDLZbulLScZ9zjLKAo7QNzUElenMaI6O25/Z+ShGN8J9gn/4hVCHz6TmWK1Bj0BjA3fvQS3GA5Aj9mMJolpkvSYxJBeWaBs2Qlcx6ZpNCsMq5nDpGhbCw7jFAokxTDckOS2DOI1mszESsGqAmglN+aYQxTumObKbfV7D6k83N4HJgsStsz9/Zyc2DfRpXd9M3HJD201ujyPPN44GjkZ4vKEVX8DHJthRHrKD+80tDE4qsY3hAaf6/Ehp+akpo7UolSoutOAj071LFKkxwjwsmEg2QHJZZ/4vIBvykMdjJ9icEp/a7EZjfrhj/9pwWLF13EUwBtPZUbgZAK4Eqvq2qtkimAesMGF+fjvGpqdIwAfrwOORJnVgMjKyGeE/64pkKunRz1UYjS9OEwxKmMKhDnyoYGxYSiE/ZGT+vEDCkBZ+rhps7w2rn7P+/igcdOo83jSEkgKexwz98hRoU5sXPB1C2VZSd08MmRapVn9F8CDNvSYruNEEPGnD6KpQ9BzWkAQCJQWNE7wdNe5gVVVoRgRKL3qdSmbBp5BHQzyaKQFj8IHAp9ifwFGufCYZesGC8I0eHxUbMTUua0git6PNT/L8528/DHX9fSucXFgX3MPgKNg7q1phWVqgF4SPVX7lFW0nBY9CAsSI6W0Moj4drTzaSmTnbVPqZ9T89z4Zkxt1q9W3q1PAOZiuG2ErZM2ieGi1DrKPgSOMBQUZdjf6M8tEuA0Ru10gGDxKdgPcQxk44BtI5d7O+Ru02MRPDIqLHKg0cbw5m/pmTTaKNZVAj9Seyllo6CHLdOwL/B3aX/vd4jc5V/q+p3SSk0+R6gjQPK2EWXNTpbqKFrghml32s0q+wFviEggqgtE81N70Pd9SYaQ4xJuhaAOFOa0FV6DKqw+YYyyhoDZSrTBtHzKrmGFuuGE3pxtm41zPjpeHpld/cmSiT40yHyHrcvKiJXVBT8/VsOeNFTlZv1VqTtK1TkHyX8iCYn6hhRddOEz29c/NPOyYeVeDz+ayyIYXaaK42iNgxeE6t7DCI+yvu4rMGGkvhI8C0PLMLAQwWqYCSq8kh62fryGwoCPTs/zbyKXAAfw4dwd2sUOSX/2EETJQZSCe3YOWC5lsra/0dVic0+p8Z3PUbXoi/cysfJq2TQ7fAnywcASv1t1h06JdelOSbRfByR/dyanFJUZl+kPckdsfVJ5OVHVWTfuL7fWem59+eEv1gyiruNg8kUnfs1QNDmbz9VO4RchWY/T4GxVnQWwFuRR6K+bfJc9YjRt0prtZm5ZQsEEkzGUCRcNZoQU60nFMaUH32EROx0gWDC/WEwEoi80qy/67KZMaOp+96cbo9seLBrtSFTDwHZgoK1GEeg7fkkN4Jg4HuDgmrgdeAwnTb0DhpBVuBoO8Iz0ZO48eU5bXpBc+Y+UaX1bVxrL/V+xCcHLOh8sSpYFF4aqrxwkFwEYG3Opt0LkAA6FM0dRkwa0efPcH3q3MVfAwjBwhs0G+xWfCsTjWuCEVrDTtWCPz1dRJ1LZva4wix19JwFrMO7WdfCzZDWa1cqPVG1sEjj88c9PjioowebuyJCzJ9N/SgXZK9EepkTp3pND/4mhLsBsvru4qNnYQXOzKQitE8ltNqxlk1IMKFI3LzutZMOyVNyqmdhZ9ei1OUuWvzMTeRQu543oGepvnGutmPaa91wzG/J5+Ij1eTu+K/Rj3oMMsFq2Twto66PDzSnOU1/Ag2L+K+hDSEDijc5B/mglQU4HXRY0n/N6FjwN9KEl/6dNSRU1t7cQ+Vmom5TPOh6zrMedE+bYWxmSevY0k1ZlixGDucf0w2XptDkTIFwg1PazuWqglfgzZYJLvuIa0TtNUjn5ltQQS8IxC1VRMX65GWI9o43Gcb5k0SglcNahj0V6rlGGStgN4SWhinsAn8i1FswtUMb9RTdOXaKcq3+2q9W/9C5L9YlP3usYeUHw6CsKhPyhEAcjCoC4WmKemoD9HjmV66MGu3kpNAzv7pMXOwgUqhBaZAHT73yeLigpOgzAH+jmR6LVs2wPd4KuPNcQYmzP7/K3hnxMzYR5b0TWMV8H3kApWr70dyqmeRBmI4texGXVAaS5zt0WD/xMEm+j3VAL/qgZhM6CKxO6M/8dHL/99rHZRG3orq67DLfeo9npE3WmwxomADNvqg0liuaMi2S9IPD12FpJo+fp+rxtqLtVlxRjnSDy19hwP8JgTMJQH7xAwUPqdr4wh2EuiHR9r7eZupluIWplhVU260nhe1zUZKqCuTTcGwywRncIWdl9FAvmFedwrqsIDewlTdWwLQCTLo0jvk+8pd/eOgaS8mS/gkXsFjcRN3/dRS+RSjD1IrLoLUp1F7qK4Vqg+0ikXD0UuNrDndscz2IvHHGqSMkhli6yoBLcTT1NE00ZMPww+CdgSDVTuxy3Wq9PlkTLitc9DBu9XwWBx4ny6g8hD7R9HAvhqObHj/ww82HI8pLN9f795FelA+hZAFrZK5Uo41jWnYHzEFp8fw4cAr0ZPyPbuHJcGUk+IR7DdFd2DKwCaap0IBi5TKqAv+k5i2EqKKNRTGjiAgLDph93Tx/Ciett4Corarci663/MOtLbS2lqQHJokIb2Jxf+ds38H6xaZllpy57ugJY9MJuA+/sbYxNPgtbizf0DmndCyRnbvk6WHUooOMMKyvhYv0GMlGUJQJMBcOLsP0/+his0K8nONpQvx+0KIq1/9NY6ZgVxLW+1BQB5kK+Z3yfN9UnZ012fYWVBjX5z4HwEXl6OVU1anNpVlDHoNnFRcjNdZQOHFJhZxLi0j79PE0Oe1MFzZc8EAizfBG6aHMAiDjDAVt5JBNyRqL3aCzIl0IdmBW4EkV6DfJMUam+dtmj8HBq5jjBXAdvSZshsRob4WSx64NjAr/9YOZPzJ9hRtnqshxKVtT6Bon6dc1OHyt4aI3SoSt7LrtpM+IcZXTrdoqWZW+KN2blZgKGZn8GyP4ADMdDDxUktQpitroiMhpzaIabHPD5HdZVBUqpKd6TVmgYOLhlb+BOj/PEXjemDO+h0qzFwCHjCN6x0uU1111n3eb7W4Ho5/4x3ytfA61cBCZgFQWWht/f8WmHRe1PN6xvSqZfJY2DhV1QS3txrOnZyOKsATILrm+BbTSXFuPOnOToA2TrWs66RX12fVHuXC47x8UPmL+c30TK+GR+xT1ETX2y+MiSq8jEu0bQorTtPq5thhvzZPJt7AZ9BnokYhEDGbaBGtBP+16xie0xne4uUTi7MPARfhGfh2mGNH7BZL3BQUesLVa2qWo5FUcGvW7d++mdc83MfznaDoPxKu+Rl+fHz0hJZciMQHxI6TNwq0u4aoF/7x0BZkh3AU3jY23G9rV3AjCd7YHS+BCGd8uCJgMopgYSHTEJA2C5pQWzViwt4BpcTZu1ECs3CCpGPVUTAdZ5yB3VV3loj6ftS2bCwxbrENNtD6QFu7q5UHi5EiSSIKUfgor5UjJsLdO9GXEFY+4iyzDtKnecgqtEl7Wqt4OUXbSZtL2S+MBB0nr6ETj6e+P4nFWVnPK0g9OLqYMNieWbPmS/oIXr++agXOJnIWU4SpfswRyra6rQrUBL+DCSNDgzUy7/vDI4dgyf2E1VTi/PwHKewn392fbs0Edqg9gvXgQ6EZ6AlwsALVSWOI5DQ3TUHKaeuGFRTSW+d/QwYS2i4nItIdc8cGwLPZuC6r+RprMh7o/DIM3AkKu7NMzR3LN7Rn80rJKfAEoj6U9Q++HztciugcjiLoG3E9E+686+5L739sDZ+oEuOC9SasMUB0lgPeP1yHQXAMMmkJz9ytwXFOen1IvV36h+4XuD3KuDWhFFssSluReiFeBJGOJe8DIzfzFdyr8dt2ejXjNIoD+xGMYybqkI5NmqW5MOGGYNreLE+VLIAjuDdOfmAaYOq9/L3dR1BbnxW2evMPvXB05FithA34Dw8Uc7A0rIdtqWc0vICtYBRDJOo+pb0KRA1324uRPFB9i+CY+HPQ0R5ZygNksZck61nY091Q+0r245qVj46lYEes/xDsldzwuvYJvmROEu++j9VFdiRASf6GE+dzPreDNhaoPsuor06JfmiQ81Aas5Rn1XbHaCaTLLkcisc6BBaUd9RW7z0LSgSMvSmWbs/iOzNZgKUjsp9F6lK7s0mNXM1pQqhRXHn0v9cKiAXgQNi5VUs0Bc0LgGA9Ue8eethyQmYFok/rALZGH4Ar+CkoM1ektD78Vll1ZPb9nSIUXEsFaFouBhak/MFg9QpWKPp3gAUSesD0+2RyRrPg3hXZjo4OQCkUwezrH+VezfKU7eRSw7Q7voTgULI/gd+Xvkhf7pN5Kr1mxZmwvodjYls4xUXSMgI2KWT2hDztrwHb4wZ0T94WfIH9q+GRDZg6/pKjMBp/FdGECkqHvZlSPERH44UYJE3p02y+Rx8+0t7iB0I9HhXWgyk3/5hLETWai6b813TMuFJD6xAOTW/FqjxefZExb1UzKKtR2NduQBYOZNcGA64PBn75oQ1AUBCXzDbTXxM27xPzaINj86ctFObnKEAbVgndMT7STbn8iYKyTg0v6xwb6mJbYRwWhlrKf8+UuE162D4AjFdiDTn0T3wFD8VUoNpgbkxPTnvFOoY94OUCF4NC9BdUJNYXX8JtUVzCh0RBMJiPYTppSP+4chF8j2GYetFRtKB3LMkn0iGEU9y0KwC7klubaaBhDAHV765giTmNBBXbei6sW0CdOHr9A1VmtZam++av9UPQ2NaDyjbJNzBnoJ7x7jwmLcPbtd2b65YcafhhmIqdpnZmhYMHJZCfz3be6olKEgl1HNKSRDvBR3dgfkwIw+DtHnpqWIkc5JttqTU7ymW8UVNC8dGccbqbO1cURN89gu5VrGKAvZd4/sbH+FHLXZh5/HwWVMg4goxzHEP6vo8uIBwlvqVbIw1mRxjqVyqN8FfKml3dG1aGYpq/IN8a0QoBWm7dt12GK2Zz+0XyTpSMFIZHLrYnKR+ChGtfKxH06Ov9AGLXQeQWgma7/nLak39Hl/5ykvd9J3KPNHVcGbGpZE+D2DE+QQ9azTt9dneAy8HG3TKQ/qO7Edu47jxDg6CGxPH2TplZauqUYuU9D5NWANyamcJbN0LXbZw7EWyVrPLsJ8xI9uI7j/OPg25aabrbiwZXrLTR/zL33KkInUb/3rds+0AKPCGgwCe4SVtu5rKiB8FNDpQ2Q6Q4iuMmuRdSECXsB/fzF9/1Gzk8ZdLJGY1hUrZ692xaPx3kqvhVhOzXJ9TbjYmPFta/y5wsiPoltLGRdTNgh/+jEYnyQuXi0jLHccB98/KIPkGe3em/6EMXqUj4lvNBSzK2MRAcBMEwLZspyW7vfSuZoh1BsIKU+M49+/0HvBjgol6lYJiYYNn/Ftu1PK2W/S2r7Z4jTO3KOsmhIsKbL4uUrGAIaGK4n5JdtM8v4pMKrar0F1iUAMjdIcnOjUvSq/+Tm+ZokCXC29msfAjE3mdyzjT1vbFrO0dQJejGcgby/24RrNZdfG+YDuKkeRX55gGTqyM+CzbCuwUKr2Gx+f3MJ0/YWn9P8H1psSkUvEJ5ANw6mlvmajuPvx6MLebYGu4oF5vTaYvgWNE+0ebY4MiIleV5WollQzWgTZYabPrHb23T2mgTXTFOogxU+q+lWxIQqUFpR7ZycFlKsbZ9BpCpzkK4Cf4amKGMZXENi9xWbZQgUbt84DTJuNkDSkGzo3FXVHyVmZ/1pI7a9drordQWFOX/CB3GWettsOXS4nMK1lmU6eU5j1ZDZ4DXTY33+uzH7l9j3xrFnQanIe24MazxX2QzIL/jzKbrBYOPihXjHOgKUKeNh2ZhWiNsyEtkcCoAl8MNW8M4q9385XdqqDRnqnOE6WpflqT3mynEgbS0xCh6yPZeDDyYHwfX38VE8nhuwbLV1OdO5NJs4K0ZqV8ZlSotEC/ZFP1E4QowapY8RmMars15wNsh5StBE3hYI+gZemFcMWaU8DvVQi+elNjh/YwNBSY4BA38ps334jVpz4uLBnZ/lrygD4DrM1oVXSut67n1dR8sQu5QZjEl/tEvuUhO8RkKAi4+Nlj5lDx79HA/UwkduNRMaoSGRgaClHfqv3IXG4Ws6EwgdY8vNZva3/ncTx4KtpcPxwjVrjSnA+weq8bcs3MgiRK0jF/MVqrWxEddy1QmlkNyF9Qb6MsV+YhidMkVU8BZ12eoxbukXEoYzjgJgPwhwj2p0r8TGrJgJ7Ztoj/tJ5K3vae+VXjuzOIfquNIyix5JOaDUdDpHdx39uRuFOZ9dMFK64hSgO7+MENwlu/xcDmQf3Dk+pJdI6tHX0d9jWkdoRb4w5F/Ws+VHXkH33iwOmUlykXH5avTHM3pEI+KI1HYYm2r1r57caFZ1wDEgpS4N3KAfbReZA8SJjaPW7gvex9U6wwO333Txvn2FNYQ7OAS1vPXivlo0ppzwxZ8nTD4c1FJYV+0GI/BtPp/HjWNlYROsZVr9wsnbUX73fibIQakx2MNqzgvcuJee/0i9dYCBrrUqKtC+soHKJud+MTdtzkTVUrizGB+vqyCUHi96jL3awc9q+u+q9XSqctnstkHaStYbfxo0RIBkFBODpZk2QIclJYB6c0gHqt0hWj0Zh/LlsBi5pFkTSSI2w6iI2Fp1jAWSQL1LOpi7xjKZNMzKTL1ZATsnyp2yLJeDg6RMAEhMFrAOISXrW+ZPup6tQadQ94WI95rCG43qFKQ8tFi6QkY8hB3rFZ3cqI+lIPjANSCysSDU5sRCKMKoqU9m25/vCtMIiH5yBbucohmDy8UPc414RjuicxIpXEJ43sNT06i0VSkj7wcQYQ1LTHHZWmKMC2Sa4unfBc9ozAd8jkSrknmR8qg3gvSrh1Yo/7TlnEGgFnz75mBPopZq2rDNtwmAVu0OcD61pLVTidjloZ8zqnOcmjp1ldIV3GKtSqZXFw861AKb8HAzQnShzmj6vKPKGVEtQcMQpsLq8BGHUtOt8q2NqPrkI6dsT81wIkXrpEYsWy8ifTCID3IBaYQgAtRNsedZtB2SZFY5qX8C2oz0CAzGVBV1Wg7bBVVAe0S1HwMivwSCqn4LJHWZITUZJpY7GUDnZ5v3i/6F+FPFx60zmk/9P+oaVQchw2r6jwmU5kUOSs06c/cqzQlfAHqW7VsyabQCQS8uFIK26ple61wYSqQ70ixwSzV2hUo8X3RuBkDnRxiMLCF/zAiL+GP2JLiNub24+UaBcLE+BKHaQJadlMhhgJSb2iEu+/qdrE4Y9emHQ14jnJB5SEZQW1aSTTdMNCiHg2NfRadktsvE3/+cVh5H1F6Byxn758CGLipkmvEOzl78t4uEmVgTPGxGm2Lr04n3ZkY4oq4XQYU/0Z+QHg5LeYE3hmIWCgjI/IAxQG8VRwuh9w/wA/r+e/CHAq+d4/+zpG3bBViN+MMfc1lC0UmClNsI4xQJpN8PajLsJ2JTxBKJ0ltugX/GC0/DhdeO+9WXgns43zbG8IqfMPq3OuyD0mXRY346kxhSUMj2RsSV0YpFd9toyFKjOX4GeTJO1QkSSgqnxtZCFtdXOm+jRteLrgwSqgltfQa2i6rd6cQ641badeZseQ/Azd1MhNSdjpqEtobmJzKqJq/7frArDmgGiTofgGM/QTzA3BTaq9KHMMcTrEbuNxWpxMJQErZbkNsqENoNC4d74fcNs6iwUqdYdpRGYo74zEoN9X5XNjsDou04bk2bKkHvOrhytSFJk4taDQVZfNf0sziIgQa1dyGbiYYcLTrDNuJcGTjv3PKPhR2N+lOyS6NfCy8C81rkKfL6wgvddOE8VC26V1pvURar+EYOqvDfbsPXMFT6ZrUapnGAA3UgOhB15EvusrlB7FroicFxY9rhunBLgy07tB+gls7e16v3T8GqlNqfIkDBMzlWYcBSeJYUepa1ATyDkZ7NPQWvK24q1UYO2DKO3JFGlPb6sKrRFOM6U0wO1LMHFw2iFUgHqRL1W2SAot7HRDVHmy0hDbZ9SPdWZtbYYZUxWqwSedf3+quBH1vsPLzOz5a+Yf7Kv5QOEVc2FJVSo68ID3M2Xsx/vjGEfwnZla2RVBhxg24mhGZCw5MCWIlAyKpTEGRmfx50s+q1fKxndNNQss9c5dkEhnw8KjLriGnytEwHviC+SCd8eZ+jD63bg+BuLvKU8cGjss/2ObKNGiuQ2anQEJGxCGtJH8SrpZCoYgnMoM6ZvJNRKJdoixGP/xF/O9J88ix+SQWQCndHKZL0ZpFRvfBzJTsLp9eqnj//4BKWZCMExcGgxF2DMCLBHQP/pY3dZRsENgwzjyCpaJenTC9iVTjYKcsREqUOrGwm5KQC+WTZqHK0EVIduK+2kAgx6bzpoJanlYqlyHiOn5KocEXYeNXRTjXR30Z65OQ6Qfb1m0kiPSg24XReabEnlTn5g1nKSe7MG76bdID2qbDwNDCmCjgd4ZTsYp45LPkbARHj0ZDXmnOj98pxoeAfPvHQ10HYFokUhum+slZgIundsbXgqPZkLs+ax+lelwf26tnrFirQwE90Iq8kTAw28UyLDPfEuQHko+nAk9XMjCbD6eTUrJvifH9FgHBQpagWtCbZoC1rYNo9qhBRYBtjJzoKrtH4QVUwCIzG6ozLA7zEg5Sa3GuHRN+PqwMYkeGy/iIr3oXzgZRHsER2DADfVmDtwXTQt+ZbhfSD7jJY+qxaRikE55Se2DWAIdpcyxYr2ePp9hX/RAOMY0dhVpvT3SxGkcdsVrGHmRw30LXlxvPpglv+lHM/RFWTb4bKuf0gAvqBmPXGYnibogVZWO7KpumNxktLb0WyZtFRXcmqxjGxI/qad2Q6SZym/bT1F+tV/cY1nZrOiL1QWDFxrLLHMf2mNyL0+PXZzrDRdgBD6cv20BbEE+YK5gG3gjmiwlBJK5idisoTOV4dTP7ax7OSTlGsLb7hWG2+sjdc7m8wtMioFeAWqgG5kR62sIDwvAp8G4nVsqBfc3wVWXs2mZ7KoLhX/jqhgdIRacL2vEOG1/yLzbFwwoxFuu7FRUXclUkB1xUEiB7cW5D4Z8VgeJ3u2wW+7LFy62Vsb/YzOpFX84S/pi/EqH/alMjBkBrjlUlDt+X/gMCXqOSRu3nS5F+32XAbFik3pbYdtkmKL0y3CqGXpx1BJRpkDhP1F08nFqyzi0livEJGBE1bDglOBUgjjaD/SXlnHD2YpxaFu1MXZ6EQbyZZNXr5UECV9EuF5lwxaFHJX6GHEw9ch0wLK0ROzA++qy5T2BDfgbgM2vihxDvIc6qJWvML5PjwhxDDB2xjSw7955EX3sMCdhk0nBw/vNmGERwvmwEGP/kLgcPwuof9dxaAhfG5erAJYyyMVo5+GicGav6G6b/Y4uOkApjqkgc6TZXpkQOq4CahWXuFthzMIThhFrDzsIBa8qzL6F8uunhGlW4dAIX5jonB2usoVT3BvFqgK0jOwaPqZuyyJXItKcfYn4SvsrnmX0bztFJIgSJJaLDtkP6rzwGhEi9Qnq8Fv8eBMm8acC00DWooT6UAhPq+SzSwTubZY87X9QF2qa5ESB06IoKXaAqlxDYtieszES8cqaLNI9CckQjvUwYbhxCS0eRUZNlOItVKPAuWzrKkBGp9/xIlKQTH9Gz6K54Y1KrjmdNY+2p04pzpu7t62mCQ+w2Ey/4o7wbjsKds+jHAAm7wngsD/iqjkAHowEW7wudzdcndZ3FESRAIXUqAnHfV415uIa56U/J90cI7fdUUbhNBsz3UlJp765u8yDp3LMs7tkySnD5MOdYtrSFyUH+wu6E8KJ7Sh/DBXp/Iqs+VWEshbCMxoPQkSPy9YaNYa+JW5FIEV1g2sqKqBOYeMmcE6pb2UQgkHw/QpguOFtrRQjtaWs4Wxh/psf6PCRY1qBLWdh11cMPQsNsqjrQcfs/aZc/NhcQys7UmyRRSL+IvnP19vaUXq06+2QYbwADGNyrAmpwLbVbhSdUx7TV/S7B01lEzMhs12+rZCtqY6hdOaLRjWGrDi8eRi8ftBxiKol1T7bJr3mEBmlQcwRSpfGVBu50YeHeniSpK478zZ3S5sxsDoxbfzSw/yMQPLDXz1S7Uobv6qQMNlg+pnGlFtWbrk0dJhiBZ9ti6MJV0PwsvIiJjMZQIRdWnOijnIhgknv4tBkUMpbZEPC531iG8sfnfNTRwvyQodRw72Rr4Ns8Ht1Z8FKKupj112OIk3ZT+IDjbSUImzcuUclyDqW7B578w5JOIqgoiWYFrdPARkb75SMottbN8CHxLuaNPvR7/sUOiNx/s022FoTkresnCkAbjg4UM/zozekti7PDq1ITVWQ8XoCVRW6SqbORcZouQDYqv5XSGlqMaIBUNOdtenX9/AO8wLb9cadTBiBbevd+Su9L7FHrJ50E2NvRjJ76jRFL7BbKvG3x6TSQTyRpkV3O31RuS9oXqAc0EKkckXJSb+6c/Nxf+qpXs0cX8k/s1f4ZEx56eGFfxri7AY7B0HMbe4jg1EFoMtvOglGdpTMz3H3xrs0YV8pX71iIbmpDIIGfpCtKdlPA+oS5xjkUN0YBA1woaa5rcvJoSJjFKFRXgRIPKh4/bgEriVSjeywfrwYUwMD0qUGdwuk5MbqmbzaAntirq18mRnZeLRWuSP2NV9BMrPYVApk80N3DNfmWcY07suXBPh/1MNRY2hBqAM6a5CUefMA4HZQfukgrCVDKncNenZfJaNwb+GnyDEXdCOTFt76RDvPyzDpEQF6WRh6OXY04XUu+iEM0NpPU4sT4Oe3N2PUbcekrHS8IvKZI+czpXYa9udgf6lx4nGbarwtGlQHoZw2n7/pozQyyIJcrV+jHWmCJOOMjhedk5HidmDgzeGgQiS8B1REJuWO8/YSjuUnXWHhyOlhKyJirIfo5yk2Y6BoXoRshIhPugdmJiOHjKszerR1goL6vwK0m7axiY4F/YbD/ksKt8I6lJkpT5twq9/uzYY0V2rZKblGJD+93ABtqZ88ByKvunxGz0mTG4EXBeGCk2rfatjS6J5xpHsIhMXjl1azSDP/JF7svEIbi2GNBVH7MA7ERfMGiXma2TXOTqZ2u+vsMKJ9Lz2dIh5gvmMBn50b80GaQFyNkXIBrABPUlAkRVoOHSrwvjj5iLO75gjQV3lRQX8PjgwrKPWKoQQUo0B15inTYv70dvc+3/1V2nzK7w10W7WxehUFrHBYAupdg8jWSmKiI+GC95IDldJRQOrJ30bby+heTrPVWqjYZClZt3x6NLS1MBthNjiL6yaO3LAnArAPm4+B8Lyg/aMBSBfh+/KQ87dRDTgXJMgu+hWMgxD6qCOmu2Hyq8YFHXZucIeCw9YS3uX0/71ANiZEQtTWxktFw3zQMcGiKe0mdnzH5j+E+mKwJ1pb4XdYwh2j74HCW7yhaRnYlwTRC6k9FKZ9t1fIgHL4/WsFmXXo3yXGhV2GgOJQHv5eRt3WsTpXb36tSOmffx+hZWykebeudDrOnMlMdvRYq7CJx0scPCvgT2AHG0/6oULxxeGpB+Byr6+ARdw9EwLsnCBna+qZ8a0VIoiNQn+ZUe5RQBLpCU2KuYjPKAUIVce7ygejFRv57tseTnTMWdi9GeZij55uoyHuwiRUEIbhAenW8NdFRtenQf0C6ZCV6vO+TJE33LOTfl9aduiEq5DxZfmHuGQ0Tcfzmh3znHRf90KqPSZ7kK1unxsEquj8cMkW0g1BowENT45cy6QjLAJBnLxxFHM/Rzks05ZztHtrgrxkWNS9p6uLgWP466yzD3EICmckx6Auo21xtiWcLYmQ+y+BObqlOI1feJESFK9KOWN4P3UpFwzxrBrNMdsWYw9xVP+K1+LkFT6tkPo6KLZ/8aUrsjKK3byWQM2gCsfJ+MUaapSIULX0H4/S7Uaf7+2401FYhHRSg3hA3tim554/ne04bPeX7do/wxPVxfl8yfULV7wvIB4fW9BAsRvKc3CdxD80pCTeS467P0XM5lwqQ3BoC17OiF7upACnxudDcSA8ZGlM+9lO19NzPOqmtjGnh6fNaOhx4xIqIy3I5vfXAsSnNig90kzmkrK8yfJ39KCsCx82HfwX9+2Xp7RzXpCZXMAQUGrQwhjJSXbyAJfYiGm0eeW42PriG8WSNn/2+P16qHPccHIk3ho3eQFX5Dh9/lsAzfC2G70m3IGEJRWIcrAv3bBUfKEmysCZlJbpP8cFE19DqkDGk9LHz5xPFu6dgnc6XBWVFdfHkIUN0XAVBaVx8T0hBeJJdbzOKlzrFbLlBPrXCxiKhPapynUMv0uCcYU2gKbsR25pU2ZUi80eopEzGpWVs3+S/tHjMo+DFzamC5BxIbbufrdXZw1qzuh/2/JZz+9pLaqimodScUNDdGjiOj2SlarRkVk8rcF9+KWL0myHNMKrD3gzCFAjpzxp5g329vyVz1JDsA0oAHx8KSboNIFx02JQUayh/W5a9lW1F40fulEh01Dfa757XRl11MmFH9sussBoceelmHI218z0pAP/y7kTCLevG66gLvLcCFJ6Xy2EIN2jVHq14dVp5AbyzXHLPp2N+CcSg2dWZk5+GyYArIOam/A5wXwyQlGA0ea2W6y6Fvh6MFi9LqaSDtnkN78iwcD4iMDFS9IrAM/AWceC6t1uGh8HDiehb5qYyAgvKthcbvjTvTbR3+B7YwGspkJet/RDy6uSNKGIL51IvkAWzeP6q+K8TxXPT/b7HnB3cZovrcABITEEuTg19CL1ZqqPwc/uzHGeCmSRYtTMpgoRasyCXvZg+dGGZH1KAG3nyphRGuyRN0NIBEk9crEBsh1MaNLl1NK5R+Gskul3j0IU+XU9N39zjNGUM+qsDOv96FvkWuqeH67LdnnAFhVmRXMeVqlFyRaZ/IT/wdRpxfpoboWlOFO/EbbKpcUiiRvkHH7lhMFgWmrL3qIVbib1G2//7F2i79rIvy1iAYoOy4UnKbZz7i75RwTmfG0yO4pqZmeydDldwzreRCq4456c1EaVwNfGAWze2l4+EKT6QbQ4IRVjgxmYvXVcEx0Uuz6cSKiAmKCSlRXJ99GSs/9sh5zbacLNkYZvpForqQFBpf2EcVZjKCeVKVJkTts8qoDmty9ebRYZ2fDnngV6R4wrAA3qaUaCwMPMV6rL2Nb1IYP1XgJ24qJS29aiz1QosIqxKPr1599ZJYaZCnnt4+W/hKiASdGwx1NLwxAPInq/rcpF30uaoVVDX+8pmstas8aQjLIKqB+ir7KeTeupx1HhcXpbzg0LaarMhgTG1XdOcID426Cz70G7o43jRAbNDBc7GMLDvTyM2W+CXLCtytJz/ao6Izh6otHjO6FQkAWhKvIV1gSLaqQyPCGpPi8N0QCNlmgviQ1cVvreEGUjdGNNTOR/0NKqdt4UuOog3NRcfk1v5F0vNTZNQbG8sWLHdbOiXuoPe8ib1jYvvdMz/GKiSWWakruEI/TI1Gt1ycdhcjxl6QCmN1BHmc+lae/Q54eK84a5dJMGd0JC+mfWpNaxCVcEokuGT/NzANRJxG+5fttfps3CForu9cGUgpn9o+Wt+OmhKDRWsuPJWL5BFyeRFOGN4bLBTQ3cEXXaIylHRBMJYkcHTe+3wnjZh+3OTVW5YcPtG7qHf2/Fmbu8Bwxn0ZrpQ3JwOYpMc3NUg1crseTCni+N/pf4CBG9saQnrkf8jEigbVnRJrvaDsm/pC7NVm2rldumWsavJ/ulEOwHMFrZtKZp8Gu3oKcIcHYWTjZEcdWDmJ28Ip1ntRQZSCqsazhBTYSO5zSGVDROQG9+YvImItCGrXmpqYRbVvy4HxpqA6SOsrVnyharEypXjL2EjR8RaxBmGIjqeagaX7nNKH3OArk35ed3HfBjniIPmtKhzsUHzV2V29oz6SGCX2hLMyTx4PI/0ufE2F0Tkke5vUFRa7Bk5YZ+KEuDbSirJh1n6+XfEX88qkeiV3TEtwrq3Zd/qxIkxcEo8LS1D2Nyil9o8okAJYmDs8XOun9km0gfq3oII5/+kaNJAMI4se4oCbpqAFZCl2JhXdwt5ZuBp/Ik0RZT+spfgcdQO7k47vUJLpLtF9Mk9Bs9fKZXKgkdsIaH+3ajQU6XLKajBCgI/UGTSjQWlPiaYtvJ0FMWwHxl4IkjMWTX6w0wGQz+u0bJfGeIY8/xhKDJxMdeUcbqnmlXzAQxbRaswEReoTSyHeyzD5FHQWNUX49oehLmu0+EiiJ+37SEbjlsYfk055Rm7rVyZjYNE7LGzwcui5IyktsdXUZZs4XwbMfh/LUR0Yqq7pQqDo9y60rlnqPq281FRQXnmei0NYB4y25RY7gY1msylQNEy5F9r6GiA2xSTyZlF+v5if65dzVQKcYmElsBYF0+EQV2G6jaleNUD/52aeoeUdAq3N+0sH9F9yKAetiMYykhvC8PygqSikw0OeJmufPco4LlhqNNVzR4eYVCr+0wxz43LFPzzrHxkmVg+Zm68FTOMTIs7FAzwkT90XK7lMf1WWBGzva/V2Rg0jJ6d1oBorylZ/ae9RqVHXzgq0cO2731nU8gDyEp7yPL5mrk8tMN14YiLMduOrCE4C97OlfT21hgUXaT+s/3RuZE/6G7s5Ag6P3y4JmjNNArh0sU4y0mtTlUqv3KxaM4L0IUEntCZZS7tk5HQ9r3/69tqw0DYg2lw8wRe7NsMeZ/moav0PydG7VqgRvBMMQDO/c9TLaIW3U0gVcZfRKmf3xTBJGE3ocetMjqK0k0K5xVkkVkzGs6fdToqkp8QSemKM3Q3HyBAdfsg+3luIcVpNamyOfQQlz6lKgG/bYUTsySy6Ehv3J32xvwOJubUgp4zDcIXYM07S0cpmlD+oXfIFZQvjBvwiJRBiraI7Bueenie85NWj1PnKbf6kVPAiHYO73nZns/Ar9KwfiJds7jyGlxO6fTILGXVvuMIp+kaYUlEg4s/rp+tav8nRyh2fDE53F//rzErQBvwxDk5AuuBbY+8V8XLy2xOCY4qEkzymUk4UOdkYoj6yujoaKGk7wsXd37c2dNSU8EHGkQY7qPE1gcEDeuwPISHj5vLZMXLL3krHvS1PytFayDvAFp/1opn2GPXBqiedt0qUKvJ6WvM+ogisPoMh0R7iyU8LYDwDt8GsnhwnR0MjkNVfCgepCFgKBBZRG15WGp80xLg96vK67Ctd68gTgg38L7olVRXvP8G6YuhqXnaVvC1Fi9kw4Y1Hmn0KDu9i8CyWSmjAqoohuROQSPWVJoGiWaR8Oh17kISdHx3GCVwqDfEZqZqQtCklGAq0rLaZgtdiOmALwzrxhvtYv/tCQXmlHQdYyxq0K/PzaqmBx1kpvA25om9h+D5sSruiwtlJCIilAzHKPbMEk7ekArrJe5/KVDqPbc3u1YWnC6XqCuWQnLIN3lVxignylynPvKpsRtj9kbfj3chvUuJFAVyJAxDSXIyABE5ydVwRoxLPo0Al+6K+A3Nijeh7MQ9+1/x7jfl5ldxTODNSs6qF3qYziHra03vobwGMyoKeT1a8UtVq+RASjTjrF2aIqkDwefnmiADpOk+YviAduXI/ps+iDM/NeknawlC6091m/u67uqvNlSw4H2+VRfXrTqzrDWGhMSfwpz2/Bzt2bMaAb9c27LSn0XTHH09kFwtqF9l6rwTUeEnyeVigqFM4U/cydu2s5DwdcuRx++X+qyJHtCgxuBMdwQ+bC4FO+973te/mGxLkG6+xfZwu2W2gZafUIJQW7tEkBhAf8jwJXKR/0bM5nsbJxBFqWCuZeUydZvw9iRi/QKpncOPZ9V1Fn873ca0FCKxyi+o4PnW8hYhGSs3ruh8tKZYYOzY1tEfxyE4dPdzM+G1VbhBAZb5/n017KnH6W+v/+7qFKmgwlv7Dv2XEqxIKdz4rgknvh8UoYf7jnHbJET7O5acZ7rd37LzlrqDd2/m9KkdE0RY29nNhbi+fXdxQfWKrpZupOOC+y26juJbVmJP5aqBYi/PrjVYaQNliv5xTsOCv4bXo5yCSTR75YzeZySxkidUhe504gicq07yGuxiwfq4QVi76ib23SHJ1oSPjhfsrzdxZwz+9n5fzO4aSBrilIDsX3EYwx4Yy8M5tgJLrlJPsiVRRlDpVBTyRNiC+3zGBErECxyHIgCYZAIK3f8v1yxG7154tIZqn/URyh5vMyGAaZyus0LM0zvENCIBEyEqdFq6AyXYmlu/TMMSJOCaGENhwTbBA9wuFms5fMgeq2YL48E33vRq1js+2fjoZPi0GJZQ28zRXhZmFHccVVnsfFl5fdaNGpYbAAQDAC6gnXgjN1kxtpGEyB8vp3IzAf3SXxW5nyr6t746/gnT/keQrc7tUkTf4g/nPImpl/t0Wcxbc/MXlvpmj6+qJdgEoKuC9Ine5ZksGYg9fcViKx3enYsHepmF/DSrDw9Bqkf4O8sGdRlm7fcy7pFoKoYDCsBJIHcMKUeYwLAnxD4ySgzO9Nec9fzjujm5N9kgB00H60dIVYQB6f/np55cVk18bObpw5YY+eGg0ITb3B4bOyZ2kFz3DZewLoflk8nMn8ro6i6wNxh0ajb2vRRemQnUWp/jRcK+RMoPo36iIa7k9IUNw7VnS6bq1JCfWFygicJGqLLhctixqAJ2bJpeoLOtnrtZ4FToS77FeXMIwl47yJKczdn6Q8BWVS4B53BjxwzDP5/AfS40poZ91Cgfv2hpI06c60TXI/recaQ/EElDfKSRNBWpcE2JJ1wPzqA9CYe2QMU/It9mPCtgaJqkI81/tyhh5Xq56I7+RWCB1yfS/ojXfXhIpnwt398Vg0IH/CZ0WPoq7BAodmpajlHMTcBQPNLY5ArbfqxXEanav23rxUjd4YQJuQjgrfRRexkfnxKLSb+gpBfKkIXmz7dKtdWWgm1vczmzRyJYC+ZLkGpWick5EnsZKerpD8gPrGMhhqxwx4YttwkK7EZuhHW/BAEV3CaXgVrFasA9VTMeg9Gih2yKLeZQL+ajXCpyLCNCzrPnSLtrs1wPS2NrRHc2/0GQK5G/Fps97gGgMVbQTh+cST01cE8gFTfIEg2jmXgWjjL3uQsT9YQl5w9pxyofESp+PW5xOFSfeXhbs9/tF/1k1I/dYgVasIz3RF2mKBuZPQGW31DXULleez9bxu5DTii+CRCIXZO5cVqmS6qsURw3BHxUhaMZ11hycUqOm9cXa9Ip31Tnh1nEykU7s0fvFjGtS9ybdkqts8m+awBcfE+B7YKst15KPpC/4mXBaE0BcaKiBuCxUPUSOBqGGXn7J27xmaFsUCPfmfXgOu+q0Me50r3DO72fx02Y5isQGDXwlfW1msV5DDeoL5x/5ptxQsGVQWmpochM6C6L4Gt9ORQ3gzyII9FvThhFrVHR19OZXf29s933NZ1Xx9liBZ+1wVqLI8LasOMeZmCCOX4UL1ConYmz3dxmRP8AhKcv3lnAAmhigXjMM4i4Q972xLLVeaqyfoZ7lQmHDofmFb5RTcwWb0BlD0g58TppkXn1geCJCMzDduV9psYX+rMQiOrHdZCW7rayvCKBuAtVabyfNxBBz5oAgHtWXlwQNHiQJhGV9/Avuft4SYyDzSPn4TjnmDHofGZfHgFruQ86zOvvF8MEYCWRwbeIn/ua43m9PmUpSLnACxeuTfnxC2qTr7RD7a4ZAhhQI/Ssmh5jqDN2c8OExcs1PojeGypWA1sLck7Ag8hOCJwmmFczIiJ8RZ9L1yXMuvzyGg5NQT5K7KTEjdJjYOmpu12cA9xgcqG3ByRoPdT0YZH3u7PrYoXHjy1bMrJccrwa1/Be2TwKr5TrABP94YLSy2SdRCBaYtbXnsER6Hz86WLYV3xAX91df2idpVnMHVc0sHcTKv9VQkQXHjoc0KUXTjOdtHlPxRuiIu/DCbP/6md/wCxuE2AW2tS1sI6x2pEMdGnyr70a4/tFLWeOZ5IHT1iAdpMPuL4qIEIdjB5+bGl8KNMT4wPcfv9UxfHKQ6GWNkZ66t/XLcYUfP7ijQuJqDu0u7it2L7iK2RdmM+kaqkVSiDc7PUVAE5o5fOlHuTD1Dc5f6d2v/ieARJD0IqgCYmFsQ69W8QvPLawl12YAXqzYtnmDxdR0kJnjcoxUaZieosOYAs/r/KT0t13qa0Ar0oIJCa63NrEqIqhgFhNpDgmnSy/A4/U8bGuPN7SlnXHuYPEGYEGb8DCRMu3ogv+dXh5DBWcTbJ7a9vb+B+Pqlwba/F9PRswX6sw67+9PqCDR4XJTm4dNW/fwDg+ZBu8fM2WLDY8LSGPzJCw2utl6okHYu0V5QD96RP9o4gJsNUIaia0YiLy3jGI0FnVKahxnyMU5XMnEbru1F+eyUzamtom1gj3iZyzyhFS7Xug4IMWG2BFTJq2MpCPiQlPmziqo2VaQjtqE8vOUj2ZcFUVUpow0nkSLbQCT41Ti1TqisfpCNcn22p9wtnNDrWsdC+B90mU6J/XGQYKQUDyUT16+7mOvT9VSkxhZRBoV6AnB5D2qU6SUIpK6UA/WFNbz3mnJ2NCrdy8+Oof5mcXeVyLMV8CKhaXTpe+imREBEUWyQSRIGXtAjWLfnRiaJnqEblcUBbDpd6aQHbl/YaXlPOE4/Vvr33WSvm/A9WKRmbnhL9t8td85wdvLY4dTqfW0HArcISgyA1oZNXNMTYa3+7LuuFAbnr7LNcB3IHSwupJqFC+iBS/Yc3QxR+btc/44kLAIfUyFO6v4JxIRa3EyxqUqKGi06tm/dxjmph0EA6FSA2bebhwA1ZsBU+t/V3jUxmP9iWL5H5KOrsbI09R/Z2/hjums+vTLMCwcGZ3/jN0IvpmqJFeXv75ZF12kIJ8z+XSHzdmpH3FomZ2/laJieF1mSVYlowENP6/byQ3FF48DidZ/01tuvT+yXqdAl2FvtZCKKljF8xqLVankcASCetwXe8ey+122qfG1SSPdvlr4qnXtxS3Zeqm8cJvwzE1yFYAGQj8WWwh/NWFeENCBsDRbl4INQEwAGq/uvAqUaX2bi6VRygA35srGD4KMw26q1cUJUnkBKxio1b1VlcDty2JORo/DqF6FgzpBOYRjDLOylaJsuK/gD1eGtnkUFmAXLeL2jMO4R4n/VEK6/CNu1aF08pwXSx3IeS1HceFlzHYuM6RSiQcmy3IOFboW7XG1yCV4Qh3qI8IOiF0EPclrR41gEIK5gWqqZezaBj7YClTApJrETr1/JOwuhkA/qlcdiwkWkLr6HFNMT5z8PrpZQqSJc2s3qwdjMXjo0GkOXWkmlRZ7YP5gwt8fHQsExOFxUsLoJGA7M53immO6G9rAcZTyn3mMAbnM21QyCKoKwYcLrybj47X4d7JOC2S+YgisCRh6urvBs5jxrmYs65Tc24APwILoMK1yuAAHNrDGj8iclXcvmBj+3ZswUge1hQ31j25iqMYdzYS3Tl5CRcSJtmWo8MSFcrfvDAvofqrUaVI0yy06qrk99hEJ11TIJSLdUO8HBaW+fDaln3GjuxkTIraCwvOEbWe/97OnUq8SWxVxHwlp8L58gvozCHHuir8ha9sp4kGQMxLU+3o+hRnlkmLLRvtBZMz8UPFxNdsfdQrMtw/PFja8ZfRRXOIxJRpc7aqhTDFmcX71KAIh3onCYpryecw/wKrOSsxgY4zxPeXEnyD0yy9RIjpdssaZlRTlXXhDS0c1sODnX8djX0LjJ357ok32PegCwbCQSSZ4yK08Vu0vr9edMuvzCmgEgreTllHlNy9j3d509kf18HwEgYdSMz9dSgJgseR5HnBwnKjnZQeTZWrlCSrsExd3oba3jqR2a5+KxY3GZuUJQsjaG7kKOX+rKdJ9EziTIfPU+cU4ENnfL63k2SfA5ORxX9GpMBv5pHT+J3CGR8mNcrAuKTXNDW2fmaCuTaTIRLN3eWZcjf6yHWxjMpHMz407AnE5M4yRP74PIjwTcRXwzzndboSAJ6JzFJ+JEqBUcEpPlQJjxPwWLm3r2vXdAO+alXzZ/TkkM8="/>
  <p:tag name="MEKKOXMLTAGS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1h9D1Z5GDtPW+wuCTrU5cbsTyeRnoM7v2+KYfNB8pPDHY3/N/nQDLg73FVUjs5JX80ZEMdZ5aXYVE2SrM7ljDixtoKhF4R5tzsuuZUVsHAeFwPs6wT8BDaAcgikYk0qwkVK4NvpAQJVViVRxqMTRVGa6YhvvS9iyFCthmw7VEZkNBdJ7iPzdYH8t0rAwKQRqo2pWbyVCF/datImWRcwiCdpw1Nnq0iU+4chdsdyy7cnI3/282eyyXda34nxFwX+xct2UH8+DmAvStSw3FBQ1U2OzBM7jhfThAcNkvAwU24/Rxz3Fn6S9xLaX83l9oDoXAD9UKUleMjbZu7MhRwBgH+AljZUe7TQ02uAMRUeTRle3PvXCyAOAsytgIOyXbpvz66CaYCXBDJTZnHJS2w9loYGP6vDQBji5e1LyWn2lnYo2dbb7MoR8cEm0JKPvBElNb/g/hEikwOgxosVLkcdIE5sX+N8mSqMqXfqH34XklAs5BIGGExuq/a3k1Unzz+qNQW7PyUuLBC5szyNHHGFv8iCjPs5+AxQJLJIHpIbuPDoNgWd5NxHUlNAlWWHMDXgEdVDwBteKsEt89vNEAvBDJkYSUropusUqp9MaiA1/QCjPPJRct+FCfda58XnvGfDccCJw6NoOxDFNuF3WErc6G/Bjuca7QlLa6nftYWU+woS7EknKYiQjFPjr4Liykuc29ekoZTWh1xaqgjHac9bzDoDWUtgjt6PJECW4gcCbwGkztRXgMQzDo99OJ37nXqPkFjqCVbdLgtiqkSGwYEnbMl4jwaxjq41cgWIa4GR5iWB4DVaB6pN9x0bFx0BAo/S1FHGahMQsjxNdTIFQo+7GW2vmFYCUuik8spQZffEoSsjVJYDgSX6Zqel2LnrLpP60jbmCj2RI0OKB/sFcgE6lOpw4k+GGPPElkXgK5WFKz8l/xHbs7eV0nRTaLI7O7Ex+n0pyI1iHEE66KndJFtvvpBJf5UXb7W+lh3eEEuaTFAB0mmrRdPg1d08HLtC/C5z3cc+GJWeKvnJ/epr/gl19nN/RIPvjONGXCDD9lfuMzy+vJ44m5PmtDD6aaMj9Da3ebu7IhY6bGt6+zvW0gBoFL22cRgSfMGMkPOTM3W+9gDMaWgqVu2+t3O0SVIhZOxmQ7OYTv+sz+TticdOFTKmeCvsRo6jCwz5T8YlvgucIXdAfqTVtgAEQyLxSSWIMi4vFkTjn+B9ll7cMFQa8sIJ2BDPUy8rQ+Q5GVh53uFlgnKBhcuZDPk0MMpzBPMSDF8DY2/qVMhi5hLRUtaPJ4PUOpXZ8f6+lrU8svDmI7Zt6afGkabsVvMmnFV1b0LH0uSK3K6hJc9VceGyiJJAY5+9+SprclHGUVU7n0DBwDdBW5w4tyHwj044+e+cruPPdvURLB26IhUq5TNgeHEm4F/n7X4Mzy/NWRDVXFGT5TX2gF24b+jMkrHuf1jxFO96R4mSV0lDs4j0A7FaSfqOGKSarTKpPYTmAqRi2Mfo1Srai+6Tg6XO76F2cy5S8Ow9oCOkoyJnaCOtZ6wjHHRoua8tvNzSmieeAgIcc16uFquChOYjlfh/t4skN/Tjd7rDGAAgr9F0f7GVtXmk+MXBmPLaKdAwnbfpewtj0cuggD2Daf6zb9yYDERc1Vqlc2BWZ/2JxvDkf8EqOePXmjJPSKJSo+QW3OCDueO/K45epLPjg62YpX+c9RbJ8XTnonZ2xwqHYRgBFBz6KrTJoXe70tRKAhTgEnHfvfC7gou7ARRmrhutSJdHHbaSDilqfwrtWeW3jIcmDGuHzFgdfZRiYWJmGYYe9Q0rVmLg8fAW3shpie8Vek6TgGvoDIpFHZHwHqaIZF2rony4MI/RXxweArnxDkFtVUaUbMYh2+uSCeA6LEppSGArzgFT6grc2ZF01f+DupA9Rl0Polqhukj5Ij1EdIWPw7uqhHeOmIalNRmojJ66OtMhrvUQ1dl3gpcrki30ymhDJxJGuexHkPliaL7nx/A8siP16s3RsFCDVL8tKNRJcHtJsS5xfUFUcABMmJWTAFfANueCqcKlr2llvqJN7+v8R1AL6u9Asptf0Amry78ScHe2bUCEqglxquQsg3kUPGeS74wzftgk1mplVOHYpCfmZChOYohLnoJLBQvg5PPo2ln9LLm0OIesyjmc7Vu8e3gRPFGTytObIT2IwNRVKVdDRLk7V3FQSH3zlbrj1HLikT3/Y7L6IU21+nMQ6AFcwW0p50ZcFqVeYmD417uU5h5bIWgZjTzPSwwrx7YSoO0R5ZyAVXibrp6EqE/oWE7jTRT6KEjkSgYUT4qL30OMvW5iO1982sPRgAMudGbLXfTgPwZCYcRZEdvpiI6eDU02nBM8miY7/4ZdiSBRtXih5r3RVLDY4ukm+gWBRyCVG7OxYZt46fS0TKVAxDp3WiMoDGmqKve+aPIFA4ZChIrP/iNMdvQzXthQpf/eqQH3zNjNWGKQgS7fKsBWAvA8fwkcjSfJ5Oa396qY4KhaV8dANhqGFRh2oGF5QtZkb4cYEptsN8HKLwkIhIzPPxxQgiGUaNVjUGna2IYAzFTv6v9oogiauhBVBvTuU4owlwCVATJGSDQxutKE3EznLghHjidlwWj/tHfUAo1k2MsBHqbYoeTnIfyBmow/XvieNyflb7H0RCBLkR+19I1bpYOJOyaJ+f3okFJGMBTNzjA540Zrn7+GSwgacGTUJa2KbZDZqISB2TVwGNvohrpKl8NC6rxi33RgCQQQEIzYMGTN7nNHhHCWMQjDk8UQU1HpDpV6efjQJ75DjOF1iZSyLi1QKcKjoDguM9dlzpl8ns+36h6mRBzNWMC51UHU6PoOgpzW8FaGiUbSJi6gVeIMb32VrMAHnH8ihDffQePZUdQ1XzizdQvuRVl73/j25X7k/jT9vjJItlHnydrmJxUSK/cyOTASQZ9HVcgtjtwITjPClohWf6MWFF3krUzj1V4pGiochXvBSxcsQRYc7/iryTJ9TnxvAsd2G4dqzjgD0fCj4baRfxV3b9uNtP0C+anCxJhxTnK7Dmfn+WSCO9qjY6gTZUonwWn4cZ+Y1BTHL1tskZeSRHxcPtavnwzc6jaDZy313e7BY1Vl8flcF4EEN+lbSvm0cZAfEOXqu8V3yMYKj+PtTYEtLown1i2Vh0cDRKB1T8iC184vhK8uv3qCtVnzl0gr5tnRn7vXSqiaKLQFQcf99QdhofodfmzSdbtanjmrcvxtGVrOZL/ZgVFr9xiw9pRR2De7k7591oeiNYxM+YoINRqsiSgSra/zj4ZugmJUXrFb5E+1UJ4LYuri8/Wr8OqozQSGRfI3E9v9kN591vzH6T35qLDPBHCmwyvhHPtbE0StpMv+q5LgERv8UyEzWmsJh8uoyzVwH3GePj4xmgLKV18tvFRrMg2+mCpCmZC9LshLBIVkrSvwsqTUyVQvfVLtYYd8oCFl+TUZauUC4MKwfF00VjBGHRNYt08/RjJxSUSaV9dPRGx2O5Wqa4vfdMbikjAhQuP3E6nKouxIV807lZIcOfEYTWck30UCLJyx2KoDrrJd9fD/jb3/eAdNScHMeEOAMKLiXLpW4FaupXAqbLdBVw22KeeGARvsgJSFFa2IJSaqU5Ypni9h7Npt8itO+Vz3ARaWwZ9Cs9g6Rqay02Tb8yJjf8Y3m75p/lmu8f/sURWMUuE1eXwmhK2pfiBYlbipvJgYk7O7P+fBmR6eGeZZZca2W+cphA20+41vyeKGfrxAGktuhen2D6CjeJjIVs8O2ukEXy+R21Vy4btEqUJHRkT++7ZgqEbF4STqPTzB+pqy0Fqb3KghulYwO4twKr2++ekUzBzUR3OReyZL3XOwjbcQUJu1ss7ky4uIoUjxwiSs9O+ohBGVqUm1DU8NB+ch6DcrBvzIro4hCN0LLnqLcBAdFAykOFJ/bxb0zDoKK2miWGe68orAy+3Qs3oXINP44qmfNu3XmmQCxhm3wFAs1Qxa01W+9xsMg3q753GZIM4mvAoxw5EMesBNOhqC4CP21FmrYMAB6m4yyZ3Qvbfqy5AYOjo7iBF5N7+2E1zlFiFPf2mMmEDaRRV82mSSC0xxasSpCe9IrA8L+754OWjLa0lj4UtAq8sJEBLh5k2B1lSnEzzSoSBkhGVRZ5yB3Ku/Z+qy9Vgobe0XJkaL7EO0do1njVhL7y8foI+f4LL8bQRMBYrjL5qmrC4uI8FmI3Tgjm7fjiuWk1qOxkVYkxLmI6DR8cfMvzB6CjoNqxyxy88VQMXAq40ZEjnJ9SUvVjyASCJk/9rv1ZQZgpiOBz5FNb1OEdL9Z53AjUXqJCOfwssJR7aaorhIdeNt1KcUDkztAyWi7yOxaRp10JUo+4pD1HHWK4gQzzAdaFQa6EJHYgyC3vU9pPgnjvTlWE0n/6lBZh7MAmTkUkms7erAlsQ/ZHYN6+q4mHb3hbEnp7MTs7ScUD5DJPyH7BDIHSFF7/q6zHGeXq6Iyssk1zgwpNpCumdEbHFld2oN6cyyLygt/wjzJfLYzY1AZ0gWufpvatgKJBY4LLd/CP4zpWNc1DGioQ5IueJaLxqIVRgBINwLljJfOYovBd69ibGNGbnedCBiaY6HRpAUOLC+9tYRosw9eV2c9J1ASTfbTFafd6zWhj80n2ehN4sbFIZS9+U7OC7fqcfhJzgXn1zwnM8FsKe3fV64Y/FFDHEux5AtpsEnYkBTZNTZNGgj3ahl5J75/SgpYj37R2+qSoadQ4ffELUaSHkvpOuU9YE4dOiSrCtEpDc12v2Ms024r5yKZ+EXpGnfkv0xsq9M1e71eXQaOekT5kv/F2xrFTOuaD/EKFWhiw0AKAY8yDiS9T80d/vYqBEBnvrlmbv/TELaHc4hecdDdwb8t5LKhJTzPp8eX0+ttpZKGpw6t9CftQn2gVjMxv/ztMkNiTgSmr3zQRxULYOdHQMLhAshxoePnNyAeQC49kp+IgX+9jFyqrYz97Rpl9IQu+6JOXyzvEvXzZAtac6vpqh5993XuO5zxO8lqq993u/jJ7YScQQ773x/BLTb9+mDhX+qUDXxTDnGBOrGWSipkn6GrYmQF+dVuVDWGVuRzKsZDuF7dY1bDO0ZMbUl5nwCv/NeT/xwswUb3e8V4EmNK8YvqRNkhEHouyjlkd8S+3CtosI344u3dG1VDb9xvbbW0p6vWlnGlYmL7+9Ugq5QGb88z9hVqbBqQF8d/Vn5tLhMOqBTIu8MnDkcFlr/U8yvQZDXhU8niVNdioe6lRxgy7C1kjCV8o7i2UDRPJOJEEadEhnt+6aYd43QeR08pDc/2iCl06dTA3X2PYO45eST/lDwhxyecqgfP1Mq889VplB4czOOxcwLoaAkXOJTwmP45ZiwDpQPVQEtFZ8d5qov4HPi2gilMwCiGg+Nq273MRk+0Yx6RI2No6/ZBXGK4wWVqAI7XBmovj/mxOXd7fnybZGvilfR/WZzaLkRiNyz7RrCvukX3lZz9PgKf52eyOehcgjSwpDsFrT5QbnDSCqPfuS58uSAd5w3094warzZJECYqaLT1Os+P9CxDJqJqooDuHyCoL9LNbpStcauhSuSt42tf8roaKhhEoULedmutr6oClT2UidgQU1EntDm8fz3nTKEsGa+HYIjx+Ak+yCJJ77d4DH1g6s+wm9WPG1xd7iQ2pVdn9rbtfaUIfEQKRqtHGS8gsFJfSP2+Ooduq0BrD9oyYJBuL1MQi0UjeWPJ9CdyS6JDT5VznqjIeLQvBBQA2KZL1wsMIhYQmFk0D0fY353wE1M+Jba8gUNV0+Imlc5+uiap8ZV79n7rexwAUOLP42+6yw0cDGrs2Py3OkxwvP4Y6lvKH6PAJYfKx5H4E8Y1s0Q/jQaGLYwTAxQ0tkK7H6fGs8ziK0yXVk/bkNR3OfmoVPqPUZMopvgq097qoyJby0f46cfm1TQDspqAz+Y2uYq/m1JytYN8DcoRJfu38wtBCymchTsYN+33hsD0FPCiLn4B9WEXeks2NGZ/hgWxReAjavQ0I6tVq0nKLOzPuosVpd4Y82SV783Bwo3X/WQPI32Y5Zwhcidg0xuCvuRUM1ODbK81Jt8fInCZAhbQCgw/U4YsJq4IyuYAoI301106AxEehNPDmGCfGkeP7TPXpg3wbFtoHAbeI214A6+JcUxBrZYAP7UP0dQTHcC36Y+dAUPUxx0l4xiv6br7t8XIdU+m50oBVcbFL5arDKpB7IyTLm7dIFpjcv93JqZn9qaaarCCLuXLEW3WdhTSx5mY+QRv85PWGDFIBewQbv7AobSetI50fkXA4XvjQNnczaLET8n3j7wgi2oqfFXiWKAZEC3p/kGw6SqPieTXnQCuHOI1E9DeO0elTj+Cx4y+r3g1cCIr9KeSOeo+EJvyoyZDGfzN27O1wevFdCPgLznkYlPt97dEZMZ0x2Zm3rz8e3u/pxEcHydOI08/iB5cvcdGr5euWBX9pDoHdLMElmrpYkst+2GldNwuAttfMf/iYP7In8DLBxn542gpq0TyAKsW7stY/BOwJKnMnbLZjlvwDRB8h9W2VoczW9yrCRWBs11Q536irpci41C4HwkaR/VobaAlJR2CfWzJVqGBj9VlM4lEtji1+ikDTbSqGDoDmiee2Yvw0xcq66RmJLcq45tpimzl08LNyF2HLIO6kPByiHX5DoItzd9i9y1TO4evKReHV+kEZYEStgs4MVV23XaE4Ij6zWwSxKK3ub0Qng3Q8gMKypgjNmUqgiRBon8i6CTMm9S07qSSfUP356t5I5KSha/iyDNSvIRmZWkZIL+Qp/yTeedYaqMVoL/b9HyvwzXM++TmG+DrjQ3FSr5QgFfsHkIQ8YEViOLk+muivawcSFMCNZEJigzP5Yx7Xfg+xoRXJ99uo9IOvvorh4DhmeGDry4YlXgbm6JWXWPYbYwDGlUhouTPCMIATrIX5Lq6qkSI9Dp2re2rQs6eETnfaNYqo8J3Nq38j7mToZAuoeZBFxAokcDzZiwJSs6xpkomveioPMSTiOBhfV9zDLZTYjv3imQAW/bzy3zxltNS0zX+NRO3ougCPsoMI34WYi36MvpikxmCoH2s+qciQCxMolV3dT9yarNkj5Wq2jQ39EkYLosyu5DG3m4U9FtkDFnELQQmkrTjbuiHDJm1owC1y2qut6+n0HQd09Fn6m1QmLerURkECX5Qdrx8/dnDndFYJkpxmzyTc6Y+kVUkdb3JpffZ0k8AORbwG6myLc39aPaPU18orqrgHjAO769YgfPUShdZxEtj6HLLvxKicMA7TKCoiLlK3EdQO70EDX2Lt25If4bulA+4Iz/FiDDC/oyQZBvFkc+BTZ1WfzRkckUBGpjWemX2zU5vCIprAj6lSEnTiPU4ABLVsVxpDZrEw3oj9vSwUZ6hk30fnQ0HIvsv+EHeur941wfgSHK3UZXZvrrlHtkquFEojpfqMlWixj7c870irIVmSj4PbNagswMyrvhpXX4BpOi2RpFaPihR4ATCIRW+IUyfJ0VkUzNDAd6r+0S88zsIPCwt/+Ry9iuURAwJadMvY2njV+nnb3KqKmrWVGxnfPxG9x069vOKCgissiwCtpg6Xvvs2Oj6h+fVehLYQJRiv5I71G02o/AAcZC0Fok/zV7NEYKXT9FR2U53NgusC2+t/mxIN6lP06481XQZAoQ8phops2xbrIcjBZfwWQos51gna3LBgfQnSnmAFFNdoszAzey2it1KUAt0g1etduUrnuF8khoagz7uVLr8jjzudtNGMfSQVmYwb+oqar0Stny68pAKL5tkXESNYYjR+zvjdUTEzy91agvaEzNlivlcpEem+wAEeGNHcK6CozEzcC0q+6yQoLFwy/5Q1ESvnRWH7Frq1L30MFO/hsue8QXBZJQJvh+drwIJFREqc1PhI8Z6zjNHz0FlytRwXib7KH3Mu17h0k3fCYf4xM0TCefsYQwOnT9AXCmUPvYTzmRRqD2y9JXbLwovrsV9ihc5nZT5tIsoAZb4akMxO7CYcZ+fUwC5j+l0Oi+oCOLrtb6rc9OymyljJF99PzXP+9zVkgn2JLTRuSfxJiaeXzH+KWUQW3gJPRdpyOOU/Fn1JFLfxC8Joc8dbjmM9M3fbOJQCrfKcoBhRa+ejQjNQmvqrX94jUVX+rIWozlhg6B2XckeUmIAd0Zd0a8YjIanvpR+ZguK8csJxb81Vglj03YHQzfFEC0Uyxm/1QkPSVDCVN2hHlp9xpyTvsVewFGCdpFVa+MMQa0fYcphiwyfjfVRh1H1WS2QtAu7DuX8Hw7VcEyvMMLJqdvUmqFgkIwWnE48KYE3bk/GjGeG2VrzKf3JjZsbSL8pG5yZCfA1ahfOR/SvuD2RSsyFda4H4evDzzor1aKuZTRZVM+B/21a+GehjFKSTUxtGVyuAMxI1Vrzl1fkJATc1dCU4amMEwZaXhfmfFrEIPgC/KIZP78S7ToVd45V2KgbFEejR3TvYw5fPsIRJO3if9+ZPc4MLHEuyn4CkGwyZMBYsiC2rcKcTtR0MuJtQcczeML5zD+EjAytenDUBFwkOQkuVL3H7wUV9lE+keAMLCrN+/PtAbx+LiZc3CQ69E0ngZ2U0imJzR6Momz1Y+bfm4Uzb7QScNM637/qjotwlZWf7+MyJlwWepELpXo347WOuxtAZglYWaA/jSrcEhRQQPnZ26X5qlfti14685/Scv3/zHA8vhFrwAeY7yHD1cQKudy+YpgHx5cRfVTDqTCombplsrAp3uQJ94l26ZeeNMbU+D+zgz6FjLPu0Ummab88mjDpU3haqaxMX0cjp1Z6nKHgw8RcCqs0qpsHLVYLn+4w7NA+p601lK3r4lNh1E1bj2Vi5pwW7lziaEglVhhsaZEwffhMNzSA3QF2zOKt2XHkRJflJxe2VpKSvvtqwGZ7gEIFUG2Yv/5BwJR1N812ILZVmUmmAT8MwL0A+/25uS6ADoD+w9twLYdHKUMlZB+S+coJ+O7kzz+kXlRSJAyhouCq4PDoZLxPjY1TK9pxAj/lX4y2vV0FOrNlKhqC8mrPB+00XAIXf7HNUtyTak2nhcVOzoM23mOenko7fOj70+HCdgv1zPBZ5/ctR16oqrECpTBX98k1wb0TDiOA7sITbIWazWziPUvx1lAL6dnunFbctNB+trNCJmTZbmzU8IwyvwMej0miEUMP/88k5ziRPMu2g/0a/sKdl7tpvmfOUvzJOzYDKlpHzDdyu1Tav9ctc/MjpcSN4FCVBbc8R2j1JdJq0w3oDdP0H3lhN/OG/zNS/XYKvO/4DT6q/qBv9bu2Ilr+cEHjztLyfM7e7CPRzxwyf004x75As6I6dfCAql3qOe0JQv+wBYzCxVfBh46JpJSlR4FUeyotZq0coza18NtWAmh2kEJw5zUqPvqmsUEZ4DgdCLG5f6DkfCMoj5sz7cN+9NVCiqLENEb32TDd/2LVCIba9jPAv90vt5DnK/uMOR20Uwt7had+DaIaWtVM7If0l17tfUEJMssEb+FjrqTd9KQ+fxW8bLf9k7vPyyJSEVzJ5Vd9q+Jn4LgMStHV4ZiTdqLwlc102ZR+fHCmcmqxkp2T9DlbCNItMPty7Vq83QTUk+I91zPvT5aSqLMvSk24tFk+DKtpSGr55YaIeKCs0a1siES5CXcPDJOYynweo407xtmBm6mCW4Hv1oxSipbqnMP6A9NJl9WyaQ7HEcas/Corm1aGFKGJsoEK+3Ondz5BnL/8Wz5h1fsZG/ktTkrGeDGOtdOkyUycYB+C+IYczhTUr5UWJcuinWKlwcqwnqIZqzklXEXaR7idQTWkT8DPKx3ZiaH+Pn4b5WBatAbVeKomicQGAO/U1gKJI3yDgT1S7J1zW1xuVJ32YA/NlKFamJ02iXhxawnhV2L/5OYE6RuCC0LwGz5fxPuDYNT9+oHSbKPkT82W5knOgVNxolBKLW8GSu7XyOPGbc3QWbr3cWrKCosH6Xtp+HKIL2nbzUeSi4nNb86c+0JZP7y+BKywTRQExGW1UAfpTKfxms5rgVV9KMAS2bEwspQSNLQjZEs3+5rPfq5o1UmKd2KpwPDXaltfEfM7YGNcq0scZY+dlRxVwHVL/PjITrtcXDyErGzar3cT1SHlj+s5snGj5HLcxERTM2W4Ie4WouzuFflk6nlbZ7YEYPYucwD7Ap2ng6M9XHK0bSnWsx4wCUKjql1QJeDgmi5Oa9g3e89NGkwyiAJRgNpYk/39foFQwwpga/9rVLyJHxlzsMQR+CZTRrVB+UrqPbkYX1PzcIS0MHhny2rxgPL9iyR6oINqLNMrN8gj/Vkhz/SwmqkAc5wkHUxIb6xm8iZs4ZvNPuqPXtb/YDfsqj7NqAkVxVIcobetojhdk7QXgNj18mbayioY+uLmRqnJY6d0JvSXMZIBPZ6NrTIomMBPlGIRX4Rw8AJ2nssLawi68gD991LizP9xHmN0MQnJhbP55jgnaHxEO/MG9UKUj0Up7PlYlflLpmKIZAsvIxI3vspvO3O8ORAxGFbMZMh/PwZVwspK2OabXb70y8WZdZhTUX4wC2e2DpZXu1/JIMsUAwVjZDfGgVdk8BdKv2iJxM5drrrTIjmRK0Q36QmHYDMH3jfXH0afxfm5EMWtjB2QTgyCa+A8SAWEAFlefwIVNr3DDsGHAZDdILH4SCz9O4n01eDf7foosZRUrN0vpK39p3/Fhal0wBGwKf+Yx0Q3svxcGL86DgStR/2nRm4CIS3lVfUA9IW9WT9rpZAhl3Z3TOW5dPJK1RVro+NfVtfkPuLm6sqy1oH96wGysnxVhURiXjlOuM9JTzLMWEpt0BidlUYth5JCyo0zGmbro6vVLLG42rNOl+NyJXL1CiMC/HqFREowMHdZ5PRPrCKFhWLAtTW4dxJuBcD/x1iELi93qnBQ4kczJAQAr6uZX8ZkSf75LDvFl0OGLwP5n7gg3+VlTCTiROphfQRcEsGmLfVCMvuTRnokz+d3cj48R8p76ThvrB3dXzCoIQSIdtA7R5TSZZ0RERxJHG8w38qhkIfCF1ZyEF4egchZn61OaHf3LQt9th+evWa9md9VOQEqrB/s1qKIduhljfAu+lUjbNVDkWXi3Tjvhu5lyDz9PeGQjpkD6nVx5JCbbPhpRyCwn9Uji3KqpfYWg94iQpdb2tS7G94n9V7727rV+CWw2fU4kWR0knzzapC20LDjzuuNBLbVErGXjKHSbEVSJ15Ptc2jcyKlLL3sgY+zfRfHimCqQUsz0Tp2qtODv+TkEds8dEFQ8yTFubo5GxEGt5FeNxxUaFlrGmdrySoDfroqsIummluUJGIATblr2mJVbV/oimfzbBFH8w631LKnyf9w5Pe2dDdno2a4UNVdVx+HHSxRT32wXnyg04brdfmABBZJ4CBZyL3vW9tsDhogoMyxmqkAGwKTh4iDT7V8JBwlgSrZOCOcAjj+5GgkvBt6LgJUtxWXNP7l5ArwjSEIg3qrhoozvG2aeobnoPW/JBMFwk1UZYET2yStI3OmNgLarJSy77BZ9NCxjUtxY7PnwREjZq2w+u/QA2Lpit3DAiKX2FfDOJOxpannQHvWdj+yj9hH28BSE/uLpyXjwBztIFW42BPpp2a8EL0HvLI7tZFq4bBRrJ8IM3L7maOZ5ug4rppBtuoCxPcnYxOxFxaubE6DZIcyZuxzz5eUrj8hWpav/rAkNzaAmj8XX2kuEK5YdLkWvNySf0iBq58L33J7pgNlDbGIAjah5n1N823R0mSpJ1AIT2HPtRfV5ZjXzDLldwci3fJ2wojGX4arm5aymbC6Io9N3k1Lrb7+z9ahKqMoQac8j0yxDJMOl922TmwPJWqRCCrHGpJJzQPOXvE/2RsdfYKFTbGtKqVcfspfFxoyMZis/DktPACo/Ik374WksR+aLq+9UteFWsemlwVnLxBickil62gJKcud2Z0qUkjRHSLK2y7F88sjWhyJccPTJRu2FS5xojeZi5afP52AYhFO2r30S+RYkVkpzl5jUsGvkU/bI9RGm3D7sdw6f8NgcBq7N11Z+/BaHO+IaUlry5MCT/av7pYh9llEIuWR5FYyF/rahP07/cq+77KCj7+iQpR9P0xBjSCG9F15+j8Ioon4XrA81WtlMFGYwyUamnnG3qol+oOlwfjqDFhNCj+MuiS2SBrNTEEGlPnQX5oVPkZdBLYI2wv8CX/2imh8XcZMRTN6s/IjQEtG4NuqNqYsWxfOshGJNxuRY23vj+EL1KetWCGsVS9ak+oJ2iUVo/ghr409QCZrEoUowN6oWZ1QKbufLjmuJTRsQ3d3KNIWXe7tO6DH+BJg3xuMDToyhKrugssesdilFc2vS5ZYs7CtJgxZ/eoCx8CC4JSKtby4vL4C/6roY+7qSj3K2Zm2KTqbYqeTN9d1FpB1dITCgzMEFPkNip1/JxeXo1kNNiq7xCBCUTRAiNeb3blpTp+vdxySRRMEq51Duv9kOj8z2tv4xITUur7HF8HYom933Z778lC5nWNc7xpDdtmeyj3TMmUwzewGgnWiC4r+i3ChsLVT+dlfHFzq+bqjJ3i1IucrlLBxTa1Q3/MsY+/svDf+Mhr913ETyix+r/gf/8bVJTVJZfbNlvc88moCq3alJn8cPvuDytxH6GrxgVE+I00HzMRujcsWobRvyhwOehNrQmDyh7fA1cmO/700eTx2yM5zDtIo1cQUI8NIdll1qW7+zDSxb1obMZ7bqNRW2xacOUJ3Rrecz6k3U7bFBJ8pwNeqMN5IIf1bD7jZlKIYvVmmsk3lSXckymYA9thB5++cQuzihv2v43lPwTGePQWBjX/8MydBiuN+DjC+gI9nMMLMoHu9+2i/KOEEqMRdNfpjLh0hsBx641JZC6PUiONuqAJW41l2O07AnNo3JjtXeGdPSRHnu9LiRjf90m8OW+6uJpps6fp3EJi2aSa++MEyUpXnqCGrVwyg/WtDvOoyJdbjPmKA297sa/6z5bqG6GwnPxXtEX7p3tCqC05aqYXCYN4QRWOTqFaRIvo1rNwN/9bPcHOB0v+ygvVAHj8ISwWPst6pWvNyXafJgqPH4EodIbvSLR/4lYGfX8bBSRiLd1ng3o+3KSc8FCu/D+OxOXCrogKpr+CM8lAIyrs17kNjKglNm6OigTLebiK4KeDuCaAVYbbl46tGWLSyHU4YAc4zBujm0I1kRAllwVnId/ZQaDfe5n1WPYG8BOZBT+Z+EQecDHNrchtueQEIkQ4rjENV5QR2M9C6Fbmth5BkYT9vcUZ5NHFAOmPhYKcjead5ypW/iu+Xjn5/gNThBDraubHI2XnZlYPygbrSqF4WqIRvraVIENzfsRwwlsYFW3VWMsCZB9qoTfHNk2C/2Yyp9Bsd9bzzpj0Sy2KekBTa59wkXqt7QS0t7MBYMbzJ2qXVB7uyJjZkxRi8M5OS9bVh+MLjiQV7lZBW1haHSWuxtDkwFTYtPJvQaeemMv5nlHkmMujAZKG3IUXbjGovTqnZtA/fhWsrhUUJ53lCImK/SPr6lUkdI8HZLegTXxMLRiHBkIlqTSmgasRjwW2O/KM3HGhHV0r6mcbA/wSgP5uhyWI7jukjezExkMB1pS6BMId7+cOov9hr5zgYhMdilptXY35yr7BR14Tn35u9pDJ5hI6mldLEKzOnWMAwxM+j9gziM4FB/rtlb6d/oWMaAmnnspwY+/ZLUxJFEZJPMMPzYR1ozfhMHABxj3ujve/2HIRSh2XIS+sFgc5u5GMvuUqiE1cv6xzOJ7Jtx88bvVIgPPtTe5ZbGAVYegdzqayrLJ/4aKByDMozwDV5m7z8uFXvjyZ2Clir9Y1XitrK+Snb+BbBgKMvJJkhsbFPwaAnQUokDIhkCJ8YKNxBCTxujZEzVWJnKp0KDxhPmOFlQVt2X2ay3vENZY2jirH2fr02jp8PR+0fgjD9ouwUZ0+Vroduk0RPeV8FZBr034dPF8E+jMN1KJmgsiHTo7eT7sNtGbzF+h0VooF+O9she25QmPhBVUirjStquPL4QLLKFesCQB3+P8lDuC0nlkkHDBGa3nzq3X7jCwQiVSSlO4Ga/aLMZzEStiHZddQWHyYJqFy2vmzlyBg44KUq8IX16vTTI9b9/ZfGsUDW/lmZGAi6dFSuZMt3HxbRbCNtcGX75OQgqyRdpfvHf13+w5Th8FhFKwjVw62IKQqYLvF5z6YaILz2jeqiHtPkHdQhtstoxaN1bKU4hFUOvAbyzAvDiafPPah+jZYd3uIeZi8qaca4HRJ7kZ8Hxgg6NSpE0IYPkZTP/P4f8JqQbNs3zuBr2eXMb5X+eSoOEc21M+42QtA/W6fKpa17TgsLJUD866NW8V3/p6sLW3xWgY9uwXDA4b5gGGGjpNKQmW9Jh1woTEfwbgAyLGmJecccE2+74uKxjLSHYeYOa0125jR21R3Zj/7RqIToctxqqhTm97VHMcSM5YYUp6BjdWRF5YU+h1CWmWQZQ3lcKvjohIhy7sXXzWU71XsX4E2J5Sf98l7vThJItNdlRl9eCcbUT3TSR5YdJvA2wYaXu6ap0PsiyQLTlmlLws3SEt7HSq8QgYh3aWTv92aKqA6yyUWAVxPHPZSfov3vp+48YeCiPuAUA0qjSACznk+EriTQyNX4B6tyek6jj680YJuSKiz5kkmHbP9sFl6o5qp2dd2NCt0xB/UrE/Fg0hisayGxVbw4N7cLo6FVUCoUixseZ8JhC44SxmE5FmaWnhNxFBhlVuRL2LhTdAB4AW/O8fZf0/s+1GtGb7dsuU4H5Xu1eC9VnAX1G4OCN/5t18q73WzEcFROhGHRrd1hgDTBOKS0o+UwNKg9H4ATZCpnLHO0umVq0UNEAf0K8xrWfflKKhay3+I16RnRBALJgDTzAvax8zLpMl0s0tcLAr/JM4RQB9qvBltdz1+gUzMKrI+aDEutwFKfVTW0lsiRFEQ9HGTHqAPy/2Lx8X13BQi1nyZ7uX6ruNgtY+r/lXEozE0/y1Y63MnS3S/2PdipZyBnEYQywtEPgkTFb3tqRnb6Y1trONH+JQkYzMaB8KyhdL2Sn40OSICgifzoq3GG7b4aDYyKMTpbOynATwep8F7vUKvE0La7gm481dW88ArFCqxClJZ++QXu52ZrTGg1ez0uOspHekPrqW11sIry+z1Om8OngaYSkMVx2aATdHFQmzawBz3MRdOzPqT61pCQ6wdU/hyQg4sLQ94QDtjdUihNklZ4lolY854Gty+HBrV9zqLAWUlD8rxm+50u1sk3jpXL5kWBYDPrWS/PRHiNkqUEKTfbP5EVjT8HjxN2TQuU8ePh84b4wq7chrUeCqj20uZQT42RpX0SoXur0ZEFCeYAvJk1vLAHDmLTCJbcdMBdwnY7Et6+ofBDx9/Q2ocgJGQe1AGP6gKvw7XPW/pK1ttmZqeG/oc47TRIHZHuCCzKY9dJU4ZNRePZg0U6kCXxmNW9kl14BLVwi+MLq1b7Jrs4cc+Es4bleSrzdfpzqjRv82R3VZdfg/WXQ1rge8RwRReEX6I8E3D45P47t2oMHpm2bcqL4pjrBjIgmj0h1nu6IY5gV5T+YQT9S0QgAjHcaq5pO5fIxwjyRQQYqKORjdQBIpkX8iMz/keFTFeHHyvyUX2Meya+nW0Eg6oPWWwd9DJWNXpa5wBQuQaoKPpGtP4RDptw7fqHOqSKki6hXxzXOEdzXYwWjQPGb4oAtOJ6fDWF5vP1HAoT7cPKuWRzOCG32Q1FkHur9vt1m6ZG6kLjwBMoE92tJzBFEV1yfODrIHvlMsahnAOGdQu7Y7O3K55eO6DzUVOkG6QuepMQKIsVbziGSkS4CuLi7veBajyOC82mFgkeninODDNHm13fT5yTGas92SssxYE1uRDuagLMoU8V0L66UDVnpIxN5FYDd+Pg3xCNoc01YJcGaUvGWQzuCPKkp1Pr3EqyCUJqWBERhry0Yw4npEoNU244iS0lH2Lmowa/hHq40itNL81H6MJxBHHL6nbIrwvqQlmmJVriSfM57xF1TGkaZIl1fx8TmVSQqmTeVWY1MFoall01U4Eh+s8Wth6OzavZMqVBgO6qSd6OEpqq62wBY9rg9fXy+hDqXwmLHoJTbEcwweMBJWl2ch3wzCjab981JKp7cQINCNuhhItx+eKqK5ynOqeNEayGZK8+r77hUe5hHyC21k/En3NJ+4rL/DJHYyMKsEbGgkYpsX2GfZkgbpeHg6vXY4tPtAkDLWfC1eNlC9mbWfp2N+KPUwMEKUTz3rHoqHv9UovYaGUiToawA/s7f7IJVnY9iKV58ggl4TyaJEEWOFIzsPReWL2q6wC8K4NCTlSOLPGeG0te7fsHP9jsTZzUzwbNriPeuY5JYDzHHJcO9oF4aKsr3VkRFXEnRG4krWIPp+Jck+/CyEVE7MDzjhILjDTIE5WHf5FJoZ2y7Wi1jRSY1ZnvTS+/iomEmbUrLvDQvigUxmrdOo8QQNa7867ohyKz67VDWACGvaG+jRzwm73Gr67VCulvx+Hcac4ocrHvBk9ckdamErx0/tiQG2TLbXlF2jy+TXJi/ydut8O3fDZ+vx0imAYI6oHkMjs1+a0vbERjyEdY7EYmytpLRBR6rWueqNbvwDm/Va1b8g4/nysJ2pzNtSF1RT7azu6phWxdzgh2ONQX89zYPIlafDP03W0b/+NkNGICVS1v6L7V1VipDgLO1T7I+H2O144gs2J0W3gqLZl56cjpOXv0WX9zY6A3V5yimvzBNWogCIe7jjyEdDDZuToUwWSHLPMyXpAR1j83ec4uIlFYrxWyxVOD74BUB/Mu20/WL3pCCXuZaPG9PjRGAXjSyGDe/OaJ6gwm6rRPbDzj51sgUhsixKKU/cMN80ps+o22KcCWnzsN92khJNzP5IeL53wEoV3lfKlbWL7x3lZ5Hh0fowDqa6DJWITNm5rXHIcM6NLvdvd/FzailYMBMuqXfxAMCsdXkSLYIIZfak/kwRHto4gwVIPDBPVgClNC2en3MikxuL5d91NSUbMYA8nc3IUn0USnJy4+Gos74KPzY+Zrl+S8RItNzOBzh3uwPWtIcD3H87UnVTsMUbv+kG0p4TlfC1I++uc8pdGR3QeW7PMpQ+/aHxBtCLOLg1vkMoQUe2pXZfWzP7FQLNC5dn53I4nIQUi5lI62smOTq7XYKC2c2KNN9OmEB51Y9KPbwd2CIlGpoe5oGFQ8b64WyTatTxoibViMa2FSmtDXbAEs6ta8jM6a3EOubk4Alz4zeXlCTBh0b7YKsbut/G9Ab8i/4UUqU0eAnRN+ga++zQSV9XpXBbuQXRPosEDDO4F42Qy/Noi9vc/tWPwRDp3qOXDl8O7Ea6nRPB7jTuwFMaTyXcENOwxl35Em5GnGPLA9WLBrU1kmHR/I2pOQyT8yNxpG4PEW2HVc9hdmCWYT/wRBug/1R+J1XnmVTxIR6TW8IOZvyJdL3s9jvjxkumcVvZlCnRQhUuEyiYYroP+X9GgCt9Z8/qjpmFRzG3wM7jLPqGnWjElzz5C0XjhLe6/pnkAXY/NJ4veCGBZmV6QZZyf1wBOqkrbFWDogeFMDB+uAS6N1Hew70zQYBiPjVdxZQfTH5hBzkDmHAdu3/AZlOQyXcgteB+wG81U8gKGkdSC0AE9mza+17wWThlKrBOqpJHWPdm9foFoK+AGN5RZd6NaknfOzhCz8VF0XzDQRYixoQfQL8giHRP8cJMGX5J1QSss4HmVAou1FygA6b08K4QtOJs4LuBq7273yuTOqjU7ILlPX78ARcGcyYCMc1HfSZhZBIejNY+d9t3tV8O39MWXPvEMOhb5UUoSk/OJ5TYxDzn7k8s3PQXQWOyZyomZlZJkIObfu8CQlV45I6KZItdn9YYJAuSucB6L1IctOr27n89AD1hGn28GlK+CUKN0gPI26bOWPISOlaPUameMEsbB4lY/AjeLEdNhA88T9uC+bm7nBBa8ZKklxAiG/49tGzIWxnjcIdY/pL3u+hDfjVHqCOch8i1Yd1LZYt0zEIXv4PK8cYtVizb7HEPhgFhO+vqum2QTE3kFVgI1xuN1LojEh6zS6nTWz1yTaRNA5oHEV4i8lJ1QwxzjfhsvNuBvkl3C3mqBYYa8UQBJ0Es1k2j8AFvx1Bl59eRdzWIlQe1WghuLY/PSTP7r8m+tN7+eotuxXbcEQaVh4vYQyQ66sgLWfVkqW8aFM3V3ahFNio+5SZyL3rwy7/+6hgvyxV8RqtcZ3YcsDh/AV6Y7Pr996rMSpnHYu4nv4R6iVxlDYtwwEVO/Wuc5mb5mb0a9w8xCP+kd0atoFId/TIc4gH1ZHFFo5taZ88paAyESHCTG8VWfA0L5qwwjnlv9tEfIj2GpgjBVYDEIshLb2tAzsM7+T69TV0cK0+0MIjsWaqMXQuW7H4/gU0Mg/adGMhjEuP/p4LLJVbI0N9jDg+KWRIr6tVq3sbo/aYWvGBBO3r42CedTrAnUzWrNPgBPlTnNQeV7YX7fRMwidQkI3JnSDU05/BImvB2Eh7sFmBdOJOMFXcXmF2v7FBlmt48P/jTAucXaBx1iIkGUXJ2hxS7X/xyjOA85CmaQ40OSEGF2/QjTlfpQbFFc31lPCtQ6a4WwHO34HO89Suau6p2xYo0j9+nTt6a89MCzYWm4gXD0oWbwtGRrtMs16W/Hv/rGLN9AF84jSLA9maU+19CcmsSg/m4M6C8fHIWEwaObac18wpyN6jL/YECrl6dkBBhJVQ04EUND0VNFHZmmSNhzLUP0cHFGNuhFD89SOkWQxteFfyNifVPOGyovnUYhugMMtdOeBZ/x/rXPIYKbdp1HRXs8MVbQYA6/p+8PI2ve/PdDNJ6a6FbF0jfbpF79Hu93Pi1gJVXOBxkMuvwuL1fB2+vfdxjFmgzyLm4DFwoTLSbEBX5tgvAJliuKIqc9G7CQwIrH97dfew0iQjeYQu7D0Yl9b7J3z3Q2XGEkmmmYHWgq7uxO4mvOdOxf0v5MjR3NcY5jIzhNcvSakwhy1ckMcvfb3H4ta7JISDH1+Vfz8Oxi+KJ1zPajHR/fOSr8DywLbaCmy0t3Rs1gpPIaQctMa7T6zpb2V6DW8zpHlyR8CgNej0f0w9DIn7HkLTEdDq9pjnL++Qq9jJ/xKfRMUzwiLU+szn1DfkK1aRH/IAgXnsoEeMLo+5SPL4OblS8rLKmBf8+RjDOsgCoSXdk8bhJK9JVubg+SmckuXyGTov66ue63tGxXjfrA9hnG19O4MI86sDa5xrcK0iBCNpBel6sZPLmHtY7gP3iLI5AxDDeCg7lsPlpKfUCgelyp+iblTmjrWrnTmIwjzx0fPhZ1rhKgBaG1uyarHttHNm0om1mFhdQp4hUP2NbvTZuZ9l/lXl8jB5gpUI1yybRTeZNIEDJYjQ///JvJAX/BnW+ncJ1A2GQJgsF5U1MyiPkKnRe9EzcUAD3VdMBr5zq8b1H8Uhtc1tgd4Qb9+O/BXV2gizpHhfX02wzWEn7zifK0tDsLtDaggHc9G+zspTVv76RJhCB8v+1tNJDhjw9KMSWnA2aigv7eSjAtYvGCBpxVX0r2bLWC+gXjKZnJ0b3rGFlJIjPCwT12Q5n278XF1BhXlduAX8mwxxvUaPGW7y168NHo4BLTqUtzPwFtPyiEald+cJS45q3dnnLyfm0co6ubrwb94xw8ijzXeaIL20HM3EPI5hQ20uhBsqmoNjCkNYZmEOkvopT/BodpSV49PgWvx05UcMt0glWIzfO4DNPTVmP/5zD6dgZTP9OG5aYZGnVKwTqFoxbVesOdPnejd1Pg+lRLLY8jztt5zzqDrYz03BMwKvpxZCAMlLT9y1yYIrjLY1wc6GS3mJrxbeEsIB6AITbilOqVgWU9dJvUv16DRc2PC+jLqYE4BIJ7FTRsnl1vvKnfHmEA36O5ElzR/7g91taLjwUK1SxQezY4GP4wTXe+8MALi9yReCLoM1vRzqCHebNy2QB2rP9LmyBUi+cceJ1zu7e/CnUx538TbeRfBuIV/yS55w/ibDJdWUxHCY0j0mO3cejmnfBQ8x2YMRjqLStr4bYsUjgottn54l9CQXeHZG1Dc2vMVsB9gwT8ovC9PW+6ttYH6wIPFZnByfEcwqI8/LJ1aIZkEc81xGKgzUh3fgRry+6+eOjOAr60zqeJbvdyxrWMkXJZkyePgt00726VN8wlf2vBjNAH0o2XPpDurqoIfjfOh59ElxVLRucWu7itFwAH3z56DpB1qlKhp5QOxoxpkj2+oS+OyBX/jy0fUmR2DhKGe0Da8HBpLgkvU6kLXgIAjt/OY1sk5Dx3Q2x6iSl7DTrOp1kbl64RuP+kEijPb1USENmVU7xdnwnDLUh6hYgzpO2Quhevp6Cuf2wpUxrfv2ZaicV4SgXmtNgDDvAOuUjOP89nBDVj8NkY/cw3GmyL6QORbFgxVAvjEo0cmu0YFIiWFbW/aydk0FJBOo7PcBGEgNoncF5v2AC8sGu5VhmrgPczT6LS1PAGq+ghVRnQTxHVWj+02mq5PiAvQCtlM7jq7Ezc6uRbvE3yxCiJEmDRZOlGAVl/KffWxvxJes3EhIiRkniseaIY/0At7QAN9XnPIXO1NgFwLjBC7e7hHLI36UCrnPEHp50KDVL0b7WXUKasxTjtMHyrq0XshRSUtNjT4za0f04ATnVCHa8Vc0zwn5VwTPOHMv/m9VnCtX6s8xNGLWBBUFJa5FUO6qKlMWFRDqqEBgSeK3jGpUScNGqCZIZThx/CDFw+vj3M5e0raCrPViz0j4mFncnNGeUjYiEoKdIdINagi+2uw7hlbBThrjzmGpddIOC9IwzjGiw14t05rvIq1/Dh4p4BuL21WRuDBh5rso7DIE+84qJmcmklQaGLl1+uCNTWYh54Ow0K32EQiuqL565enKfLc9ofMy/2tHtpTF/Rn6tDe+wOcW4km02S1LF8PpHOCvjvb7M7kDOwimrsytDyflvT/OdKtXXNawGmYl6PGpgbSEz3bji+eHef+KSai5hbbQvKIUZEsAuqJ8mCVYI6msAkKvQ6WHMar6f8ntCbaARq/9NSwPW5Kolg4QaFvLlSCsqYHXXmMlUY2Zbo4eji92KrGWNk7+HxKj59nRJm6RsnkAiMVj8W/KL2wHb5J6JhltV2HhgjfzLZmtM2YkihkDir/TP8Hw9ygy8WcoiO9nEY+HaFEoiuK3EOjkmCwZy1mKg46356nKmTT0SVo7HmHYjxNWMPgqCUsGi5+QokuPlnUZqcB+rONkBQ/X5Uo3Tq4+yNvZgU+aiOIjSUKvWYtwropNkH+4J2X2MpqzC5jfFtzsU7L3VzKIFyR6NXkoVZMsxNgIsI48/RsesViX5jKQqXbfT2JA5jsAzf3kfXmO0Xx3CfCmjpCl2T0Cpc9iVoMvtlkWummFIwmL00SbqJibflhKvywnRzYJGmGz75cA58aJWLk/YaF/kAaYSi/uL3hfIl6uB5NejcBqWpJw4DLmGdAmPDw5srlzQj7lMQPHB4X/so8oV6IY6TuwfT6jcHsvV4g+5SGiERkMQ0muamjWsjCu5mHcKLFrehAlsfzOkkeLdH/DKOoHltvBHSy5Hj2Geefbe30akDwGAKC2pX3QaGazstrr136vSOji/HJ+1ywk9aa8tYUQSnHesqHPCqjGZqdK9J0AtsJc5iu0e5K6+Slql4gjEA59+BhmWW057tQab82o+b4NOXh0YNB0StAbZy5k+e/XMvqC7Pq5buG5k2CHiSRz+AUbeG1blmr3T9nTC7HnnRRSWyZEUrlRsUJWkEIWO+OmokiAnAiqdLfbi8tXGTWeaHZYK/WoMyLTVaVChn2OmBpO5zlOx/YSKffGcurGQM6UHGR3XMG3UYytlaPcBC1LUzh7X33zALve41JC63MeUmnVEJgfY9yIAY1/8lI/xOp4KEAbcwvtaBp2bF0t0NBtjjc3gS7OY4aiCrjv42yPmLdgLQ2K7wpP051HRppZdmqfaHHRytpge31Vbpq89zQKLlC9WNMgr4q22CYY34TYva56eH7kt/7+Kfhh41g3S4F3iyfmSb9G5o4ou+DfnGhLbYPh28Btg8VpWyrhl5y9hq5mrx5eJ9g8AkvWZJwF9SRFw4t8+MdPVKXyHT/T6JqfrJ9cfDZi2qnRwXezE9LQLIdWjq0Zyn4S+n/TtDAtQaz+Us5b5t5e+A/0PVv3jYsx828xgFk9KxXwTJdJJm4JA3yjd3GhNyY/+yZ4OJqyF32cVcJD0PK1Z2QFjoyF9dKP9FBI7C+BQZBor/zviOjVWOmFsF9T6w/n73fwvt7mjqNFapCxlXBRUG8DstthCsSisSukw4dpY+GW39Z2EQg3XS5+XmAnW7V/c+cMYT0EUc2NY6grMUlDvja0ZHNvDQI5FTQUvb3m302e28nu+c2eQWatkhafxYNpQgeNx1VvRFggaK2y8gjnS0x1e52QJWWJZhSV/ovUaPzPNkKlt5v8tLxd/YGGWwQnExrvmCKso7GMPRegl+yGtDQl8aNi3yqFTBApjNSQqmr6k3d2XiogE13xGBrUSJ8KEkf/lHuLi9Du573dW2iIITSXOjf63++O/X94IcH3RbBPoahDJziZsH9fRhal/xlFbBcdneVd59Tv80hHp31hod2p2Dho5TjsgFncl674mIgGeL7D6LcSxoRJcXIgqN6xO2FqiDsKGi8WCzXo8in4dZb6ushK9ZG59Chne+W7+8dw33Fuhgej5tMqdWiWFniqtTBjluxpOUQYV5rsage7wrmhA1+GDoQG7s/ReOL/2/4fWmCVuSDv5Qj+GBlIDBRcTCCNLtXmHWj0CML6+x0is0p1NM/+nV1yOLRB03+ZPrtKEv8C8teZoddp6yqDxf8RATjCyvMh2ClKMUd3h6pQDP7eFMsior7YStPVwGB0IamSvIEQx1qIQP50SaXuIqVdsmSPBEawV6qvfudT/CxPbOtF36wh6oZd8Jky1yrBWP52w3Lx6phmtk6LNKPsCYYYIyFZYH4B8qEaOo8IUI4PQsa38W5nONpi8CcCQ0PSMd8DCk7z6nhF3LCns4SIYZ4cEUFYT9oIeYbN6DPXInIIZWAEnBDpJ5qycZvOSVAgMlWxkfrQmx/OGNrpje2r4VEaxR3RStRw3w4rrT9u+wyeEe5wCoZvNcNTauIjd0zOQkjVTckLP0/cw4vzPfFNMiwvUDz59qZw2PBExJMJKkjF+zfjsc2df2A8eeGdAD+xsICSkHu9TQs+D0dK2csg4U4NHzMvAhU5uCK+dQStsGw3LLO8j93/0+rC5gqm5V/63M8ETlXsZip3Llm/oZc+qphQaYWRswaZbYW5MctlbR7C4VVz0/tQrfv+KK3Nkt/a8QKSQK/qWD0Wk0RlqYbySmIx3peHsb9okcBVjOZhWfR1rBgFrxJyGUg7Qtm7UalCvXFlQc3SM8LO6URFLXQ15hQKS4ggfm5Iasx1GAndNG8fHdJNgVW4H85ptGsUyt2Tv/o4kWBOjgOqcLOXcJY9xxJu3v0mhKauMXTAytDhpLqSNmcjcgb/Zd4RPhLV6vFAjaRg3kpbCd5fDGJ5FMLDdqjnx28h82RGQRl1+7Krung9OOhCZW0HWjpZ2a0ozwbgWM1wrVrayIgEHTtxCLea7RlSmw077V2Yt+TSjVwg75t9KgiWgB2Ry9rXpGzw55mFwShmgbQrvX19gzBN/5wyV2lP3cOPI5bBebERA3VfvZTi4Drn5AqPBgiuBmKJKNLCQsGg1FftLqE0q+A8nYFUVjWJcJbIt+peN/2xmflQde4GtCMC27okDP3B0i+5NK/ZovseWM7NsOwsSg4h5Fpv0ws5T/kZqm7LRAKAfFfmk6Xk77TqLnQPovmMmF3yCSl4j1ks11opFafnflUq+LE/5NNGUncap5iY39pOi35m5B5wjQfWMJR/ZzpcTrvbQlshj1Q7bP00xk1wpVfrRI1bL2PzuuwKELpgw1rrj+SEuXGUfm335UVj2TuRpXIxU6vepZ6IyddFgEy0HArhBsnemxHyEx4EG02xKnwiYFv61Mt0LDMYzPnxVx1xXQFy55CfsM3005vwKpqK12kbQ7CCRaignfRsoXzPerDFHyijLzGdACfvuOcB9g1gnIlX3Lpo181EjnbyE3O4eT2PUrgyYuS0hAwrJ3LbrKmmesREraDs9YKuPiobc0zQ1XyWPimEa42Ec83t1Aw5F+D6FSWr45jZH5A9GyKVbsGjxOeQfGcfu5VxmXJLl7q++yvYHMFMTg+A62wdb5fm9OvwjhoktC29REhP/bRoDLNMHHGawsfAlMToIUh7QdpIjvCNYBeW96pfeK10mI+GvJbIU6sgahQkNQRbKt0g/3D+mOKy8It5QVvmisUvUJ6kiZ4RRPfDW6037jWJvcmpYyNpSQsIwCP74P9W1tZiMLfZwYVSE9MZOVEnXaZmFYEKpM2CsZ8lg9ZEJ78AB5kq2PHKXEbpWY0tIv+gNwQ5yXDSyJG5P3fBtNUH5blkhdS9YRmoy3DqIQTIXIlhsfvst91oq3RrnMuDKaxAIxSKnvZ+V98mRJgOLXF9WuZypaa8szbl4LIPerV0td1Fz+HkhZXi0te36A2D4tMUHsDh8EcV8Ak2fUql1rfF8XtlYv8KSKk1meGJw9BaE2/9djfFInTpo23FYA7zS9zSe95p7OFfUv+MgONt4D8u2/4MiUL518sMuDljRDn6behETkzj89kcTZF6V/RkwrmqHMSfx86WolT/SSt/HR7xvrMF9WQtTXy3sGLlsuOd5AnuMzt2/O3/ZpbVcQeIa8mHDi6mTSXdmo0T9qXxDojq0a0XCEKbBCyCVbhankYLXRgODlKk+/eAYb+zlwgr2KwyGnHwiT1jxu4gMauzduYKe1MtyuypaDjqNmYKLuFAjwY/tcR8TZVh9LmRwJgC+t3u2/p6ZV2azwCxNCiIZ0FcKt2ZBIdUF7+MhlPwnnbsZvVtfa8gi7h08ihwWwklJ2PQ/cKoLK6zZ/cLbPAszXr4HxnPSA2wewisxC78AAniz1FIpemBwklwQgwjZpCWSk3itNYllqVEcasNWQo82JFsaMBYDdwjR+RlgZOoTFAyUvNb2k6Kxpf7BZCEa09EYSJF84vtlIfLsjvBmId6ivlV0hpjNvkRhYUFI0bscVfdyaDM+L7ADCNV4StEsCRg5VfnsMskBlLqxXZhyRI5ALebS/o0ZV4PT3UV7TQbWRTfUWXy+pbOlVuhigmuEkgFnWunfEmn6Aoq6UTVMtlFW8tIAM/SeKrDVHjNrKirAlk/Bt/RWj7NzycMXyGqSkAjQ1B+aRKasUT/mdXuUwAa2gpYJ9LZ1s+zAD0k4+dILutOOhOH3UpnwAlF5pM/euQLtY3aX2kc98njMM4d02bgYwsByiA85bhTffGPZ7qYB2DCxJH2tHm52jOqXBGboI24/1pE0gn8VOqcK8Np/nMNUb3xDlDdaxOzFYpet7gbc0+B7N1aToBPlhtIunKYXU2tnQ9wA64EdGLCd8n4x805bgmI4yASa0y5ua2SEL03dCEv4aQUuwimKCFP51DwDsFaojb2tdgaeRTMK4UPMVXrXPK3vL61bKCUAisdM1lmLOdBkl9Pq7qdvJvJCSGiua1zPr2OWV/ivhmTdG6jS6esA+pf6FUSGxGbBxKrU9JlIPvCNNCoi1bX8SR6gcW5SPSiKNruoE9oSnGbfUsoxiwZSZMx03mWhNqrTbwb7V6swR/kfhb3Vi7l/1a+b+wxukIdAjRN/ifhKzLpzy0bGUJ/1tdrRlpE4jaJI3/H2oS0b6IW34aNVamnvexaL6u161tRSfNmFGB9GNdmMtuKjYj7v7SacJdLBi3GSlu2KCisA+CDSvAYjNCM2e8WgthC14cjW2+hSUXDrrHeuvOSGqEruNUMmmzlkT2N4lEkbPR9L6U/UbfN+JICWFZWBY5y+WqOnpssEkFHB5XSIi9nI/NOqD8atfz7QfK0BkphmOfVL3IecGmkInt1jXSja1EEXdeCpvekq4K1WnO1TndM//Y0/r1k8Vjx7EhAMZzKOAyKX+lmd9ouQIhdozFgwKIl+p9HSRSSd6b+Ge+tZUnmelEpWnSkklFqVZaf4HITL0qPSHnVHIhfbKShmleeJQpsfAPK6+SPGs2rPwz/1ufjJvo+qC7V5Gnn0QNObRsdrcvMQ1Kgyu5InhTiqbkI686v06+STzS8MKQ2KDNurNPzIR8v70Ph88WQGcqE14673mB++seWfth+hL2gBfkny7AqpFtFoCIVpYlWaQgmnK5960qQLdZoRPx8Y+T6pNTtoRr6QRqZTChpdlQ8RwrYj5SqJqpUwVtvtMkhng3JOQRqjlXP5cEQwcCQ2fLC8TMeQ5eXWvlaPMUpjyYaPrV0oGCHuyqBMJlryBAuoaUJn+OwuNYnasmAs9+BhdRaoRxjuddYE+O8xFX2IIGLbNvuaXnsCK+LbRzSflQ0uz47ZvJyXO+oSfUGOrGbfSJhMWBWqfp8PUz9vzzmWvV9aRdExL1gNLzWsAU4gSADNGJgFq0OHnNKGxPLQ983AT0L/H2i88lVft+HGUoogvRZsmTO017r/roBvs6+cHYQRP77hd4h/NgmOYM8AZ/rmfeBDnTLizJUNd2kNx+s+/ExIolh7iCGGwvOidnFh9R6IDlp6YLEJG1sOuSGsb1+VHllfQ/xpU6OgrTJYv5OaF1w0mJJStsGJ+ImP/Sy5F/laAhhnXlAr5zmH8O+YnHpSk96PDRIYTcf7VazuzDPA5A9ilJJnO3QQql5+xrrw8o4E/8dRaD10rqXUbFtiirzW4uQdZXamfFHhKNVBKGZpXwNttk6I1e3P2idm9wz67Gstu9cSEtLq3FDsE1UWbtg7esrXWHowbugmRzTtRm3diyjY5YeIjt5XITQiT9fmu5dLiKAm6bZad9UEjivBZW+rcN514HxXLzhMd06MgI8orPGQevCv5O1WJ+RuXKGB3dfdDULsjjJqoNfR1tVGN+2n9uJWcTP/SQzLV6dNIn/OWNDxOn4QxmvgqZcT34nrZYtXzuniSqFx5zBn9zLWKlRaO54rGeaSKLyEZOr1Al6+wacCi/JYM54zDAyJeKGlbNEJAdyVeYhZKJTUK/igRwwBcxXqWkSPpKuw0mlWIP9W5mJoNJhTlI5+EtXt0YM4K/8w16pEIUVraOUPZ/AGNZvJkXuHt9679rlzQuKJKtA8o0cIllEYvq8b5KQkJsoMmO4v51hX//U2adUY+1UIdSaup71z/q9DNY9Ep03DHLge0kO+OSbEOJiBc57RPj7xROAAYMNbZeATYK5lOU5m1iHFMbaUcQIiRIVZhBQxc1PJqGaJv5bAQ7goYOlPpXwZJZ/Ka3gwvNl3m+73D/iYnX9Xfa4UPqMtqavd5WcJDB3pRXe2m2BkUxgaCfkmwsWYxTMoITMfASMZLb2KXYXwdMpdKJT2o04QltPzoaIQvksZ4edKdaIFWleXEgvouoDYgf6a07Pi9mYRvTxJ9g4ydIX6Oas4tOksXilHKfbMsXQ9B0mKnKLAmCUzf4j06bEi9uX4/LUIv7jrcgh80A7UUB/sDfeJXwm3l37SXIfskbd2GmaTjDKK9HYUupB+7lJxhEjim7FqyOztkhBvkph/CCOB0R85dkeLCqSLD7hDAntpLKtVxOC98umkvuLXv+xgDOiuB8ougxCKSdIpmfjKAR9Oe3IytbmKPqFFjDhuxP3yfdYewXeB3H70UL+aX/5aCoEucRxOxFGstnjvCW8S1PPHViCZq+B8Y+2+n1f+eHdieaoqfs+AO8yWOrtnb++3UkW3rXfMPmAWd9FMy+vv3FoVYYEGaGn2qJEyqtw0r3fRIr3ohYAMdLOTMTtwFGLRRcrMnZGZSlo3GcssgcDEaexjeudvbeYc0JbGEylEM8l+acQMIr7oRZmiRQCF7kCfYLlUXBXNwNhbUGtVgespuY+jSn1wQmhW2Uon2bzN1xYGY7lM5JuLVMNGH1DBMa9L3dhEnFEtkHtqtNCjdJyF8gJPmSiRmGpr6shGUPErWqxxKAqhd/aB+mh75fp85Hk5wGouYvVe+cLLYvOW99RPcQadnQBtYotP18zXtUKsGAudLo2QELmPDZ1ejgCvKfMOgGq/gygRAUrf/V47bvL/vEIqyR7s+fpLiJdzIslA6sVb27pXne0JYDOcIVDsaJgz7Xs3kAIpZ7lfoDwdKNIvmFo7aR16Q1kF0eDWp8mgGmq10Sqs/V5yudzuLLSUuuVHBAIAPZkiSc3Qllh7WoGxNCDe57WX3B0NZ6pnRl23kllgDUtsD0MkFov4oRZko9P3X6yuT6pGZNaUye9T6Sg5gvld6MjotUgExJCRwPUb512N6nVRUWNjGBmqJnVj3/SSJCtJ7dHJaiyvUIN4BnYJkYHJEAG2hEloP6bTuPBUOINydcJrmXsofl0wb0bTm4m9ghXWU1tC/SN9Cd3IewBdmaP3fQTbKMloKLR1dGjbmm/l4UrhEtCnrbHEeaOEfh+6Fs+U0AGjPJn7zPhJ6t+ALqW2IkUrasc3j4rjKs2voOm/Hiaydj4wQhF0lbDD7hkLH2nNEbaBdnn3TwEqDwaAy6BSolYH3iioSetc5fIHwHtDpVr1tXEl+qCA2khOfmZlEnJrEIO9ATjLuj8ThoC7nVnZUbqI48Cu5Hbsvt+Hj++jS0CvpffRv/hnkV3Tm5RCXrHO/PSqFzORt8sZs8lW/WkNbB9MLtW3yyxsSChKxDnkNh5SeIH1rLPZjhinHKgCAHJ94Kz+D/vXCfse3HlGT5P4CrAfWlJud1eDn2FKjBAJgkFIJOxsA8aKPl0RgRNDoZZNDFNDg9X+iWQIfJ3uNRRtG7BocZ2QHttDhQL8NhPxu0nUlHPM5OCl59FFvP0iGJvhf0xpZ13+jVBmH0E1fPjndF/0u8Pkda02JHgDhhcNkMiU9SRZ+mc8Tef4aJ5Nvqrt+Mv/9zATNjIj76xK1Vt0yIFGK8WLgU9eJHRt8+770gCklbRpYl++M8aG9fqbhYVD8Rj5oJ9Dmeg1dPlG5tmEWkgriFSyyUqy5LEhVUR7cpjGEHn122/5Ib4Y8GaZsy+DhvLSarYy1RHIS9FzoyQFI4/hgswfDh5xLX90HWlB5oQ+16DKN9jbKKV3JwK604aVzC2C5sicBRis8mHf5RdX5VadOvqvR5ClV2po8uDzCj4DQ6jPuOGTLaJLfCeFiCI9XNzBMKhns+dg1ZSLtlrpbANkMnMHJul7SLloME72Yc+Q+89PUidK0euryllQsnB0mBeD6tMkrGsYHw1PnLZl4HIoKJKCiNPDXqUiPmmbVQ3sNw7CE66GEfIOcV0gfFmCr9CIXhp/oJy6UqKfdNhs0E7LqItg98LeGmdKrAR0wVjzRMvot4NdemLx+btuM2OIPk1QbUtwR6J5wdPk5O4DrkpzAGLyCraQPeoZB9LWxyw3RQAOPZw4DDCmCJ0wcTQVt2OvlQtv4BuRj43VfFgYJil9SQuW42wF6u79Fqkr/KkV0kxv06r/OpN6vb2PRshOvg83hwPfqVzzEGsS2O7zWZoWU8MLg/9NjsRZWn2E3CiaWQdnXNOSaPEMKSZQ4oHnSkXKzRcchVvID0fiovkVY7lndOQgAF0PKgbTFUd6p2InPf6bSLjpANvB8QtHjsEu0D3J0+VwEe2sv2EBMpSEez9TtoIRdoqpfwpglGEMc9fCQMM+NxnslRwji5eUjQ7P+vsu6UakqjJeMpvr2AQejCJMGAc37bCRoXcYdDMCN29hu7xTaUaRhBYaES4VfG8XaeuXClBTcv1G0pyttAPtJ9VTpLL4vxI3F5aQU1PXYbMp60FT9P59gxrvyIMuqmSGX/1MQZGRwUEJo2m1SCDxWm0EMU2YhpCACwUKGvIfL5J1OonjkjtfIYs896w5cwPBXTp1q3H4shriDKUg8bA3mYIY5v3a+Fc5WffdZTfYuJV0tCKWylDOXhbz5e3UkAd/ef/2XdloU9tnHg7g/1IV82Mc2Qp64r/2dIkd8mTvReAv+dJm+Yx6JbY7DiJdMA07nqNvMWkL6u8tVqhxMjcCxqquRntdQdrR0XvnlAi5MDy9KqNgu7rovgxvjxTXBtrER0aoQJakx7P3/gzYWufY1yyhpds5CXwAGPc9IDzLybRfcXrYw/byoQOBToNjiu6kN7FyJ48UJqGnD0+N+QrKemJapAPSWh87xgQ3X8exHsLv6r40s6E+68C+K9stMqfAq5He5H+dSr0+0fEpz0v3BieviBT94SrMXPwe6nhyBZ0YvdRDTyn8V/hc15ERFbgoYb2hRI3ugzmvk2vLn3kw5VSPZzdlGgGlX+Fk/fb+Qt5dPthcxwWeaLNF2scM9jpC+/3/K6O4lf7MA8+Otn0la/j3d3WB0+v/GvSnUzOyjWmW5j1SUzVuWdxztbzGjTknG/AfHTZ4h5OPsGeZpDwmVuB1kQJ6l74KMP3jm6NQQO8OfJDW10MT2JLJXcNEqHkz8GBLdPCsHUWGot3yEwSzEf0Dk+E2ugPKfYfpHi9HUsrdL+z3JbJYyEZ5Ej+N669e7RhKZM/Z4xoYYSE+Op/HWs65ScHWMsGBruWTXSlymgYmpxX+3kPaiPWkePGfauT5nXXF67+el/PqXJwkElHW3k3G0POM0qIPU4hwaHn2YHz8b0guTNu4vPRgTedU7y+8KZxlAIajZh3/GWUZSbNH5WqFk7dMt6zbH4mbIWr50SSuUsMTOugHz/YVFlKSSAbUvhrjNKIb88lUWg3rJm/FdXA/2+zYlVZLEn9UWoY9zz2S3O+5OUKhfP3hE8ZyVaNNv3gpqiMLcuQleicgj9+3g7aYk54YzI8EafVkkpJFSKg+E/us2dmNFcfHEoINXZZKaiIoJ5zGsHZe3mfzQ98WzAWo+EGb6xJD/L7opGrds2qhUF+kvdL2faxemUG/fgFGEaGBhpsCEPr35duPASTILJ5om5c9fgICrVjb5ne7tMmj65yX7Mad7gQiqvxCCs+IuaVz/eBj8AySASO5IwuXxqmilJbLVYfjQXQFXmoDl6sti75by3SIHwLOymgf2Pnq6Oi7cbkpc9NsZpW4kcPdZqt7lPXoNckY0iJPVtv2MaAwNBnmARCBtoo7Rp47pnr9p2zGpgm91bMWW4c/pmpQ7xIjRENUEIIhT1SM2qXyLEfkiFq51V7uNtkSElrVekkGgApdXHI9q3Y5TNSARHcmQ6ouCQ0QrfWe5lJ5DdCAuMa7D7i8dKu59xo1RSnVEZfEObxPyPbj+SKahmsKOp+n6ehHNV55rNnptmkuHT5VjtvgUZcTSoSZym3D32N/fZqYoWG61LM0lu39T9cgR112QZzXguMk1ixbJts0VePQ1/rvPDJPPyeFT9A0iISawVVKeoM9xdndJKWXnUewqiAOhQHwT8u2MMva+MdTdcEFysoViSizSTuLSHuPBSYhsEjCVjVbv63aGxQARk9+Ed8VBNOz3LUsH0nw33kOPfyXSiKf1KhlFVf5KZ0VY23pE2sihXfXvsvcpXoBcfgiMSAlUZJX2IVoI1r0IJ5sVae/a+d25k45i5/O1+bx7BJXzoRv2rcGystAtpon3yUquxfIXU+B8KBHq0DFqQCd67oVapGfqNo7pRdA+UslJF8TkyCtRbueFy7WhvS3lmhGwngpoqQzDCzDCRK38+NtAH/cSakcx6fsetiwHd89xNJ7Dal8vfkJxBlxOD377zshQ1J4rfPO1I96mXaKYi8C3/lqGVlA3JXuw0pVukYn/C7nFcRJjHdSMd0gacyIpmYqToTiy5NxzKQCwX5uJoXZZRXg2aWNjO5T8WpfdaHt1fglEmWfflOcmC6dFqMBpN/rPXhadgCx/Cz3IaUXa4dLtwc1j5HGsSG+ZvaNXLlF/s1OyhMaMCuMPPSZ3OhCpzYgAuCW+E1I5TSQXwrShwF4Ihv9lMj+LrElutUFq9Nv2h6vhW013GEEucqf3RcYNTTVB7xoGBuTctPISkf8cscnx7lv85svZNLwSLs8GkXGdSIB9P18ADFZezT73o+GtjeKx56L6taTRIIAKPY6OLdZw6wdW2gN1JeIuPMr+9x5T/PJTDjNx3C9T4JV+WCLjgB86tJtDWp56edJuYyo9MTp8Y/zoePp12LDB77K5fUAogO51pBY070pNYTSev28r91h1mxxwmq0B4YJb2pinj4W5+HVsmUZjs4k5zKXd420HX1nK/waV70mY3SlRKEeuuW3763O79Z+w1155Xf0MO4Lha098ey8P921t3FsMCY9HcWGmVeXTY6Xosni2qmQqbid6EzxtUw6uJnPFa/YCOTNyJQRUjBPp/ce+wc4Iz1v6OjCXj9M3ia1HqIGrWTZw+eWaKGChg1tLdsK1LwCYilEkJb0iP6i9pdgWESIAQjmZjlRtL9BCnoYRQ4vp3RSuQrD07IFyelr9HWTZUfFS9+ZnFczu48lhrKEx1Asd4THN9kCVr4lr3sDu4XzGArNQ99J7u1nA1BtlL6NcWtn6SVNaiLCFWNG1UnXhclSuCKDjy5+WO9v55nHlnFEy2jTqL0yJNn+up6I1c3Zqk25NX49xPlxvG9s+sozqDSiLzBgeCcMYD5vAKuMZPB9THG8gRtp1eIDEnbb4xXaUknx1jzcTSm17qdSSGd8pelLTgmWr1Syo3l9bHSe+pPuasYBfTPKLKJL4RxoGMirG8uJCYuI9CSKvlbzfIhoA8tJZ72rnRUTMhD13CGR3PTqokvN4k4i8+Z8s9USNvklSFcScoTnS65+ie0a8SN2V34ivwiPQZUo2iDOq08D+4YhgZQDRb+899Ac0SQJl59+2q6chL3hvvhW964HlZF/jwbXcI2wUOPfsARSSn7JVQmSwRfqEwn6FIQHNHjnelP2C77zAHh7HpfERCnPbP5CYxHQqQU7+YnCSTsqosUsJMdz+46u+8q3cyji6iua3Fw+iozw79c0qp2YZxVKi3egxgttqftwbEPTcceI12XU0qAMeklawvfW6RlrYXtemcYia/PZn0uaEuKBzg4AKD7ZPYzhobXsISDEOiCcps5SIVhIHRaXbmFoCE6UHpCnIOOyE7nsFSr5kK/yq4iIaH69wZtfLQ71yvdJJB0b7shFfWcRO6iPBBeu09BVh+1FORncgZrCMjiDrjtpLyEFaUKjp3dUwSjWJbOKYg3zyHFwW3Ceo6xKy2vWHKC6KR9T+YI1U80Y+JSwEeweb3w981t8BxRBcLh4ySizx5bdBdWd8oyDMMOyCGbnKS2qpmEynq4XlFW7ntfxeIkXc5B3TZvRsVJ2VBZ1uT+K3XrWonoxQgxHYI5L4notQnMMICjrCl+gdOCFyzc/cPRxhJCIoZN69IqRgvTS3ylhXkDhtQSj2OjVK+w3JszzofixoNNToVm4vzDs7j4JTGX1J+9W5iS5pqu284Cr/HToxQa7UpfTEoeHg7YVUzANPKIUqgvtNuybcY6EBYHsVxbWoXtUPYk0wDGD+rsWn8KGA3vi3J+omgW8dAQNgi28Nrz9LN/RYaxCwBTBdJ7PWG7bkdSOWmsX/Zj1eWYaJNM5Pj8jnHXOcikbm1JNGr8dTq0uqEz7A8LniOnuwrKzcZVxdwv7ulXTWyqQHZT4WHJR4zsgfLzR8f05LXsco7qmM42weaX74J/r6a+sDIGi3loanXGIMDO616cXRr1cHz6pN72G9rPb9Ilt9kdYrb+OvF2MljdBJYLfh6BawLQScTF+YilHsJCwSRecXhtZkkbEv/Rt8wvvRVTUjG+Bs/+RmxbasdU3owxcyEmPup1DldgARMM4HcLLqZiMkZQgrQhiWVEd5w+AFsHX2tpoWhZXeHmJQA/iKtvdBttX71QpQwG3YeQZRcJD2PJOxchri22nJabCDV72p8fS8q9R0JLElWuP54s88hKxfdQa5eH7ih9hG8SFBQN2w+b1iZ+IujZBR/GbDwnQKGSzQCbZGF2RfWW41Z9MW+0VVly55ShXXAgQhBOONq+PH5GzzLAzbAs2RHYRuhse1H2I+x1MS2NgUKVUdRSgkMxIdLgf+oW6x7Kp4cY4vk+7LQ9mJtDfP3t/Gwaggrz/6q0nLBOoN2/uiumug95VBb2OzyJkNZoiGZ8rVbPumSc/mGXAPDBJ5UWVkaerCraJBZI1qHxDx9R1SW/oC4rC2uC9HUfJ9nAeb5uKUxHUo2twn5RM79fKACBindsdNCKRkC+OfIk4xbCJLQtxwAGratg8CtjtJ/BGoDO7Ata7rT4uwevaUiDF2OdiXYEky6/vcfxHIh6fLMobSjRfoGB7waszReuHnhUIBAzOGk/p/K/ifqbvQP8iPJNI9/DL2E3/JzDiizHE5YyKC7WF+f0xLeVmEh7v9tQOb9u1mAXW2RgYxwSD4TL42KfN9itm5kPZQ5qJNBO6e2F4EECuLaSu+T+UkC9+9xBQ48APPMxfRH+kUQfzbOSLdgG/rIlQWSP0G9+bIfDhxN2EWE9VdQqWpMkoLCxWi6Lma64dx+MZm++5BXoRZP5xU2a/x+HpABNiT5Z4+Er49jwcugeHAzRcHcGFmYR6QRo1A8tzJVfZqUdC4mW76MpgykVJYcwc07/xgrYnSRVGNcy5tUvUxo9AZFJGMH94hQQodMtAA+yRpK3A74zx5OdseAmroKKhVLueBgHAJd07BQzWJfjnsbnjHNsTZpfqcQ3KXTEeryNf3PGAml8by6Rgw6ez8iROmJ68vg4XP7iR/ZYuMLnOVk+SEsi4G3I0aGcFO/+agw20U6++znc0B6/K+DbpmVa6dSncCRxm6gGOoHJSRDuvEChNylp52rWb8nN2f5FAq4o4BAaHGXTM0uI584EwfHAP06D9n3lMgEcBYXoppt129PK3NItlvGz4rCnt32UX73wnqaiEJh59Vlz6mknSDaYb9aGFEggm5f5R4CXo9x3QeXJYUcaqwI2Ttpl2V/dzKaO5hYSFCvXMa/k0iLf/BprHa7G9pfuJabg2rK3RbJsin8u+Oz36xYZ9X6/TCwBq+S2AT5CMs3g0iH5v5sZdOZW9WfVGjd4vdW3aMXl1vK9nqyB33EBPwT9N1enOhy4jYZjg9i8JixOCmyUpM23wGUkkkBnobZYw1LtzSko1MDp3KOa8a9N6L8NyU1Xtt0KD3A+gMmqDcMtZx+E3gnjV/DpqH4zC4FuUZ+KqmM61MCsmoF3he4P+gHKFnIsHsx+v6YZdim6MnS65AbM/sTEzz/7V+uv+wAoV3qQGEiMpc6WHXJEYASAf2x6sB+EoYDl6+it3xBxvAbiXN5if3uPb+qQS5HN6fA0PXZDl+Umha7PoIn42LQxNl5RITtYHaiLKVKSGf8z9SY++93bAP0MIlyI9tVowIj3dLdnjM13ckBu9K2OhKMKH6RZVIovLvyKCZyntIiXnWiibejiRmBqWpaQt6z0mVbiNkPHYyRDVXPRs3y6yd2APZSzFyVESYcF6DjXtRKsFa9ari3Z6T6vH04Jpz4uNBNzaQ7CRmhAW8bsJ61XMaPThkkU5+srqgG2zxZOiD4ApSyFS0oeZYHPfF0B8V7ISFu6vEfFlQl2Ef/Bv/RgqMm+6naLNy8EQkfbxGnegNTSgKz1drXIH9D2Fa1OqT9JgaZap50dhmyjzMtU577me0SRCUIijkuEhf1sWvhtJirGb85NBRkS0BS7IU349Za1XnfPI9U7Jx3saCH91ltAIoqgd6EkJAxOG4vdbTr+bb852BDPLuSxNfkHn61Mm7eNChXkoC5wNbhstYBYA41qraXPR1l0rxk7xylfP9dc7IVuf49KVtUUWN1BMeTCPEK1hUKVyfNOfRi+xj1sh4z9VOX15pZjC3/e/ADNGeYiZNUGHboRCFS3/NI/lec7VNXyGAikiRZ5+GZCxL/7nYwdT25TjzL7Du0Fzh4LwjoeB19gOSoPyJ/4mTRsrCwN1FFH1URedqiHfuw+gqATu4sUqhzh8PXW/kptMoNvURcmtf/5mv0S15/NeNSJzBokWoWlxfu3q7t8eL2ujAs2I9zBOYmSteXTesZDMt5K0xRWGlGIWfv3hih8LYn0R1YdYMFN2JVNTipb9X0WW7nLFxlsxMJBfOR9KD7mXNB3OG12+tT7sCYKdTTYPO1vddrTG8OFV+h4UrlmQ4We6fsbDFtiV6aphDZP+Dc++fmGj7K07Ago14ghMgxy8m8RtdWffyy09+3vvDZVAAfHmKu4xXVIhBynZ6+P+yiOLDEdHlJ4pLzvV7Gdndh5bF2CcO4aY6ebOVlgzIvShVjp0pSbCPbooE7SkSc3UNW3cWqMKCbq56+MFHaqrxH21Z3sffLvRSjBf9zDSuPyL0I06He9BjGMAO2uULgW7VZ3Ejdqmjj13wNsVpyveIxBv/n3gqM6n91Jp/k3UmnOQmwoXoH6S2xGzs+CtrdgcDz45WiyXc7SzVtjZoFrEFUBcdSLHk3UG2BG+mb12lKSz6UdDlFMyjP3FYAQ5WhkJVD6qzfaZyuODfUm2PeBiS2xGUQqwY6A94EkdVnA8eAKBRJFqW/x1R4bBs4dYzcrrlPmAzpIlQMe6zq0oFzqNpomXwMFEr8K1RWmTs6F3PpqlmscIO0sQGLG8KHWePQc3neZB0afy4InIbAg7L8R/GTDcfnHtmT+h4c3ONLHRybQBlUjUMPKIFfkxDmQ8W23Y+CCarIUGu8naS9ZLPCzpbMLHC+qNdE+J4QvSN+n03su6qv4xuVpb5qDeAXY5KSPcq+KBwVsugWb+4U+ceudXYISh5NKRkxAI91rSlfqNfjIL+qVrT7bSRDxZqrDDoj7PRnyRVWmoyWg8dj2GEKYwQAzAApwdr3LwshacERRZ/nobG4IrNGXO59gyUEv0D8zZhTjunsCsBxnzC+zBuq8+xCuf+4a91yJ2cP0B+nvZNwbxODwfL26fUuOFhIy7zbS6y3qaCM2X9V5euTkp3/NcyAq48L5dDKg65Gadn9i2OEJ+9MJlNOJkdDK9FHSKatjobcGHgmkSNQE2GvYlFuAMMTtiCOUJyPWRJo4U8iGOb/CkaJsSk5b2bjv13c/2sfx9EZP1buZwTCqg+goIiD762CK7DQuMGGRU4AkumUTqncbqE18jrfAzTqLgtg0KIFrzK+sBfzSW5Tq374NkHw3Tty6cEiY/GA4T4pjJ4ovGSKXA+5dMlVgOJblWFnyWPnWm5BpGGnYYcTF0T8Zjf70xj6PK6ZsTdQEK+tQqWV3Xxd9I85e605flB9D3xpSNgTZuzmBpazeL91x18W17KcEsJ3w/OaOWs8X3NqbuLcOAMg71AL38EP7zYXTe14j9NpwEL+f90LePWLEe39hahAbxDMh1HBimX97Idy06+GR811T7KJsEEaUYRp17p1e39bSuByUObUlwIscSl+HaXa3dFCo/rkJeyXGUg6NfllWcgY5lKfuLOxo/5dDgMJmuYDwHt1v5yWhdnQIxzJXhiV8EAq2N0p01xhyq2Gpk3yEbnlvgYKwnd0K5lljsbWjHqAGsEBlVYK6RQdFIq4U8a372TnOeCEMdI2DkuZmitKA05pRjdAGH3dWq4lD1ATcuWmisammuNSp4Uw3AmVxt0VqUJU93c5BVbVmSLK5eQkh27lDMQ/hS4nAPWJQm1uzFc6M8fP+C7PDK3RzdsJU7TaNJa6mKTg3RCtduQz0dtoOqCzNKt93q2NHFJGjOqLjYLpB8dE0lgbZHY8xHf5dKnTSu3hJgw79x6WMBdFYP8/cnZSYYto66fEWW78dUK3d7ELK16OO783iiaiirlayi4Isb7k5jbGis5rytqu5VmHhxInOmK9ImLjnU7oCtgB3cZvbrfnIgYFhcJEtN4S8eCwnVRz53nZGpglTGLJ+cUhAuGHMYBx5WT5oXEr4lQWBrW7RXUHAiF82V8eFYF2ltyfqt0z7gRQTNBsM/MKYZ5xyEYfYo1N/e+LYO0IBEp477f3GldcJhyGEHMi8bw06Tx3G3SyfDBlyFetBDo7ZR2jdld5rT/RBhnkMvpNV89X52gPkGNpJJfkoCqT+akkT3mA/Z+eW5y69Ji28xLDTGvUNldpeUSyxcseLNLoQzeYFEoaMhRXXN1U07m8RPG8pfE4mDtKpaCT0147Frb8PXfUbWNdt8Lhclz/eFRxpgzZwqdYUvBXuEEiYi3VxAeHFwMYWsTWwavq+wFTLEx/x4ByxM5PN9HRDQDGEIMBlA5qRKEbsV2jXMdK/ICVTgYOybvjpru6cH/Uw6kD0dZeins0TGSoB1FBK62shLTn6a47ipkhNfzhr5vGS9nhocGAJ4Y2cf3hra244t6pTvklw4n7ZjMENrlhDUy1ZkiMnRQmaSoGQu2kTVIa0ZGIbQOwLPUgL01pedOG+CrzCp4Fr9qjanbzj1yKClrQiTsO+AnqVDnbotmdxxH7SSvdHsPd++9ECrn86jOqA2CL7NXKOjykYuBYWjq7AoXNr3P4+tsOJiAmrNn07yrvLrwvUawqMO6woTGlGh/xob51xZDn3LOigxcfrlb1UgrRrPvvN5gIPdkvgqhHFI5u+9inAlnbPRG+Xebwfac9EHrS/vxGGK5qstguceJuyWRiaIpwX/GNV+0ASIpESm+MeDCQCVG4R4++P+18KYn0Ic8ti/wiQrfLaSMhcAnIXwnFrptI0EnW/gjJJUzdMnofdLajCdmnB0uesVKOBT+iFjN8ZSVuT4sg7CoQvhOsgJDbkSHQudB0K4AECjTKIAZ36Vuvx4L4eqUTEu2HGIeZld0iyVeDufyL4G2iFklL5FVFZb2pJdq1Oksm0zf0T6NpYWy86aDGcgy+gmQkgWRoHEir34JTN0lotsnMU/efUvf6F/+3sgts2KfCV0AiEdX2u9Ywz+Iua+QiR0Q4c57rBdB3wpaipmwzPMEHONhKeufxWNdJYwqXCvk8sW/Wkyzp6nc8buUPBTk8NeOPNXmQcdZfXiSV4m6b5GF0cd9n/oUETjOfBoJZDHOVB3LE2qBsD3jCku9VY3EFkMn8Lcm2P9MzzzE7HJjSQQ4gYMJMy6IOonnQFbDtuNOPBF/MgXoB4AMqdvRUkfiUmK5rG8bqsctxQDXsaDmT5mX9HsY0I3+stV953T5PVOPWRuhvyBzx6c5UZUuFMAFjywjleIjga/NK+ELLmGxNGmoAz1/gF+C1s8r0un1YfF4kiTwUyiXKEjgNBbpDhcnOm/9dMwXFeKl+yENtbdQ3YjIdXjulGi9gCWOQ9oY6SBTG6vDT1FeNY+QBV1KsN2M0/lh0NKChbDYxRu5oTPISjjisFreFF8N4JePGIW+lZqNvtLlzWdTm+bCIehddxdzUhtF0+drSOKGyAjDLspWrujFZOMPNSB1+GTlPrPsk/2Z2QbfzqbINGGk7H01xiTzsYzmINXyeF8jYNxz5jLNY6ufOOW9K8KzqUV0v/QyhN0beOjSpjh3Ds3DDQCWLmWDcRWNWz9byONYY7Lm6ByDsGOXyLCHftzupmTbnuGk0hm8D7Mc0MtRNUhFpKrZReQjQQaHbCuC8qoQzuZU9MwXpMg9FY2igrrJJxjLyNrAjIGL+qhaatnksmCt94DEQjWuMA9fXQwsWFLmNSSUDHTNN54mIFxBT/2HAYWGpv6Yiaff/LbvNvjGuUPxdJ/VmdM+p4OHOOCbt+jP2RrwfR8JjCSlS/aT5XQBwMX7YqKU9aXztEHulztZOKKoq8e1v3iRC6EF/zzoHdzCtol1heOnsms7rCbSTLOzdsq2xS1ASZT5ZrQZdW2cEUqQrMurRbzoySjYTrnIBu6mJNJ0u9FYBLrIimF1Sx0lM5pQKgPDHbqcuGkgEaxFnhgcFYk5hLNj6Eg53Kz3IPncVOhGPlUSZypX1lS6lwe0RFFz/mTOd7SBNmaGRUld/W7ZbztrTYZP9pq8hrSgptQjQPFCS5MYuIw0snTOubXox4pkQAAFCE+6CHBFDShwjRf9vErF4UWhtHSE+tcYcH4VhcnfxZRxIYGKQDrA+ezOOidXr9RTjg1SigDvT3M6IGgdi0Hn67OefVrh7mSF1iBhFDEugqvtChu2io4ZQENVO9Zy1Wnax6LxELD5QwsyFcRNfiZ06TFBXGKEjsUDRmi7TK4OZRcjFojKw1be58Ayz3NG7iDN/5lzd9mqI6zO7xhl/LEhPLXpTTMLqgyrZusU1TlXh0grWybRGtEKY9STXiMIuOX9a/2yPtT+A4A7ATfvo8Bx97z3o9z2XzOl4S5u0klt55PhIJn9x8KijO33PtZ+e+bVQ7+6tBINwZJ/H7ybGYOp0k6uS3tt/WQ5pgYPhPqF0zwBxt4CdVLLXOdWK/McVMKx1JYLi2t1QRc2eWsLr9sF6ifQoecoaxHPc8poJg3ytn5b+aqaYb9lgLVmD9lQKZClX5AwGU3Q6UIQs3vt3e3SIiNe0+hq0KbzVOJt/n5vVHEsJ0dfzTupsGow/QEpX4oMYna8UOpfq2CdSj722OfhSU+mU40AEK40dQ4a6yb0gIo575kGCNP9BzqecyDiUfMVft1Aha6mQdj0hz/uWlDIERc8T8T4BCWBt9EFfd09tfAxp1VHTOQgZ6bcubmG+TZUQLmHD1Oo792vYYIU0wHNIj3yUri9taXzmybC1xshCFZMksevATWkwo0YH3Qgx2VrdaZNu/5pvHSKAvXPSJDPEF51OD8eYUDc8svvEShbD69B4jdd0bnqqgecL6MWXmVF101v+4ZF0l4SYlikfwQjpMDB7yzhw7hTtlmSdeDUYC68Y3PVgd8HS4vmFkZxsjUO6qOztlkCKTZhrlUZvPKxEUUwObIj28ag0xtFq7+baCf2I4fReIZRAkavt591pzp7hyIDP9lQwcgsCZVVnBCDyGx3BPQBGruW3amarBngls2h5EkSeL0DIDscLDUuOMWLEMehM5I290pgDZwTE1/484mVjAj8+UgvFc2z0dIr7R1gFdQWMjOv1SSJl2t14PZhtHaUa/mWIaWV/cDNURGUcKUczALgR5/J+B7CT2HjZQPnWFM9ujUZvCTC9ojbcImTHChxDNvNoF7UUblzULbfvatUyNZKhQMcP7aYG/GaP2iVjUji667nZEiuBARnKdCgTtos5dbjFGuaCm//KXnLPeQ5GqjrYhpIiNFGtZ/b3Zz0441+hUR0+3Tq6a+onLsivcy4wS1m4ADowUgX+JUFvIX7ECrWwQyQsYJngTsFnvOyPAmd/RpG6Hh5T8xHCvfm/2m1LDhVyT1SC9gWnOU8kmZq8Wpwi1UtvuGAyi0ewUefTR+0JmFLPiZoVnrr97kWH0r0TMntO/CTkGrs5Y3W4cgCj5XW0vRzKeHONjFWiBAZnuGhS01KWn3t2Vzy6bqqoTFnPaSqvqHLoelLkaCVi8TJeY4ISSvdKb7cdqjfCKalX//jhEo52Zqzp7hrZZo1hBSodd+mwqvve9Nl0pqmwGM7gXX/iN6EkPGaFhhQmuqQJnWkG0utX4hdtsKldHBU59NjlC+2pj59+rkx1Pw0VMkqYcJTA6XTY2y8914UL2Cbc5JFj0JjQ0IKDDk7NcPWAnEWt0qeuHeQmhqrJfC+VwlNdbcFf7HytivgBmhk6e1SqaFWjp2aAUYl1bxThBvFNtKz6tt/CeYE1oaHZ2UDBCmeOG4nQWX61G7NNPrz55BOtrs6nxuwz/UEjsXKljJERYoA46u/UGlxvoshKYJQlbgdBbtZXE3LckGeW3O97szK38Q9mt5hthOKe2f9hLU6LJknfIwUEqapuiAucIPJSpo1ICoXy/QhE9mXMVvsVD66QanmCc4zGNNv3ohrG/fpGCYqdqRewNJDmqhtcNngBp1z+WKcHDjeh40FX+m7kF3BjmbYoxaZcKCXgPQZtLEKa+C21em3CnkrzFxPeQZJbtyeCtDbpE14Wo+I/BR1ymHKz3OMXbfTC9BFhlMKjJpJH4FinoesJjjaNAmvgNJPplm7RVOJ8vDHZKhI4a1FjOQljVx9hweJtZMLnzPo9aTiTVY9eSW03QscN8a4Zhz9vL16q7wYaKr2e//Tr6c0pPiMeiSkuMtPw6DLOt8VW/gSxWGHn9gWcpYFMWrsYODEVNXR+My+pS/9IdGADwacaWVKgqO99ToZ7eS+tUPHyVPzY2O5+jz/zRHhE918P5V6WSX6SYECbcdVSNknQJ9lr2z9u6V0BzYIvJebtcodXphEdQf1vECq6rLKoOMXqCzBfTjnsN9t0NYs6L/qzoj27WJZMpIhiz/lWAJ5COPVQ0uv7bYkwgOeICeOwfvlWOlg/V3v1wSrzddzRENjRa3fOXvUw4fXYYbZBdFQZkmiIkD6mKKrhrVveVWVaj+CU0qDwmmOOSsBvxrqidj6YUhsmpg7KdLAgQA1U3P+Dk3uDbJbZLKsXuLfSnGzOUMQJl19hZ4tAjhRgspKEEsn9QzU0i6JbXGaOgAorrDmehp5/NZ1ECsVYtdEvn82FXBp4kSRk9ihsSrILXADy8J35MKV76QMpOAKGhmX2deBESgVxNOT/kaOf/s6+wT2ZZAryw2rhavqMzqYhen6+aJeThIQSn97Em640OR6jSujQRyAfJx3eNe5iEFQdQTrQMUktU0PfTRSrYujC0aEg8TmzLBC5oyVqhgtta8uuKUACi6WsmgBFvPsOUhGcYXiwhW6c2hWMWrc2iywkWY9Corktbs+3ZPfEOKybNQeW+nqSQs7Sh9H/HWJMgiQkdi64o4YWko95n8xml1Eyke6fs2SZyIvYcyQ1yOKi/+poMu4ZlYoTG5g448En3DxNKDE40kH0EzIuC49/zi5UP+dV5yVz4BOjWSD4xAA3T0UzFo2roFusSbtFWfgjyoZO5IF+K5Zxu3RSzU+9prx1eh8ixL4ANZAgBpJ5kS5SOouFdxnrb7UARMt1Z0oIt16F5oudqxyqAtlaCUZMxHC+rtaWKOyUKFY2Y5bdObwBSqN2yIqVH/ZnGMBvjze4mz/GC87Uix8Xx4YYRxvbseXjGmxDUztNpx2rLKiJ91jolSW9gYDhOfOUf6sYr18fJuQtW/eneno2/Y4/9qx7IzqfBFOuqKQ5hTGXbi3dqXEymOyI45sdtQmU8J7Yrh3zu3dnSkO7JfCrcX7EgbMjE8d9vHMRRVU6+KqgddgJa57mi2CgyNYrwnfJ7g2Jjzxm04foiTWXQY5Y1Eas7uLDjFQx2P8UWJ5hPFSFdNuF0NIkLJQ71ODvwD1D9GRrvz+aPe7h1FyuDbfjzvvloF2Lp0A5LJ/bEdCdKyhl10oeA/Zng68BuauJ/DK463JwEgpSqdVINGGCU/2lpCAJC5FpuqGZwsrtjOAOX8I41GgvCciuKGKO6Lfuv7lQuf1Ly5lFhTB/rDYzR4Ia+0X05mHZ0d8zI6V/ocsASqbYEvnIFap+R7rcW15Nb3p4RcHwUr8mh/H6+Ia1Iu+rqSI1/WNqzxccIyLe/Q7izqqHwkcPIIVQxA2at4d9OdA9r9jZB5OeiqbOMYKzxzqZRL9kr54mkY/Nht6YLkEEOorNN1YZfi7N6quZE/CUgFvk+ShvNeDptuhJtQwdHCC8YTwWzYnf9U9Q+jLgfbpsTuuaiDAnZkW8CJ/y6MFLruGEnXJ3SDKmAgIr/uRYSaKCQ3HfpkrU5YTD0HiVlRAlI5nUNPGeyq0nTR11DdTQc3Ju9ZIvAQ2fh9fEPA2Zi48ZljPI+KrKnEmNSw8S7wilBNg=="/>
  <p:tag name="MEKKOXMLTAGS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1h9D1Z5GDtPW+wuCTrU5cbsTyeRnoM7v2+KYfNB8pPDHY3/N/nQDLg73FVUjs5JX80ZEMdZ5aXYVE2SrM7ljDixtoKhF4R5tzsuuZUVsHAeFwPs6wT8BDaAcgikYk0qwkVK4NvpAQJVViVRxqMTRVGa6YhvvS9iyFCthmw7VEZkNBdJ7iPzdYH8t0rAwKQRqo2pWbyVCF/datImWRcwiCdpw1Nnq0iU+4chdsdyy7cnI3/282eyyXda34nxFwX+xct2UH8+DmAvStSw3FBQ1U2OzBM7jhfThAcNkvAwU24/Rxz3Fn6S9xLaX83l9oDoXAD9UKUleMjbZu7MhRwBgH+AljZUe7TQ02uAMRUeTRle3PvXCyAOAsytgIOyXbpvwaZHNci8z3IBG+ZsA9vg76q/A1UJu9pSbnUy+2/ZYgd7HkwJiD/Z33J++6ElvZre9FqVobZYCKb+vmV///xSS4wK6xaMlkhKijbK1NbPEBHMWmjKvPAZndhkDnOdZxvEr+5JcwTamALXWowW0XeN4gyfW0UFSlrZ/u8wBGtHgUvUOkWnyle7b5hxqmsQBPYfCMgmbCSRf2X9hI5ZVtWx2OKOIFy+2o38dg55RFAoGkDyivlOVX4CQ2EfYxcCeStl7B54Kdlp+Yn11RI/Luej6C+qyd4bOxWVoGNt5rAdSjOX5TRBzrSdo1j9eub6ZapXmblmN2kUt41SOJAyHnM7McQ10mK6uKB7/DsdFUmQ9o2wLPksIY5TFewrbQd52JWprBOaNELNfV5BTU363nwhwvyhZlMrdC4ijeq7DbCxj/WJPkim/2Z/vLxmQxFGZTDa/ZdIzBXZGOlfQvZw13rk4G5jft8xd4OsGznKcsN1cyhPNbDFdFPJCzRCaxOtBvehiK8/QhLPaMV/XvDx3F2D+SlWTn8i1ClGLV8Hqwi4VKpSBDw3eS+9LExSAXuR/cZ5QBa0AKZzl8ELM9RJxB7NrFBzm4suiDQOJAXYB7+E0UHo3x+vmCsMpVCRVLFnB+u8fklSxQSJ8JkN6eaU7Ye7ULWK5RaucgQjy63BqafqFE5EpyRfRTAgxro65L/weO/4dd8U5S4WjQwkfW5MKkhEfbmvhjSygHghKRCEFQ9zXOlkyTudnMgO3kPLV5KMmJJFDM5xycLFaEaiGlgMrHnWP9LxZSRgf6fDLS3s3WIbdAPQ8dgiybFD8dB9mEw1JwUFNncHK9zGlnSTNUYVapqWNQf/GRH46irbaoMo7yz2kPAo5tXmKB9Wd85JriMq3a0bmz20OljFsLez2LtPuyJ3Stwm7pjnnShASNAyuSS/CsVstKgkuhChC/vaeyYWRitD4Eb9ncgUeD5pTgio92ATPk9gfaLbxigypR8zKF/R82XjJXIv5uyycNPL68Y1jSsTjyHQxebB7A6agzUIRojFqPoEYZQquDH5cUvVGH7KL4Lry+EuhVUBSbKv0jD4m/OBsdCzJJQ7K6MtLV/kwM461aV7dhwq8fhGLpe/+nrAxZqwGUqjo0WrAEd+eWtYpWrp21a8WlxiLs442NKSGpAiAmuCXNiE85ytpkXLZHdvThgy6Vt1zZvWnvAJq/mUJZH9tKMx8jqQuf93sUj/MBDVjeysJxts6o6uYz2TRKmt63hXPv0JhrH217O2MdWGkuXsF4D16D5gQm3ZbPB4PFgVPfChS4pg/Cdtrd4Lk4FZGgE4++oUqvf2tmdnv5IfojutoCafOzklUJ3D/k6eSXEUdVmoDc0WwIXldMON6xUDOF0Ehvkvgt6hTQk/PyFyVInE3R2chTD+4HURgkQrx0G1XCGN7AuF4LG7jXv0sbwNYqRZEla9NgRFfk6J3AHiHgRErgZbvkhpaQ1YEQ68Rg82DVsFjhwfjYtzu5fywLLglQcRRaXNULkpoq9JafXfP0ZwRTooQNAco2G01+keo9D1L3DyR3XAh20gYzTq2wquXIz2vsp1zqAUAL7j8w/P2FFvdfoHjTq2AM0GAjx2rPP65+Peg8iCBRhpL6wc0KdW847AWv/y8GM+R53e9fweUtxh9QA4cVBqibbrkDfZINOVxE+70uaR23jPp074cQkouoj+OGuo9aJm6LPjdbBeICe6ULIOvxiJH7PxP9agrV3f7aoM47LA+I2ysU4cBDzeYG007E2oSwKz9JkPIEltBxeYO48xRFVNkZO/ru3IEjnGO5NEpGc/XF9HfOsf46dK7tyI51wHLF8QZvT0LQNenBzapptJXqlHRLmQbaAY/LoiWwoPWh8g5IR3hp0bMOhsGtAJlv4W/eIAPXWj4LMzD1NIT4mnZzPO4S2uffJ8n5dYK154pqVMTYm5tPp7GQm/xML5x/6Ap3MI/JPbTov+lrKqLA5z9hXCG5z9BR0kp8RrEikio1/o4dagrnGTSp5o8ANYf/qS9L3W2dHTBaaCks4dFazgrcZx1cOnRoFJhIBR3XUjjMFT4234PqgHkdNCX1B9rk4+puHI+IWIpaYUwHvDvAJYTLvzd8ZditFjbccmYZT01usa+W5EExlePX4u5P3Jyg4jwG7BtsQXePGvsI+H6OSDaGsKSWplXc32INEKYcqW/raFqoJb62CvAKxnkgxfWqZ6qL55/PMSeUEO4PgyPLECei9NDscJ3kLGOXhOB4KeVTs/3dj3NP+AEyH0bXL5+aEdmWx3/bxj2Y3EIdSJTJp6nwvUnfm6CtIKLIJUy2QZIMRB/EfE9yEQi0qokkDSVeoKO31TUBB+RBUot/uTVY9nyO0TIY1kbXwCEgFXvdTtwIBKri0ypaynFP0g1hzu18wcZBjHdHJZxpfR0K2h4abA1cVBd/DizeEibfydI6OEJiDL2ivjBYIDMRfSbnFamg8iyWJuB/x5oXIX+jHY1WbiEwYSvWEFxUxScGC53ahSqIYpgb8ReCzkxuRnl0v5crkZtHp60i5HWOqcZnyZ/rvmRDYQpBIJkAcGLmvF+eJNdoPDzXhBmk7L33aqNjPH9X0kMho/tznw9mwXQpYtwqRqOLpyDHG3j4Bz5OOCaIjv2d6M3yXtzR+IJS9gV1Z/Zmu+Dkv40XkQ6e5rI4blY3ReLzAbdCvEeHw4fMVNH/s14gKhiAhb45rgMpJszGAbkr55DHGlwo22oMFtosKLrNNX5LnLLFWnPAiSgWOhgyq9aDFwLv+GgJ4SziRnLXDi5iocMou+dRWDynfPG63JN3K7RxWMBAnrQ2GnZiMx3ry8UoJzdGvA/uHrZg7JaSzOKhM8nYz00S9y3yMCKiMds1Frj3Hme+CTuwkYrDSfaf3s+x/eohJEahw6Q4qMlSJp9cv5MJHCCP0DiimYbkAtrsxPL36Mh1ULidrcPQlwEnIf75nxYyL8e/F5TvR8iH2xOVuo44B9iVigTue3n2HmKlsD+4V7l4No38kM0xMWwAm+dSpuAGbe7PP3YR0Pff8CU5G6fiYp5yYhO4Lx+DAT03/8mMwp19RmxgYux4dhAV8MEkD+9fSv7fQzr8w4vXpn1+wtILzR/pG32Z6X44Xg0j5tXE5l6ssREr8hPwygZzffhbl2myLEweeUibgHjwVtfWDjZ1E560KMHYMMZ9z1EM82p06QnbAY+Ul3Y7r0bUtQDdTZD2j2mQZD8NS0DGY9il9REdKOSdnBB+cYfeOeu3h3L71QPJw4DfW4c6ndt2/AaLbOlNwD58k4lxSF6BYwQoZc9+6ZMtA3YOrMBPMssasc9RhazZACEJlF2PBiCxZiKgakpTBZFiCbvOUpjpvSlvIhnU+IMt0SGSEbVuXhye49sjj8Ct+OQvxFw9zKvQSg2jbbPpjk0h9gOLqeaHvNOXB9n35EAa2sb1MSO6cdN+8exl95AcPqxdqSsrH/1kHqjOL2dIxQmYM2PzRT6DIOvITqAuYWmDoQhivvozBSfdOS968Hw+k1eyWnNCqoJiSQMeORZawzohhHAIME4ZUmMeccBDHBGUKO6MN1RiYUtoj07s/reODV80qMQZaNdt2wR8m1kxV3u5E4/B49hGQ11y7LVgxMdKKRynilxz7xbtR9T6UEZkkhdsjwsqyyAcmA3bv7IOjtHnY8a2lQWZ58LsuDre+eJ213X9BRs8e2zQJuxcFadto0V9N3eyWjp2tWX8391gcpShw7zFQgWiHOBA9jaxGLKjLR9GVf6F+Z3SCBfE5Cu70pRu5+ptpS4yY+4LNd9X3YoUC8RrkZ2MGrg9lGiPA8Kh/X5+Gv+OXTGTgIBmZUZwc1eEsLswYPoIxSGJpCuoKrMGwpYaUk3unJPmZAyiqSuw+KwwouRi6SDF7Uf6cIbX15ABW23/GQjuXayYbrFgaD5JslVuJtRm1GnXyYaEnPF5UZu3rn6b5pnmAxdsOd2oEm17M0gVG0OfRPziBEZGaS91/uMOUxwu3vDWvYDvglliGIPiv2Lk5OSOizGyjdTJmPTFd8Oaj7XYzz8UBE+xdDInqZ1hcE1frWd8wPJ/Fo+G0bpZ5049TbLIOA7MM9V7Uh8YEynbhuNaHhp2YPzDq05ksHwbS8sho/w7yVirr+rRd6PhvTQGcNwG1IodXJCBwchxMNXZ1p2sedIGQNBjtx+PuH72hu5+cx8mCCrAQivJ5BPfYBdhmPMqncXqIUmQ+uVt+Lqi1nNqnOiVU9XGWeBQbY7VR1EKIV7vDY2yB5ZGLImpvphlHSpnvnpzatk91VxkbbpohXvEskeYd9MHS9zBkryaa7KUezXugmhutGYAjcDlyZYq0S2xRYU9hI8Z2j55uvZ//nOvl13Ri5yJqS9Iq7GMp0G9zSVrABivO6wN8D1Q8W4veP4DW6PczOUF5M7hji/F5KswVgdqJoWdI/SdwOxDm7DXP2+H565z+gMT2WYaxtOeTwRGLXNdgsXA4kSq5rxwCKtimywRO0rRGOE5lTbr+0nc7J47+1RRfwvCsGI9/w8s7FdExhU+D1Tmt0qQfCQ14YMgkmyQ3lYzuVmNLRjRhWdwu02vfpnBr1ytzA7wAAtrBRw9203vjlR0v2ZQ8jOV2KOCYb7ZhEzfWCl9sqDSKmJ3L8FMzacDDcnc90dVWKqlj73zYQxSDNxkZRVxoLsE7myRE40/tOuZE2QSGIRgxRMIBkNqI+90qFuyBFjkSahk2w0jlij8RtqGpe+zK5/enMnpB6V7gaWlCeTHHUK+rpPLB0j6FidyNjhj2eWbSRUt0AZ8g3ZLBFuDDRIvVSiOALlDn/r/ZHwUpuFbyCIPf5OWgcfplwkyzvIG0YGTQ3K1DxoRjcrdLE3hRotGobospkcn14lazuRP2Dm3EUpobYj0A6U6iSaftcEXWW9xPymiRghDKnagDaCmXaNRJKIkRd6NopgKp8RBZpMQUZn/oM6oo4SXye5wXxMXd0DrBaxViAwOmDutVC4qjOElyb62WZgrOfesws2hZW90k99ehKH7ommC0Kv5bhGhnr1t3jNCU+XwkrvSb6mmaYFtr6NgJEYeOaWKh+XV1JnKNaZSioAS5X/pQKdyCbAc76Fht0eO+pVZB2i/kRiqqECQWMzF19fm+I4HJeR5Xu0tDkEML4ux73CiSQO4aqz6X/nZPC1xvX48e1V8IZ4Zp4Efdu8yjlywI1N73WexU9jR0zv0mHYbClgEO3wOaMyGc527OagLfBsTbug5+YyO/7+lffp55SDeaHSJ3eoqHvbyLCTy1Jo6WHA1gugDSM3kK++50t3k0/zfU8KbujPl4Xsn9xOXeeBBF4dXEQSMpovY8/WAtVjdZHOlr1aUvGXfzRkXHTukum/EgHPELRRd8nmqmTrmyvTuGoQA+REH+H+lSrleVm1rTqRIxmdWiJvUpVeupoYwivfM4WGCv9bSIlDl/7m3XkVSItw5YPGR14iYnJQx+RBCOEYoQMwGdENhf362mg2cd7hAHdgvBsLQ4gKqre/qobap5ZJBBIDeG/3Rc92TzMJjzgaLp9EuCa+QNAFcC3+96qzydCItWMErLTyY3OVZCvWPQZgWhzMFllNI/3UEEywvizRyCrWmiHorI2D7oszqiy9+bAqU8Q8RPXPyReUInvoPPMIaZMWYgh6QZX/IkcSDCpxT0yAhzSeRCgpFHWfMjZg1go3gIZyMCZfDTz4DMvbwFvMRvM5cbN3zgfrIOdUrdmS8P94+5UMubfv5DBi6T8MhUtlEtp06AUf7mEl2SBeHy0mN6Oic7Kh2IyunSoDP3IsIiJUQSbneBsEB9V1WU8xgTW3kRex3mtlUaQUgUVllSssvq1WkVCXkU1Rhz/t+TCMAcsA/ft1cRXEIDZ46Hqu2HANCoe0rMr2Q6XluftFhECu0sZ4SFvJ2njrZlragmz4AcWvsZ4UTBDGLYzsJtuvErknPIluupv4iJ1L+kJVgo6ACiT4qrnZwUqKKB7CxFCPdx2DluI9M//mztBBsBPQOWQHG6E3gfjWsXaZdsUQDlmxk4ssWbocD2Y0BVrlHOr7vlC4QeWmasXKqfJzT5ou6HUVUDI5pELf8DUOdTPR1ywypS4w32UGG4xeEGoYOOWd92yFvb77dhNwZFoiR03Gp26Kkl6maGAdpFe3HTejqPRxlAZfEYgG28bMKXejBLdUUdiaQ7qAKiRA3wk4eSAIHp4GBrgo59NcNnYBxkGHJlx+M4MOo7F4TFat3/DRU0eHxY8BDuJj/+MAslWrTeKI4pIXQwEUO0ZaZrqDLRvOnJU5soQ6JY5DsKUxqFYXYR+DCPkVcUQjU+Bq5874Z3f56sVOVvACUVmy78L2u35WK+nTF8n1EKDa1b5vdjyz6De+ikBp18EuNJTh1moeVOD6voIWgh/rf4YIIT3wFk2fahRnIcwrAPZGuJBjx6ch/q6NBOqTUImBMaozDjRuib/MhMIhKW29vU5N4UhLCEZlW5D7d7QvbNJwcmVg1yCvBpU6kIWfVV2DEvbGlUx9ejrmpcQlx4QPfnFGUCD8IAjAS8i6vbtcXL0QO9Ak0XGcxA/mSSQ/e+MqiEq61tIOOACC3xg+cdFyUrO0ykOoE5wUpO/WXnqEN7reeVYMRgu0URRiOLnNV2CAoG5TK2ZUdLVcUX14hc9Qn2XK0iKFYvMoBVbn5RyzyIrTIAHZMnjlk76Sbdj9i7L4nu3RWTkv7b5JBPLbEeaH3ez45v9xvrKNALVAeX70yJO/jZT9It8mHvbbScxhm6fpAAQggHOnnZnKDRMIs48gEQdgZjKbhG5qtdDoQH1h5kRy8A6yxh6ivRA75u4pGfvDQh0hResc9laH5hq84gK5+zyP7lTF0XwjIwPKkOitWwAcCKd8TGFGa7xAV/UxmeUGqz2qbAhemAmnN3GCZK3r/oVmjzWBAFn31saqDy9A3lp09JjfNlMQ+CdBNh955ctUvJ/AZLQ4+CYPlFokGHQXhxKejIPSAMb2m066IiRiIIxqMDBB6eNgrG+J08xN2KqMYjl8PdNwjp4KZa3+QQz589MZY3QpMOk11PMJDBYp1W1VydH+ejXsGXMR/eH7owoaL38XXbv9thTHuX57XKsu7ktVlsJy3e3nuFLBZDAAwd6UeP3GXw0munwim0Rn6X6/JT2tkzC/sTfrtWsERwFXpg0k9uvu/COlYkaP/0QJj0C66F0p7wojAu0IB7iw371GsMilu7Myznt7X7jzfIEMGkW+nunjFMdEO40fD76kpDrjkRKZX0NDDD/Tos5/GFEU0OvpfMsXYONZ8JXqhr7h5LS+Do+heWQUUWH+rqFBqSsxOuFlhNv8ymrljAokeCf/J7Bjbbx6myivrsNifsbcVroweg08F4u55vKWAu9G+0YUBVdkADg5zuI/yk73ShQW7FflVaTLT2xv77LxvX6/ALdy94GJYbnNsNYcawC/p2VeCjUlJjBoWntY4hK065hKHC1wOvFquaKupltq/Fe46mtwXyCtiSbeRVVILPdBdGfDw+TgA4blhXXemZFA1ppfEweIH8VSyj03ImJhUkrVJbuTFgjARCMluhko312dV4oOxEzti/LEYM/AWrDwMQ49ay1nPNmycBxL9LIOpF28jZvPa+N57KJboHmqXOoMa3LTUzUw8bR+Fj5SvZXsa+yddjWVvdbepKW22aAU8S6EDiKpUCTjsbTlti5O3L2p+DHb+QVhuxJqyLYr/4ZuMqeFYP6+0YCiaTdqWhKfUjkTC82T1IBaVpiUcbcQdPRlLXQDu6Nu1f28/xflI6z0U6XtPi96BxogPCOf1XhkuvtpcmzJhlVJdOZeBPXIiQMoxF5pA6WK4ndP7098Y3/F7XYy7o2b4tTe6y8Ewjy6h6mq+oUHUcWhECCDgpUjP5g0g46qCAUUwDb225i43JMRGMbgxGsVWFRcKAGtMLh97Tvd/KAieCgpkMv4wBgLKNUJNEbcVMIbd8477FnMiRTJNU0N3QuEaIpMPeXDH/+HgbZcXxINVt5PLg+J/rdp20BS06/KuHukh8GMdzX5Lq3yp4pZmuznj9NvhiCJhA5Yw+8CqZAtDQsWWqE+WeeAhIRUxaFS3SkCKRs70CPpPXqwGXEEe1DiHb2F1McrpjvQB72BxI+yHYqWaCwMgUUIGBSfpwRKLfjWaAbMmQKmaZgzkm1NsEPdzu+nRmuYZUelebSrv8Aoe4R5xVB+3wlaGOpNrZNkV8Ssqyz1CjWAJ2PtDZx85MriVv+MKPuCwUU5V0k6pv04WvXzb01cT3m3KZl4cdQS1RSqzX2cHrVO1rg0hxHdEGmi+GGSNO/QCZ9IZDrWESl2ph8vj802u98cYKhcr+2kzht7INu2eJs4m6HubILIX8Q1S3oV/pyybxM30K5dNcWWJO1z/qRwg0yGhDOd0DygPBRjmlGxZ/cI8NCtGjQ0tv5t8VHbqYhKPE0JupxQMTeC0l7w0CkeVMFTIWgd8cs0DhVDuGpYkX+orsYmXdchnNWpMe78T67ZfvH8y6ItO/41Auc6Ho9xCnzWwwceG6JLb0wqFUFSltGGCkEf2sjjaoFmnIaY5/IEGjwagI/LjpzqZEgomm2pRUryIBNMyyp44B8gYooVKflzM6lIDtJPP1wJfZGbPD7Vd3XPR3ECSVh7q5u1GCSNUXtusi5L9TUOYh1o9HzZoxiWsc5T02S/wC76u+7821Q5c6hnO6TB4meVEOxOGQjnSm7XdXayrZtGjwGXRdwLi7fp2tXs6I1yDY2r0sm/lY7+Ct05VjC7D8M0PKOzlAKOmDoFBOrcwCxqKzhTnnMb7FBiQlmCekDI8lExDS+V7ltixG8AZWCZeMPP6RI/L0oUp/b+heBVj1mZU9fa5a/MiKZpnJVmw8NcmXc3AG8bHEWfqoeSthi5S1AFWEvw9JVwmBwCWCNg/Kr67ETm+lon2ms4yQevQo05MRfQQmHKKgRcHx4GKyUHuzDYMgB7RIscu+eJbvXA4pkLGuHX+uU9yeKvz8PPk76QL2Ai+K+2iHAMAn3lU8Jv5EqEYmJSmyxqoP/KeyRPFNu4RAXi5drI/mKNIbdpBxAK7EULGZeRbPxU7IxYOELNLOsFp5Cteu5F7Ax/LrMlpVA8H/0XyUxI0xJ/JlMRuDzhqaiynRVsnA685VzWc2AW/ZZ29ECaKaAski4V9O09D41JTS7qNvImPQYTVtWbSxWF3PFbW5NouZSnfpjUFdHq3vn78VuHkHBoaiOPTVkS+qwa5aTFixgdJHM2u6IGUhm+goRvCDthvSDNMPgkn0KQuwNCohFuU/x8O+QHn2PWOWgHyZbyhlLAs7rHKLOT1XkWZwdaBR5GmK0y2ezhjB3fDCFRZ16gYfGTuf1v7CBEQzKEyeUyfdQ+4votn+NaivKBf4wSJ7Xe6wpDatQy+lSuNSydIXxk28WIuEHB2OUr4Ss30vaep3ufdE3AlB4xx5NaH/wRjkE6xsJqA/XjaPz0TOv2gN0aUNOwEjzT21tcKxEP3d+4Lkd+gzGVFIm8qip0vvgMtFzudGrd7e1gO+u2ziRTsnNTg46rwZfr9cjidmHi1z+Bdu14FML0tckkjHpKvRvXZJMqo9jJDcVt93BuBXCFRP/kIcMEPidDoBRPND89OFj4MX4gKdO5DnUc/xo2onEL1hpcda640/lDCTjnxAamHMeEbFjeWg3NqPvEv9rSNjW/TyXGAODhOq7xtrQ4r7h1qbAzR3sPIiGQMgjKI0LVZl6DHYc0R5nFDr32LIlDuih2NCuWxRxKUhpC4bLELiBDTzUO4acRRyPoW/JaQ/ZUMbT+aFwcJmD4Ohtk70EMcPZABTdbCf+3vpxdUgqO9m1oV9LHqBFnN1hyYSy+vbQ2ErJw9A776L5MhDlCD6yXibVP/4HCPEZlLXfxFgRMpXyERkzR0UK608Wx73CNvYsQxQERZWI3Jvh/K9GJC4c8axrEi7L6Wol3FFjf5AcFWoNMxUYvx2sZQ6qJUc2lCE1BD6kdelbsaH0OtHSH9pYKqPJSOH0jmnT9dnOD09en8N+F4N64Vq7yNJB738trdD1SoGuUNEoGx06WiSKV8Azd9lEnnV6i0q6hE+PxuVE+HE4kpnZXOn9LcfEShTjwEzZuc7df35e0A7ltXJ24od/cEcPXS1H1TA0iG54JIlspEwhqhRqZXcVbq6zG+GzDfG12ke+/pMuM26c1QxatRC+/ev1L6WkBaDHF8VJiDlgXGYzjj56cfM6GnSDJML7fuBd+Aq5b7bxyfSmV68HZuKqSxJbIfrDPwh5XakBZust0Jhr4LE6yHStFb5ZKGkK5LAz8X+b7/qnlcATPfGsFCSMU00tMRHZoIwivWY6qYnArbc1usbSGLw5uPX9uFFC1xt3Tzir81yMsdiY4sXQkk8ziKtjM/GtdXiklFu9Vmarcqy72WA9iOqFg/pxMWjf7QtsHGJz+1BgZCAI1e4ic8GFZKUvjflKC+EpXhgiBr0hZVBcXRQJ3F+0IiXyvDNfPjQO8nrqeL8qq8pinAa6TUlD5V24xzzCQ7qopeZ3Ghwzaf7L0uvGSNBMvkil6jap6+5TVis3/GsQyFjVghzRMziX7JUJ89rqOzhSa7pRsjT8TpyFy3upJeVZDSk3StyzVsISLftK+EILZUQccfDMsvtXDhLfEbGJSCt5O23Wj/aGZasJ1LFhWVKHiwSn9QPiNn2l8eII/wcyHTJA3B5AHamfU7WZQWjOHdyP6ZD8jEnjmF+ZtCuwdtxckE1VCjhC+4mIacMsdozWLWdts4UmDU0cpoT4lM3a6U9pQkY8bdRTPs/f5vpUn1vgaxl1h5aKBfGia9mB0XIMvsEBHUuVs9WsqT2TdNBOT1+FuhGu8ZA4hk8oyQgz1LHJxEbJyJnzPa9JzNPSwrlcrbxd4jLWmVFLDEo3j5mis80sAS2XQbLZFZEdPS2WcdpR1ZyleIlq+ODBTZWDX9TnC89Ygc6st7fjcLMye2hdBjR3wcQOQ1f5JteUsogxow9Y3DmT+hTsrKCVy6SsOMOSS7jdXmw6DLnNtyarq8SpfRXS51eO62fpg/TVf9I1fQvHEqiMC29RZlaq00PtP2YNp9A8LSVrxIKOnaA+0OXZ04Efrc1O/sqIZPaDRBHeRxt+S975Pl5SoDVzYLjXykLWP5tQqqYjYrGJCir6XCY14sq23rnpS/KUTxQZgdenTpdjBsZT6Xc70eMNSsVDbWODDJlboUWO0JT/LJNg814WwWfW61LII4DSGl+4+VhPXZ12fpHaHGQDecRweZ6MhgFLROZZeiZXOy0vU7lJ5DKvHEONJKUIQPU+eftCaYJ78MmtZLZ0ZktKWOOB3M1pucorMBRS0HIeaW8tLvgyRhh2Fkf/hjCkSMdb+cjSmS99WQYSaMBR4w3zWFntehMqkdZqgDx2mGqmYcXOV34lUSptMk7zE66KqYFJadi45sdt5KT71YOB985LNoC39uYxNtnJkKUJpeBZX01L6D4F0EVaDrLTRDLH9qWaEA+QOP5Mkfai66nB+7NYjPvLDmNAQ5SzwtjEk80qu+fFFNx+qF+Z7/AucQDGjOgCveyX47hdWqYuC9lxGB90BcgX8djMMqTkijGA6pcVbJuFE4CtoIRWCtffv+whJp29h4xuTobHTEBKfvuwdrhWFiCAmPjRv+o0i6QzIUyZqJjCXnfa48Jcwk7YOjhvd/S9G5IQTfxMQv+sE7QwQLRgHtG8xi6CgSvJIhtjTincPa+wkIoEpVGbZ3W65yy7iATP24mwVKbuEzlxbU9XDv2hBgoVf+RdnT82B3yKcHlKPWtKdAwVXv1DO2Tx+JBPhZT0JUKzbTo8wNoK2iCr8STz/G7SFQ1Usb7Djd6OsKk4ph1JtRd/sgUqdsqOktqzdTkiQaaPVKo+b4PzKlrFmW9tpP5VpwDr1ukLT0CDk5i6NZDw//B1RYN94wOyhMqAbx+sWdQs9QGuZIO1O4aj3KV/Di9YERrLyG2GzfaW7HddEJnqndfpM5R3wK1cbE+wYZwSiBWJIb65v0Qe66SGuFL3dXIV9nv6YAeLVrTV5TGLi/n1V/tOLNHbY4iFxSczrUoFhRhU05z8MtLE84hzh/ppFZOMtOsdCPNQoCLeObSF0ZNF1/BwAAVSSlcyfTNmRjO2GuVR+uKOV1f0gABIPk7VgdQV6xlC5SGDr1FzfkfCgskzudPhe9Ddtx/NG7fNdWl+n6t0Ln3x3unJul6C+TV8pKDmoWIEvrYVaMOz07BdEDgKl17w2WpaDy0zghtqwynLp8keWT8FbVZM3ndi+jQNEXiUKvvN3a/+0joqiODpTFdASiVTZhvVp1R/y+Grd+zXGHbNZVP+88+iol7wluFqk3Vb8sVQrDhNdW/d1GHjwajHtVmPn5nTmFmP0WLssYWJQVxUcdbmXb5aJBN6nhelHuFGcuZTkpVp8U7DkqKeCmhUaYYGDBiB8bbX/KFM+cejlJD8+YGCK6Xo57cWo9RbtKMmj5oEQ+O2GV8QjVMspQCAigUyjwJISLnV36xg25bxSq2JSk/RMZaQjQKjwey6MHD74nrbkwSfw29b525Hxyy3KSoEjLXgiPsYViNlBX/nz/M2l2jBFBM21URjh1nU3ZGWMg9n2wf7D5pMYS2YTKL2EZ7CP9h/q/kB9CRblqfDE8P2w93dZNqg74A1aVy0Ni1byJtC1MZxUgEyqN1/mwxC4iktBTUbrIrTaJaA235OcTW6nGvtzvrkSdleNsNvc+SHzehk1GQCY3BU5rLdcRzkjhlUUgyghzaDbNKdMAoXAVpw93nEqAMlmIYavWHmB4KmcPLzlJfizsuJ3stgjySGXOdMA/fsnLXnqmoesKR1CE+jvRVb/1lC8zd7qX/rt9zijxNBqeoRvAaDx46QxE4dlCSNDkS5x1TmOqpLALBFKY46Qzzl/himW0C+1XRyi72Z8oyUKZvYIUrttaCONc2nvejp6BBA6NAPCNnIonkNeWarvx540SF8RH4jCauS/96nOk9I7myLqp2iLrvCuhCQqZF764p4hrurv6iE89dVZ3Er3Z59LQcbTe6dLeQSwe8lAa3wGgoP2CIXUOXFORZrR7SoVRydXshoz+4AduMAj1wCqLxagcLkiHkQad7l/lEA0rB8LL1FxAU7sQTZ/CGZv8m99arrW1/K/NQFH3iovGBCjX/LYdY34r7DcIsr40hT0JztA65ZX3EL96EIx5ZS/TWrSIArM8zFHjMiqkX7lNAIdppaHwN65yW3u+1OPMc/nXfdbZ19nF7t0k1mpZdtY+TZYB4RIPPWzWxMa+5hVp5x9AnQvkR/cChOulVziVoeRqxO9sCfWwJsiefMqcXQa8UBx/Mr6iKZ9IEL9adIigPKxru+KQioF09EGoOk0TIwQZrUHdP6d+vUBo/VaNSDUE8OLYUf5A/WRdsIpsErleRXmY6oSuwCT6b/S2gfSJ6Qf8xSkgChDVmjTkGxNHRIqHHJ6WuZue1pjPRNamzY1Oz/YDE7Mu6oCQKDjCpQezXzfU1BG3iXl2xRqSSI/y25f7a+erTMoyyY/P0+XXhhRsRI8fB7zgtwtEw+psCi7CtS7o0hLyWNaYCi0E+rpAyJAHV8jZwFwJRfsN8Z3nMqSGJ1MnASH1pkx5MUcBkV7mzJSUAidkjkET4ThGCiAHfD8NIh7rnC1R4sN3TtqT9VxDOHnjDB0nr+JULeZMg2tcPg7PjFqYAJa6O/HQFnXY4OO0/bkbBkE7PqDCSHq+H2h+DdlP/lOQJDE9/r39ZMNjFLZabf30Y7HUD8MHOtHBEmOGt2xebt+CECUyxRwc453IcfHZv/NVUJk5mw8TjjY0eFPDqkDsSJG90jR4ix4uz2+47wWg9l6PbzaZTr0zWMtAKh01D8QqJokXr1BNfRkw+SRvbuRUKKkNasjrJ9EYKYIV6hJIU0rhCIdtKxH+lfpd1oxeQxwyjn7SIvQhNov5D2sIbhD3iiawPFIlNAbrJeG6GbMKa6x/UOjXR79IS54LHdK91Gw9j7beTIWUZfkEu/h95vx3ATwZvEIpMfH+kEx5M/jdDPWz/ItT5PW4r98q2aT23Zxm1NnsNhB5oGntDyiwBiV1fIep7OLxrB9uK5xroB4miaUB1QexiZRRG3wO0d63IajRRufMv/GL92EDmj3+uXU9SbAX3AEDms7WuOX3gCiESOyDZuFDPyNIZPj1Gl0WGWc9RHhPYdxh1O56OUvIO2OVaiPAsA+6O95wumOnh08XkOufBYafBtsuO47r1OzG4+InnsNidhI1Dnv1NXBeFapJ+1f5NRmjZDwq+y1PZc6YLZBzLH3WnaUfRs9x6CduKFCKsU7ZjgxuDerYDAz8geoQ5eqBycHOMG7dT0ucn56kCnuTQUWea9uVnDOLky+C4qdHvMCOJj/9+7Yg/cnT1miXmz8Pm7PLTzQWdTHHolS7SYujssHmHkrSx8VIoZwYIblCNtLuTCAw15zT3ASllaqlOT8Na3xnDw0FDwqQj05vRFN9qPfelj93wKyzg0+Kj+AMavozbYE4gbRJRusol7LS1uAB6Ih/dXe+w7VtbmCTJyXLDXTxNPPUVOZGQFFbJcWE5zrz/V4zNrkkY3f5dwl+06SrUa5SuLtadHMIW/LBi88gny5bYuXfsXvfNcKFsACo5EuNYzjRlEKeBNN0FO74fLrt2AX/5nw5d8R0Y1zv2VD2KZ5MxT8v8Ha/k8ZLIH5UzecqerUWTwXhF1g+8mzKXIqmDze3oWN8qHmMMiNn1BT6kxrQIDm1XVVuwfycwF8r2Q1HBfHPEvYJyBnkjJH4IYUWWwvkCnFFqOtqNKKapMxFin4/pe+UdUFAmjeaxb60Os0yo/uwExhySWxM6S6s1iSN8arFC4GNSMTZouCNInKEI5v6eRi9iJOTuKiU9NWIwhk/9gLuRVeWg/xfmZlpUm9dztcYlwoTyK7ENhTdeX2uRQorGwwVcMt8er2+ham37M1wQB6pcO4+NDzzuG7kFWJVJ67wmEgFvzBW7q03wPdHoS/qehkeq25EVXStsaGF/uCrq2gtS4HPKx5og2hiGlcM0zM4FOAih+9JYBUs0e1wpOxC237z/OZ1jjmQCEgXwL6I2wYvxIzeGFyE132Dus21Y+G1OewrcZARVs6xlq4vwgrwnqcEUBcyEXq+MbXdc6u6dbbxsoeXZYqKcj8bjPWzY7tOQqhw8+mu3pfhxDpmGjRKEcpadmJn3jATX5iR7le90DkZ3eCiZCyhQgW3ceCr+AEsjkNY1JinkwcJPNsBWTA9i46IUP9wz4AOv0bcZYNSSUxmwjbT2O53lbPGVTIM/bBs3qTpLHqSMb9x/HuBxKqOcmJ50Bji8HqSi8zhX4/Q2bw3JKPX68zsD2bPnHhgU5WQXbA9UySJ2AhbzcaDsPKEAm4Ppy1HYVxxUfmA7BsoM+FBlA9l9kt4AabhMQh66KU8JcrP8XruDJE4LDQE7DzSOZyT1YfMRB1sm75bU+b0Posl8LwchWFhe+3Hy10Ob6f8JLwvTvkQ7pLRqC/CEQKr2AEcuPvK7cFuH8XEXtLzYY9a3QFxawsUglSEEykY5kV6cU9h9q9ZqwCebUXfELU3byWJMqNMdZLTfBfCspnvEZoJAWTi4t65OhwP1A4g/Z9EcWigPOWlM2+/0BrtrLvE1Rk0CKH3AOq9cNVBgsNWY3AM0Uu5yLY12yaxL/hTJVpUcYfU5rlhM6rYf7FudmQu3JlzCUXPlHHueYvZ1Zt9TPk+eb/QmNtAUGfrYNaqCfvFYte/DX0v15e/lY5FPLRJffaAhHRZGhcxi8TB4turjo3Tl9joIEjIZxAOCAqo/PRLo3BGqM+kAgKKAp1SDIah3IgqzmV7TBYAsy+m1HT2zivxQEjPB9mE89qJsx1/fOmqulLVVwgl+KbciQkfIFyiueHg9A3A0DFDCX4vuHm8aHYaCYT+j4xCkM0oRDwRddUojxyHqxteTNPy2bzNsLuagj0XJkQyFFr/rHTqoFZygtFZQA9NEDYS33nJkQp99qMo3eSSrSkblAYisPI7xHih7KFFfm4GhkhVIOcmZbwTHJD9lqzy6YNM47OR8tj/gZChFDaObdbGOTXKcOjHl9vnD/biXQ6sGkT5LSBcRAhwyc0wayBar4IJGWgMcMkf3EFZmlS0dxBeEZDDQQ2r7oICyUUM0xQCLduT9XsyccZ/qsXl+vN36/tmPO4ccR4BTzU1l1wzlOClC8bJM6UVZFP4Ch3zoyIj8Zv7435rlz1AqNnA8eiLtMMkuMImE00cQ+1obSQa47Al5KoDNuTBtaRYUSbaMVfMxv9/aFKwILqcy/JN6k3gm4jimbSRRT3YMdkLAQal9NRehJ0QM/TlpMo+1k/y1GdY10zws+ekF6C/PMQsv6SSUy2UiAvZefPXq+LZbJqKddcbB3stihb377ZWCg2uJhV++Vy5h3RhWfTAiXZprKwH5d2pUawBtMJNZtA7qMx3WVhYzCdRfggL6Vn+h491vTgXlaPJSirxzzg5geGNMoq73Icc0F2jCEUVfAbzfF8S7+6bQMV/lO+jZmhbbu3ImmOBxcnfDFPcak3nCGPzXH5Qte0Eds16d+U3po4QldAoaBW/oOiKrg9NtlWVoGX+VXp+PH3w7+hGxLkg4N3ZqE+BfwIMRWFowE/wHO9ZgPaCRNMKouy+SmbQjLloEKPIjlzWddEQICgxPT5NFywvpryJ+6aDVjQp2l13jdOzczbvR1pT0oIDh7kvWEyt7VqkohdYLzTnprKgbj7TGSMvD4yNgoe0qLgub28gciV9CToxJiVV7UIW950YMobp3+6QJEdc3t8vSYjkvKzVxMmbkY0PYxjahabHlJD+LrjblKVYZWjJ1kyW8z1NSoOItWdv9NDDoZZKhzOTWoKBwrLIUd6JNO3zyOwpiDAPkJNj4vkLaoC6mWhI5xgpFm5AD7YLrcPsgRuoGYDn5un2ujVrx4lm5qyGRcx1aSY799dSj4YInXw8FWq4D8F+Hg3euWtIVR4kkcY4hmzkNLdUnqdLaziI6eUjo80vuCKvqfq5QCmoNKwomsCGvo3Yw40zSdsRXt+vgXfd/9BXuRhgkRhf+SPRYjeuxBRMy9GPNh+D4tW7g2Rzx2EPL8gHi+DYtLOt5oUps5Rz5ycjg/2tpR0gP68Yfovho3ZU4v9lHUnzPEJp5a1DTtGbkGOs+yPZc4xdAuYWJwdnP00+l07S53VaAvotLKEJUhHFeuXuVI7UILK3CRdmvdjTyLpkGevg4YWQ2VPL1uivPTLCnk7Pc8VNYV4/I/5+joDauUQqfxWi7F/9Hg9ADbP8mJXn/y6zDcOi8fO4D6y+LahFMR40HiIPvW5yBwEbt5c/pEeE0p7+pUE7sW7/zTEMJvFMmCHaS/lxqm2OpLWSsGLgqR53HasxR/dR2XF4kpdesXh+OD2HsQ2r+MWNi/yrhtniUJwybzI5baCujNrJktEYOszRwlNYghEMMKDQJzlo10oz8nB5dEDIO0T6cEd5/UKeBidslJmjnE50pkWpCf0f1CXp5ShWhH2yo+/3WzVmz6Usk/gBhHrj2xtqlGpRsxMMfYnzvcb8FkVjPR4UBO+RK02m4B16JDHTSM180ghBJrGa+6vt+IUU+Cq08gLea/W2rXvsYyZJy3uCfp46/zR6CEXU/1WtnEaODUanoaXR9F3iGxPQY6p4jmSRAYnpVjDkyf9Qh+gV59oMoeYhK/amEIt2jLDsTLZA9x3k/awe6OYXPbK+OOSMwDYlDA3fe6G7MCWk1vobZpK6vjoRWEPMHss/hHgV+mY9h4U37V/jbO+10ZD4GoUfeIYe+nE6MkNE1tL5aN1Vp3zpztkvIDIrGwv8AKYcrMD04QRLC2lVh/1V0uJ8Up+B0Ap5skpu8hYrtM4DHAQU8o9V8zReeKLJyypyTmRf15hrivTqcUQdG93BAYP1tPj+xTG4RQik3M/ju/gpoHpWvYXldVaKLS2PxH1jWOy86p6KinG4glnkMPgPiDsAztC8V67aNwxtzy6ZYtARjFB5lpP9GAaPvV1SJUgT9FkNb7drvAsXS7xZakubQVeDSfl05O35zee29hmt0zfnX85V82PyGcZgFT0uIsYhQtf1lk6gktg0Ft+R6ePAt2Feh+BsmyA5XSHi9aquKwMLh33KrdEO5v/1pLgaiK5PMJum/v++bKa8sSTsUjIA3TZC6Ukt89ZXyV4hDcS1wgzEU/s55C/Pz0fWpZeA1pKTIy2paCTjWydWcCyWVXsoTqXGynoQVCfSdOi8FWdHxmlpnQ40hayTLEC1lKjs06/95Hu4KvrFmB10iJFpj3+RO5MQgQk0xnvuA2HLdCdrQ+N1n93odPjNIotUp4U629SLiOZFt8alRqDkmdbb1B0Rj+zRetEdJPMP/8BKJAUSVpVsiMMrSp4ReSVLbcwQjGdrSUQH6tblLgqQ6F8GXyDg9gBoFcsh9USAGvynl+wAt3vNWAxPPmJ2gOtvytlDUiF+Whe6ux4I0rhU+Ejlp8i1VDbTh3SsuoJpDK0SieeDIbdipwLhO6W3ndrz5zvRWdN+i04lvjZG2Q2XMUOY0baqZsSW4Vk5tdlXy2v2fJf6IliEl43AJqKu1S6QIDQXyuzYo6jzuJvCJQQzercX/uBtVfEghbxt7442F+/C8qqTXH6U1ifvNhi5yIxcB8H5zcOxaIHMKhABOg0mmqTX3v4OylN5Ks0XLgDKPM1wWOinpSvw5xepy9tDTcrs7+3BPGbCg6CUox6n88ou7g1R4fnsKxHRtXS1lbFSFv/c4Z8v7lt5TpnwllG0Y1Zum6oTkQP7NxaATm+7l0rTcmgSXMJGp0QHemP37IQrQ7p4NQkaZwchiWfClNd1lSbR+SCBstHLaqFi0irSJvgTKIXcK+G7X3f2mKPKuzuIfTwtK0kjdHhhzV86CkSRz9wRWeUJiCpkB+CIm3B2bsb3QnY/RpkUqMYkKQU7t6uLiMP+hjL2iJ8wFEFeq7FbfwRMRAQzj0P1wERyq9fbo5+Ntx2mkRbFmA8zuEd8U2YgclbCHW8p2rskWQtz0OWrYZ6AsW7cpIZNPaiCyluTLeKe0bCwjxtJhEptBmDMJAnD5AXa75zDOI/yLe7smJKAt8etvKQJEm01n33Se4WhtC4LKLYrbMjHD2rYD57VjMCSOEsSdFO5aduAucn8RcIl7yJR2axipPSg0pdRCrU91OFq1P0SbC8XswLfEeqe3vJGc5KTD0n9UNC5aYriobpxcqdLwhhrjBmfBACgBv3puGjv0zoy2XAE8X464+h5fSuLxR0eZ3FpbJSlby2TqXkgj28SjA3oL4U8QiBD54mPoJ5LhzbTXRwE/pUeZ0z3FedSZsq8UguGFLdKtk62yfEuOMjSJCGEv1qgSfyyYNvIX3nMNcpE/2xakOcFLUAggPoDp1IjY0fdtRiasAucd+n/ETteL/Tx0fOOgvhL6cWlnPd7QFeNRUcXgh5Ph5HrDqg1YBAWlV371mgFSzGCsAJ70OXwwmXZYWxTJGB1swB+5scX4xT8he89s4egZs42U7H05icMByhKNBx0bAAjjEJlr0iK0opV+rO2oesC+SbjgXl4mdmLvkRRzqarf6hYMZYYoD3ZxhBLZkITBCMAo9Au4u89NlG5vdV8MRgpCyL1ofvdzFaSz2iO+gr8z+iOoE+7+gJFg8mNO/6zguM9ikVePodCwGgQbgk/8JWwgFGuull7pXdkPyS5jVnJc+Y/G/pXy5i4LQwjPCvei6aJIeli5XuaxOUwCU4F4zOVkYDfA12SavNEkcB63BIbIuZAWs7mlONlBMnwwWdnm0ICHi8lYobI/gsCU5kdcGMrz3k3i9y3t0jwxs+UqKGCigDnf14UyKX9uQF81g3bsHxoUh0YGTMCJsHsaAdcDE7K6ccR+eVzfD7E+DrR3cG4Vgb0r8UZlYKWmJo3VQbv35BmJlZXeNToW+J6jvmvwH8M2sJMrWZ/21guil0aEIWOvzTbcSQzUN6peZBfTVkEw2rK9TSFgZKcK8c3WrzU7NQvF3C2RIRheUSgE36pw9HfFkZUPLuC0J9nIbpiswviOUQLpTLT3ItmhdQZqpY0RL0eNDa8hqE80/l6M8Dmf81ecwO+UZ8gqVwulpEVxFwZ+PkGHCMilQq8Iys2Ljraf2rxCUXwwNGWx5MIRWJ+8+xxLr+trrsQUdDPRdyrHdkMtJeZ/JPHwBBcbyUwd3H9UxIjgBUb5GDaqZZpvP/elvjRPHpTYS0w+8kO8aJbt/ZArfir8Ua+avdfaNNFkKAa4bKIDTqdGgeCsVMMyehkOZbS1jbYrwJI8CkoDsScPua9QcQwMVkUj4CW5w1FGW36DcIUBaAE4GXZ5sGBnk1cWav6rqNQ0JXq70BA7b7l/EM5APFLgBtuqQtbIThVjtfkJUl+KwIURks2EoUyviN0hy6kXnKXm1IDrO/Ns54GxpiAPpVpNXNy9wlPcB3o2YuLp7ZgCuMxachZQMl4snRR8Ky7JV9ALhCqfTQpHgHgAjwWjrrAYtP/9YInYZU/YLCkvhpvlpG7PWXF1AndNfMNxGCCmFZYEG61kYj9E6IROoAQjlrvwZz+APhfT9EjCHNVDn/KwmARaoqXnPgUW2OnghIUpwzjEodQ1ZjlnUS0yGNu5lMX77fiPzXknNg8Vsaib/cgb3X9e4hbyzcv8vN8shrGAFtefa7wWKIrxouaU9loUKC5mg8lxHTpehC2+2b+YNWeSDows2Ynbu4kKN4dsVZoeCa8R4gtHRZR7w1MZx2Vsi4lBisnNuAUgDrocBNGFnJqp7PnlHuG92wqmb/QFkGKHZ5iAil/ZkWljNy+nFN86j4PLYTSOELaAZxHxvj0m5lbTKfneQoOF3Qr4nC88YNmlT20VZwGU1Nm1njtPa7q46+LqfKhSJO5sCisclAEfqm0tQXLYiZSXYLeUmWzxmzQjD6KJO+4QHlIPPFZykQDp7QGQtrZhMA1UhR+JcfQG3VOHUfHqkdb9cPIfLbrTBzso2y0ifdTyAEPnTZQ3aaLsP9wmhXy9qGeAijE99JToiL/xZ4pUiw9B52q5guFLqy4O6bwo2MQe1Wx53ieyV4OMsQYO7y5MgHgOFQH31kk+Opatm5PpY/XzDNq2c92PcJcy1AkOFeBPOfpMfg+KITstS6A0s4bUwadVsf40HtbkIzsKTJoqqW4ovkHyEXsSkfPjS3yxpfQcqlbTmaL9vD6UyJWukx7ieCqR5ovEp7ZIlzVZ4D4UPKwXklbOHs0m1Vqy1nVmf53DGfvi/n8arFSL+LSfktQMmlbUNeelINR3QzyEIjzCnw2WfnF8H62CvVSarp8hMkV4XuDln+w8N91hv2U+A1epyi7Xs4ObP22BneuXCmuCS4a2WcESNmiHys/Qh0gg5JWEgh3gyDyazuSxBeFYz6gmTUotGM5805UE7KTHA9949cT8LzxkQ+fDk4H5irKeQfnyv4osN8zyZqgJe4RHhNNShFHe4aDGOgCS5Q4Fp5nr/r1seJc01fWslY2eI0bWthM54wkKZ4im2iQtZ/4Dxekleacz6WfxDKCcXy6zmUXZOhH3VuntH7Kyz/p3KJnuvyPV2G/coNFyPe752pjwd+6AD+pwJE0z/0gNR2sd2thRZ2EKLXs0qPvrWj7LFCCM8fDbKV1RDXvHvmJbOFeeiI+d4UIYBU2uio12XyD9FsVkVvaXCMUCXWfkefhzg/C5SlKZqbb/p0RKYniGhh6Bfq+p7XbdlS5lDAaHU2D2vK15MVhe/vizb/tLDM3zUE4j17J4N5LJLcpE5UPW8TiDFthr2l6gJcYujC+K7EDPQ0dLe7JnSwdFvBFtNGNyRpr74DsibMVMm5u5S1VwiuVZINlS9slKdk7cQIGcLuO0nAbtiL4kQFb3KrWxktICox/3EbQCVvRrdYulRyGPI1Qx870O0r8hOYfaq7sEL/ytXvrEHOJCINHnxlSAVhi0BtlgJWD2g1LRJ9T7KP1GyAWLicpkbqzVrdwtnS5LJZIee+ERYhMn0DQgQphf5H0/0KTn5FW81di7P4Qsv6t7Pfzc74iajCzJmx29YUrT0KpUdR4ZxYYZi9ruEEVeyorUu5lmCmTwAktsJG/x9qigulm4fMLplIl69aGXgqRVSvlQatMCPMc0N6lnVKp3muv27PJDg4NR90jOLCMXwyq5ThjulHP6kQ6+EogIJ6obdTJyrqARZQFGGAgZjiR6T7zT7gDH0uOkLt6X9Y9ScRqP50EYdqGGj1WBp3ALmtNgfpZsxRDOl5zHoYimplwh1eWJmwCOyUCuL40OjUxhmT1W81gDh/PxQDX53TURRGn2GKo2h/DxXAf4OsQ1G9S1LrYCZONwwTaCHzTlMlf9TAtJz9dpI2Y36ymutPrfN91lnNbrFrKjgbWJEkkTVXOommtJabzUgNJtoLkOeL/DnvOHEs9xUzbNMx0leqmjHgLnM4K2aGk/KF+PHYPWa6RurxOcJ7s5GiOUj2gCmoX/fmtFqT92iCk0Nlq7Lc3TU85rmjgGvsixQQks6AR7qLa1DK8aKj4IwW04PONmK2sEVnC2bMpX5CGf72CRNtHA32BCBncY7JpAHwPf9JqhBPTb2e6kerXrzdaSEYPHWGiPm3BJik6dnTSygbJgkmeI56jXgVIWUK6WthlcZ/IGhFWqvBjMYfGGc6ZfJ7YX2bxUeJhrbE4q4s4DW3cljnQzNTsLOfP6lfzIXl/tFhQQUZGrveMkBxY3bEGajRx/CqCyfTY493nYqT+s5LJw1p/899v7+LnqaXmL88LYMYnWq3t8628yxLNuNGKcJLg01YTP097gn1n13D3S3k09kMeX9HXdiBYsS+EYnH5l0HOCFIh98mvbrpnZ0B3QRrQcEEBUx4MPYGAYcsZPlgzGupI5WT31jyXl/1jJgQ96ie/PnsMJFwAE4JWHfbnfQSD4AmBnKVebWDAyprvuUUupH/+e4kfYfuJf16xd81lyEarwovXwqiHNCG0fpvuFsjtHIsFlCfEdNFX99Lg/FFxmv/jt9s58WEVDX/s0ZEAQeQdqsI8DmdhjvafzVw/q7iwwr9k9FMCUmUUjX29y07Nn0lweH7FIvrr3HlO/RbB36YJeGq7gbPTDrsnIv6IicTtvE5+7uTV0DO0cmYitzz/ucnFclY7idgSIsCwfzoGBpZOqqTn7OaY1AgXS1TomLNvncFc3jfWMebrzxw+sT5Y3ki69giVUkU2JfC9HYbRHAWT/baS58trIRZS1gsofFswokRyf90+8lxC48eXumbdPSqTrZOmqpa1DuJyvX1dkbmzSjR60Iyv+dChn54r6uTI2fLdLnbYEDprV7yhfeTxo/1Usg1daNeDX1XeD84kEPxTKEmMEyKkBb1D6ozUIFa4WOjAlRXuH4LZXSNFXX4h2WdojOlzjgLX9s702Z1KqT6SwDwRdCPtIJDUXD0Ts9a4LOvgyV8zqv4Brx3T0qtWeGiDo1bYHB9rOHDmP5X01FKBaly1toaC2ElKRC8qsCVdSMWcuNhLS4tikjw1C2qOWJFlhceVzI1/YJAj5OUU2roCs34DyRxSG2+S24wiFphQQaOsRT/OYiSncdEXm6ZFe1LFXq/BdZB8TujiQGwk9bUaPP8wgzvEDC5mzpcM9V5PnKV9SNXuDFyQLDZPIGtS7/JT/JW6EgvksGVa7dK0DfDV2uNaPTpzXEJpc1Bydhbsx+/UXIHdLFdxyJTcMKf7UzgoI1uJXuoaBhqpDSpnSjO4cXloCkRJ6EY6RRPhZyNXUmLYaZ5JgYfGaoEuZvK2EcfkJsGSujeMsD24gAW+cJGYbWLW+687xpNLZ7JGYzznZNvll6lNeEjfZRbSerYEojeWhVUd0j6ugHn97jeY8xIsaA9Eeo5xOwNMjrZNWBOb3qjYEJ+LwlPkXFaBnkwJI4Ndf8ry3XXRKGBpKNGf+u+jC5VXvFZkDvkCowSVEdUy4n98Du/cbWBvGrIgFjUaxpTmUJq6BDGsQxUenWZRS2SqUounajN51E3BLQcpfI73omGcsVgkN95nn/EFDa0j5ZXsPWUh0ATCz0KojwhFNpm+01ls/oYIgOAu7V8xtwuUCeR/iRujM/xcI/MqH4iEY6KQ5oxaoGXU1VZ+LiTSaMZ6RGX6SfIu+FJ3yF5TMLgb8vRvDiXq9lJicfBHomsCKvHwKOcpN8FqfPFDYvlnzbjxsoOGNw7B92Xp1jEVxrG+cl/LJlQMkIiZnt9QrjBD2yviqEusGYmHZkvMg3cj75archDnAN15blAQDipqwfd4zuX7xFlYLiaigP6dem3wWqtoBuVM8c3ksvsxZxLRZbf4S5ancnjawNLcw2RgXgHdSNj7brzSKD47oUeqGoHboMZIqyMiNzZnHLFKira5Mfakm8CAanL7EdsArfUd2wYDueyYevYDAgfer9qvnkiQu9BuF7s77sLO2tVr9WOrnfgB/wFBF5WU2YclbC4lnCKWPyzefZLxkxGX2pKOnd3/4Jfx2DKRroMb4Mf7u0QsCzFW8zzSb1P9x/DKGcd14DVcGUeJ0VWjaAJDCySeqVg4WxRBZJ86xG5oLLqkWbCAhDHDbKbEgjKKpwfKYqYwN852zuxbtpdZ4UGsaAE+cKItLk3XOC10r1OA9HcR+T9Z0zwsnLuqfir+ty0Ng9IzQ+lzf/p06SCn3Ee1FhToT1u6IWG1DpvR/nMtvu/ClIOxuWKD+0qGS511rKK0PBbYPL7U9KrPpVhDXkxkZJEl5fN2g58Ry162Gupnr8pSwH/ycDYUtvXcMBrOYyHcwK+IotcFWjFxhhGd9Y77a12n1BZXG+KERe0tcANaAt9QTsTg2rn/bQwr3PXPiCjHVtRzbd0znZnNMOvxZurDH5a5oVZflT6doCukP5N9dqeg6sb6/1/aoKIaJUvvf0Ha5xNQYncctys65nt8glPlkdHfh3/ucL3uIPFSXpI7j75yHNBwPDOQtwMM/Fi0l67B6AqFyHzKg1JEcjfIVr98+n3nvCOwcksJz9T4ofgANKb/06RQaebSnd02qLEwiz2BNhUqQjqximzpcbm4N6pPJfEbjKI7P7z3pF0UO35QqJtY4rH62DOY+QEJ+w9yM7MuXPrUhIGHlBzjK53LuDusZWd6SsbfFr+q8jhcSTREloZfwCuOtLM0W1XAFa/Jrtblt9L+Z+MyHyWe4evcVHZ8MMeGMUMo6aslMGL6kbG9yYbgfpJJWGi6F07tn0zldYMkHCEnLfx0Jk4Y5fqrvtBAE2cD3S2RJLi1Lpauyq682rX6rO9aCS9JG3hcXc0KDT0Hqz6DokKUWUm85pU/9ZY6BNgdquB/31Q7AVZNZSlaBHdczfy1yXA6vhnsN7/6jfezzTxZrVl+04Mepa2fj+jfZQgiY81zTd7Kt8gm918HKWYmygEUlQd8JUvQDdJrI9IQdI0ID3Plo9T/DmEVXtAYJwr/ipsKUmofPh4rBbIGqEBwQe3mbevfb15GCPOyKaCRmXcufvCTWtIZHW/VS0+AQpSBbE4bRoLUM29SNTOGASTayfJEzBL48vlbfsd5C2BKwo0GRKdgzrwNiFoIFqgMQ1k7QJCE0uTaJM3yldAgbCVH/j+11+qpXyyfMlwdaWgkYgdhJPjyIR7xtTQMfOqVWarlmX3468lXFo0MDFsEiUmGe2433yjOgRxCRcehoufv/NC4M6/fP864UOmMo814pu5y0P22mVjP5czQjORK23ToZqDStcfcqmi6R6+P6Klfx4fo+G4nLAm07HX33Y+VdzM13wqkNCJJpXLcGNpjWadqnZHIeWf7d/uXHhTPZk+7jdET5mKJAaU586vSO7fqD58Acl+vIPeJDDVbG6pEikSbtQwutXXgSsZk1WQNvzNvaqeYobMe4L0cpLzVrXYT3fG3MwtoblcjeVXjkcewBAscEZv+ey07Vve55oC7zMjIiDqzjDIDeBF9w286Mmj8Xd8QgiDhDdTv09yk7xsTVT7w6KCJFCpYgC1dtwS1qSuXUQkFkCIwHeAvVaRVBCdmg6Obu71W6LPiMH/phSRcA66TsDfWeRu3Xwk+06HR6f1uMhGXf1XIVUoHaIA6K1BeVa9v8B75EuLGV/UUDsr0ea+O32uzy4ZEo73/S75T6gnnI9kYLIkQSFAlHh6qM+DR4FZjKFPF0EkbnElwHklwrLNmbzTgGZSjdD/s8eVGDpC3RYxg9P54OU1aAzoAhl1zJMb7g2YG7t+P0NDhrpyDKGQh6mOG1yN7W5RaaRtgNCzSEGL5jQt+oJZKicNnAf/WXtgHKODqvHXgniw2oNxxcfWzgaNrWdl5WJelru3RksFLqN0pqoowl6zeHyTL1HkRySk1FLT8CkbuD/+ulieXd3FT80vNolHzUu+9CTDooOCLdTIFelXD7FCvrZykKTt850VeacVM458tJPrnnIvhvXFFRd86Ig4g13va1RckCccYoRUT87RNq+68w/BiR1ixUb6fSXWHEF4H/+1Qmy2q81AYXPhLGy8fnbbSOU7xAcYklgYcA8A7V38as2UFLKqDNzqRSqUjYwArF1jZ4cjvByA9NcPhW61sMAW8sb3mSwpSkFTu3yQiEdzoBh75Y2szbrhZyrDW8uoG05+M6WHnMDYjBM/BHFWLhh+GFtrHrpnGWkpnfD8TAObwBSJs6R2isVoO7/tzTulaKZO6Jw8M1OznrLEC1fAyws9f55iFX3igu2oX9jzNLEG7DkSuSsM/Nd1oYCX4kep1m4eGLkTf7V7LJyMWfgMyhlAGmH0zaTgCldsT8+LrtTeZ6dY2ppjOolTGVx8nIWdvquIICusKa2O8mrKnIzkNO1sirIsOyY3Nd/PGsMjDj1HyvlprphclNW0+TeoTg+LEk43FN6pY0uiQJqCotGeVbDDXptHU7j3MZODgK3uPxvUa5F5xtQVpcEX6AteIcqUl2+mUopkiCBlWqytI3N8uUyoR2EyJvVnx+aJds33to6SvCJjmzuYk4///wmiJdyygU6+SKqOp4dyuhDuLZkA3dPr4zvLsSwYjMb8XsNeBsEaxFGSzOF4C/GV9cDy+t6cilvHBYKFNe6+Axt9vTFmtdG1hu0iv4DLLgRVDy8A58ss/YPzFRV62MT959ApeE/G5AuqSvH5S8AjLMSLY3k4wZqro6na0x9SZ/jsXCg/hB/4j/D6Bt19Xg8bwoNE+lV3MaxDJIZnGy8K1+8Wqp5ZkDsJF5d821My0hJS+w8BHGV5CIiFYBFSZcJ+vCROGifhZzfLdxvu2pfFi3kZOAFr8mYxr7ozu0tIee2KomTbM1InFqr66D0iGjMRB7CQpZGmzalzQMIOdOUG/c8/2XYa8V/V9AnhHBe09qP9kZGUE/0fcVlb7Ebvu0SGPPEM8tSur48w0YSUjzRqWv5M2Q3a4JTYuijbFnGc+pAu7craXztgfOFB5sECu9Mu3rEmFzgWnFp3SepoTbhexqUBKgyKts9U2LybB7/g/IC94OKq4GZB1d8TygXjmhlEW14C3zDKRO+1zw0RFN4FJctDoh8SiIjbj8pr7Cp2dpKQjDVdDKtqo4vCNvnB3P0uLfUCzGP7L3cikUmt1O6WU29zAPb3uAyVeQa3ZXMHbV6r04GkJ6IoR/5LtOSgTIwHcAgbQEDpnV3UNbnlzYy0zjLbk1ycV52UOhqUz77JYUJHs1bvvQTlQnBQnSGRXXP5woUiaMd3StEHg8/FMecF4HmEks7X+36X98sTlVSP4XJ4DITNdTNuAoBG2T9mRVKFrY/5U0W9xqoEmfrCguzD6Sy5QmVXQRDYqadM3w49X6c+1XuQ5fc2Xiu0XveWB7DNGHKWtxJIOQ2w1ApwyWyZaUGUbUMgO8FP9i0tGDCxWlpGePr/GjpALJGbJtRLXXZAHKKpw3ua8CazSbn8/j3uBlRMgvvtr7X77Jz/+bC2hvNrLp7ga+0sfCiM+/xbRuJPQnR0jVjHHimKzHyL4PwMw/Spwjpcoh3IqbgTXcrUAjP5P48S1jJr4Pp33cu0b4VzRuA4jeI/iPbr3oZwkrl1wHTcv8LY2G81ZG59NPiPBAQqZ06mO0ganFamfKfUdO6yAZj10ieI+DcmEh2pEv/HqRov6E5klnCLsqOxakiC45FaD0jH+/sD1ueSuRDXYNHVzOPbCVyoibpkm9U78ZGy25r2JIeCUMROCnCk+QxHTnt2KRedYO0i/zDv8PVhWBx0bZF0Mh8UeyuFaFcW5rQpYeZPxlApauR8fJQmrDBGi92bwJVD6OQWwDtEoAimYVswWjH0TJwsY9B5Dj873EOz00wkP3leS98aTSThNKpfZ5jJnM/l2aTFUL644UI1LM9N9SvbtUrdI6WyemNeJOC4uFPNwDFxYIhKXz8RuQnjdCgC4n1mS1NNZNecCfd1qFaDsKzHsKHTZ4BX77ONa19hXT8+Db5MQOwdGLOcqRTqqDfRH/yKbZr7jEX4xvGM5oGkd/l/tygN7yOudeSds3sZhhI9i+d64K1v3oRU69g9rv1XXWBfYS4uDyh5lpX0pJlp+q0jjwHZEy3y5ncHK4qnxA2QV+BVXPuX/nyy6YAWXGR9T7KR1bHrS/UFXeMb0vbML6Y36NcZb29GZWnH+nDMG2Nh1h+OltCy3rNJrw47kfWPtA+8p5SNNRdR8j0zyIc/DShEdX4VTsTJST1d/Ztmt5592L4tzaunJL9ZV23By7VE7g/CF5ChME6DXyK4vfpPfqhTxn0OQIC3Q66fOB9rT+Cbdgi5tXpGzDTbxqVFGdCAS6XoeMCsxb3+fOYMoJyoQdraKVCS/ZqJP1uv25velmU3GHo+GrdTFXdc0c3zgPz+nD8oao9W+V7drjigDg3M9Jy5/h4Vtzom4br3tg4/I681MtzadT9zTV8F1OjsYvRxZO7xa4dxduH45Mx8yc8uv9UcSBiQhxjApVN4Dy+wGfB4dKmUleVznUQlNK4ri0nPfIriVQ33hufBDrF4PgoVw4hckCTKTG2LDzjm0KMaYN5jZlnLd2UHeyINyCD95S5wmjJOdzUbpr3O7I2rEsKJ3upF+/hoZScor7peRCB2nH3ngZbsTeW0NfBJdiRq885IgPlIeUWNGDaYB0SgVTmyd1bVItfhu6bai2HmPFB4jfAi2jNzLFuKELtJNvEGFZnzBn0NlZR4H8sJATBLquOAvb6szldZO9TFnoLtv1c1p6cGXouimsQqp9tIc8uqWBOaatFljwXHZhPWYEH34C1H1ZwboK4XEA97Xv52zDA0Rwxr9C8tcIrnD2BMSqEE9YlOVMVHhCXcnfFcht6gsGvHrKO/HIys5go850GRTW3Dq/vlmi/+MtOFOzyz6HrzN53kwHh0R7+e6r2LWccRxxIx9XPfO52OqZtj9bVoMCaFPRBl3Mnp8hKK0pRWDtGVvTAAwy9xxGp3GvS9kzaYSA98ZzL4E38V+oseXu6HdIusCpF1iXDFYU6R+L3s9QnpfopKBeVRqyViXrNruMFCvvuorgOS85F0dKeowFBNmtjaGjoeA2lrkOgQ2u4bw2A2/aCGDxFf60O4G2galUj2ZfH5/SYOVY+0VL8rz/fht60FdOJWAcSGUpKPn9y8mK7QudxbL6l/KdOi4LS/ulZTaxHbcHtuwg7Vuy/coFHuFD8+OdWpVyQBQVpW6b1R7rg5AHonV9RqT2zdmDNllZhaOL2iczxn+MSd3e33vjA8hRIDm3EfRpUrWUAVpuKg+4AWu4L0nowzRhmiSIRNWIDfhLrNpjM7DbO02p38kmUSR2gtllesoM6caPT2vzHtqj3qn8nCgj1XX/4Iaw5aONC67ghHEODpgynUK1wUYUjB9JsTsJxAY6hC4dedPRMBFkZF+zg8IYD23wquySpkLbSNybsFD1y7/5njMSfeBfGSHFy5xecTv80+iHUHi+vpthxiy9VTDSmlCmZUwbQtIF59D2R65Q8ekSYKOKOHB5zYBx84yBS+DTHWfGeN8TXU8LdW0vdGlO7FfrYCDa1dZLt9m45qWru73LxRC/nk6WS6ZRsukRztT2Xna/FfJqjyHhjynUCFkh926e0mcnTqmcqLdwpfS6ljFi1AIlst2q85y541gtn9cRjMjiOStjCRUy3GlMRM7st8UfyKWF7Diooh6c50OCkWBcxqzaT8/S6ilFFiDi5U0N6wOHa8RSOk/FEnxIEYQpmDJaI4/vRQT6LdjCIBpyXIfA/PeqQ5y1lza+cy/dDlceyUwBBRB7tHlq8rIaXcP3XPDLVN/lyzRtAaQ8eP7g8lK+pAOPC+QdlYLP1/dtpPnwqf3R4yKPkWHQw1/CW0AKt5ih4p6/Mr2Q49A1OpjwyEYXpVnlJ61kW9y2hsLlrluFO0ctnD/EqJ6V57YpcSrYW+7+nkNEQefwA/wyMiwakPtnSRaL9iJZKiVnLzT9sg6O1n0oP3Uidm2UgywbDFmmAOfslwr6ffFKT3EuyJ2I5dthnFZg0Ba1A4mO+MzLLpQpKbTCKI2sKr+8kA5pGuAqgShd0epbOQXrBng22XBP8L3KG0Ee+iLOfB5OjZzW7d9wjI2h09GIYPIRTTNdJYT+rMMcgDCy6VS4rWzVVJr461Q6fisH5kohg4DA3sdZxH16AdjtDt5LZ5TFacFCwKIu9dnrN8AgjlmmKHkXYHZn1m7wKGhN8SyLA/85Sv5+03luaUQO3my6zDtUf42WbtN8j6pwGUQCl98KMptRDXVXPxGpdV8guCPAUTBFFpeXFYRguiaSIfN+ghSBNkv1BaP+W3ICwStt1RnQhEN3ZdWLIukMtTd/LdG4mPTqSF866J9df3pAavhzDMPn8wbzpY1AuZ/0ZmGFjZjDuJNMwwiph+tVyYh1og4PmXiYbrCQzfvVL//RzVkhUqtUnqNLDIrKK7o121eM0JHj4k+o8JBFXkw8F+dQb3IN7Jf+MUHoZqbhZDgWK3SAB6A1A9bgwKy/DTlVc9ljaVBtVTjx3RWHITdOCJRuszOpTQ6u6NqSSa0FzHxq2+gRKmPDITy3PrtnOn2gB0VsXGupg+xlQk8MvDc/qC9wfbGU90UmVEeQ18A1IhqBhEDjnhmacoEmnyK/6uZL1cxwKYIOM0re08C8chbnZSqXnm6SEd7+9TPHqzAazvwSVLUcHoML+yncP+MfOE05slNA3pv7SxjZKm+/8i28b+1fNbpOy5xyyPUQcobafr3fAn4L3jFeQv5TeXVG+bJgm3Go1naGAuyXbvLdt/+B0W2uifsZiuBfP5eWERYFUEQHS+ZtAk/b6PK4+yClh9W0TkuMnIDZ1dJYR+/Nh0qtVJqdio+exgQjJvbpabwKb8hDbLOpVUMB7NvEYa6AJ9+8iNhXG75S3hKZVNkUj+QhE1occBnvlh1ZJ/pbYnbvSke6XSU1Pq1OeUkZfI/hgzzCZOsBaYrdJOxYG0dk2adFpo1P13i+l8zuVGZ5U4j4sbvYXZmktLMF81WS6ZP0G+gl+shfo/G2FrKWYyRw3Dn6syoIGgxqsLOm6ifuL1kSkkJV2J+85hQjg4dSN8vJT5oQEa6MGYXqUysglm6FOAhoJG4eh29aRJGJUPLYcuXXrc8BA60IgWFXXnSM8MIS7TXP278eU2oIx0Uem+N4dDuybICEczJ/ZKE2dUEo7VBD4OiHpVtHUKe4rQ7C190S85cRyPoOswGO66t6YjhakBq7zi3XnyQuzXk5oQHSmD5uQ//R7PKHdXNnjBL3r+m4Dd0NsVKA/UAipZOsusY4rCiObTemSnhZnZJ1NfqWQT6GEbnShjfQlBgD+bId/on+Lv7gtfsc7yH9LrUfpD/+Xpr+2TzwdSADB6HJgmnpOpsjOWwVlAP6HEwdbLGvJY1WQgTOIvQRBCVel0G0tBTWsvp8YL/qe4/7xBkCwJiQg8Q+nPRtu5B18iZM54igXIKmJ2QikCy/t1z/XOE7j552Y38IU8PFtQKZz5daJG13Wdlhl8OH0k1qOJu+kcj+JUybtXwwJ3CSkzGOJfLekUrnHTwO7J9VAUToxpKriMPwvRUkqFjrifyJkGdJ1317ozemOGpZCr5byF4N+WbsXitreY0Keed7REr1jKfjc8OC412dDqMzg6yPmIWOyo4Wx/0rjAyio3jbOe8VpbJXIwF46ZUZmpER/FNPzPDVL8gnXWO6dGHy4vvJqCueCwmx/fq79/Bf8WpaNiJXtOouCUfJozWK4HSuaqigPKws5kz+SwKgVvSLuzoVLL85Q/xjgjhZTFrTQaDCj7+hH1b3racoecLIMw7b1UkZ8840SSlqpPw5Yqj6aMq0acJjYflODd6IxOwleDxVgCHmiOylJea3quPqJlt7C5y5kCc5R4dNHRV0Va7oKp/hPfr7z1yWkqFfLcxZjjmqm+x7gLJj3S1azyjGJ0V8R3clu0rgB8rA5R8JMTcfz7lFaxjrCwsf1VgUDMW7T1obWSXENrLE6R2QtqLQhaxx89pf2elrYkwEsSvfE3hLCfg+bGM8nmyKSy3G/VoHR8ZeJC2Jybei7bTvinb1YkLIVgL4OLMo1b8baWz0WLKILL8YTh5IEAzsbBgvhKqQo+quvAnMyPV2QrjTXt9/vWDBpGzI4uzGJXamPgk7VMZFGRAHgw01CyvxpGy/vBcJ+yEhfnEv4mwrTpHjeBBvUM2iiFdcabgsCAPlSjRP3F2z9ThmZdCH81hDwAB70ilu8+GHHylsGarGsSzd9YTBXACI0zSFxOO4KwfaOtEHEQ0We1E5/e1OLs+xVyM3V0VMVQYbscyGk3QKU2GZMFeb4bzbLxPdfmM5oRpmRinz78UH+wL1fQwdVDWnr4mZQcZhDaxdrUzrEHOeObUbSD1OGlzHIkDT0puLKuF2NHuIntqtgRvKyB5LtJ6SVi+e96LPdKe319zc/Nedztw0eU/AHDkZXmnMTpzpNlrH+nP0I6t9shvNOaGMU2UiPdEgBubwVBCEz8WbB9oeA/4BPU59KJEvo3Dli2M8dfkrtRMPCaprDr44aV+4Pyc1u8jd6u/c4hBzUecXx/E8jP0zFFN/WQ5c6yV/+i9q/m/yYQZCs01IleZ7FY//L3TToC4BhfZyR6mYvlOm98/E+uA2uZLgzDDQ16l+naBfDeiBkiMFLDCTSqXxvcwCPtlW1eOThqzmKYFiwou24hAyxw8F3zB58hyZH+poBlUatkaHhy+LbysYuHBTwnGuvWrxCm0qfDmf+tBe5ukDbz/Oyoq2/Ey3NWpyKmI0+w3dc6fbbFBInmB8o1OaIoAufXs7YwoCKiN+xRX6jfUgiqIz/K93gVysL6khQ4HmFUcOVdEk44qegXiT+DlVTiDjzWUPR93rPrT7C9wB1iwOQ+avfTbTHuRUWdyt3CvGhDIrTowP1JFdDHtJ3DGQyElPDwEw4zOq6SDHm9Ltss4XW1rQ8MtofTqtBnYgjFpsAqwjh+gJjL4fBbszxy6IIDmP6IJi/u/74Y4+ox1yNMyHyOHVrLfMAP7m+yuyxaolCapCepSjIxR12/6RS4GBvTCn0UvNeHU5jvdSafCQuhoaao4DZAOWiVV/qr+B+ouji2QUFtMshn+eUxIjsdMkYXzTSiUc+T412AsE+r2VwMggbSSguCBecoLe27L0Frr9EOdV0zREU8sbrNRsigpDmrObZ0p74g4tKf78TIj4nHXIzLBuHXahDv25XpbPuEyVXmbg5zCUO2bB6yAnNDHCrvafU3mLfXDRcREuRxHxAl9Yx3WrOEp73Z9WUlQXhb4aNPmeccCcSQPMb+xOfQ9Ig/qbT5BroSBK2uGPQmDfnihAPOq4U6Jg+dqBM0jEmE7usdxzYsxFCV3GajzSmVi93UGteumeZ0XP+fFZ1WkYBrA+V8KJBM8imoaS0KoJJRUjuNlArb61oz7qo3KaGf5tUMgSJnocIa2MYXN8+IUksYTEshRieSbX97H4SvN9y7x3+e6dOAUtoa4y82LwCaMSHtxtn/E8F2N10JGEfhlGyYUgxdFiQwVF6UQ4iYxpxtakhL5LbYPrELgb9mqxp6acWweNFyu8au2hkonAcTfk4t4NVC0+YIDEO/UX+EoS1uX7DnwfuaC60KkELu5cwM/rbEA3O3XYAH3eF4+3stqAwfnYW+Br8HJFSUqcKzUyT360kRY+Ds+M7i2+FvUyAkljW3GL1Vmj1DZ8EEokvvzttvkv6oYSFWAC1q3cOqPnK9ZGGBEZUBGpf95O5o1LuXnL0LOdyKCwmmro6dR2fPh9qlkVDhSx1rCplnbJpTlb+MKlj8Ip8oHtb3VhSq+M99hVayOC0wiM4AE2KI408euKFM44Vax9j2v+jrgXw5WU8kR/j/rwL0Nq1enhGgCvgtq6GXXrsRBhyVZGkUF05FAiMBqvTASNSJaHq56V6iaP3RBQjGPOvegiECFuESeVEcTjsRPiOtzfDkWEsLRnj2XzvAUlK3yJ5TWDIl9+uchQ2El7F0zCVKco0U1QpTH6xQ9pjhHg7Zw6YhF1D9kezYwaMYcJLp15vECxZoz96UUUPET5JrxrTNk28Q0+qKXnKs01x0tbMKQM7udUN+J8pEUWUgAq4PrN04JAyJuNcmjWxHQ8VaZf+/5sGJ+lO+GOHynvoSu4tiyvweZOK+8ufbbJE/8WR3RiPUgyRoKs6Rc36tIVBXIWkzH0OYwE/ZtSa44U53M35bKOdp15iV0sfc9LlSJq/dLKGeIyAnW/3zn5+M9vbLZPAFh285zU+28IKTkj7zPirB2L3Fdm3+kCWxnJ9NIteeLzGXqngzP5ebtImQhR85FgNLhn5O0DEDyLYkY8W0V+/riogaKO+qpSyA64Owp1qY8iOchGaKXGTC0e+iGuhCsETK3mhmLnoMsxYfPDa62NrB9ZoDwBq5KIyurGoAX2AbyuR4YvUy0Us3wrZly3e+V6SPGUywJxtkiTtiqm13gW3JmhbVjf5CXOw7QN1zMZS2IDOZ2YQNZKUm5jP/4OkLxXKP1ECQEO+uhhMAfdFBqzayYsnZu+keKwE94Bu1cXr1hHbwxJn0EcC9trBfoduvWAfPYts/uPzKP394y+xRzZTL4xlnOYD8bKboDNPhwL3oeVPzuP0OJTV7VS6K27mGTgeAMLvrR/AQjJxTWXUAtMUhU4VikVqAvwhE/alA8ISwSQFzzIc6LD1drROC4quiBCm/E3Egqqoi1tdWzaSZkPOXhr9kglrt+hpw+OSdM4bzJsvL9Nz9vXsgMrHOAPJYRnr4w3gYcJlWGJtXNy7RvAio+9+tynR2xaA7NdQaAnDXIKSd6iJXl+3xi+vc2cFf/IkhQjZT9Itgefwq20GtRq0MYnif0adMEmsy8nEtPCPyl4yIdI/XsXuneCCGXVR+CL4tRPZZmLD1OyFKBrNGA9UwqS8hnFf4TU6AQijb+wK9IwVffzqR57MZRqxUITTX9im9vnK1CI7USsB24/wpCP4iwwJAMgv1/O+jWyz5BmQt0D7Mw3m0lwWp2KISB48YRqp59hBfl+KpugLtaUoLyPRtHWbw+VfO9AFz4YpNCZkdfq4Zdb0tPgXP+A1HgPbT6Ac5EzJhv8PpaQpj40p1UKQKORxFwLzZuc86zVVucHwKajOaaCKn7NYYOz7mGxxx3EbFZk+R7rRSFwgd32Nhb54ZW38+2O0SbWUV6b6Eia9NgjRkccgyr9CjUIC4Rf8tKt5HCA1nSplmC7I54iCHcESdA+oOI/3zF7OirsRh+8JtaAVUPBIQHeJlkCyUuiLp79C7SWI0YLcLOj/THlQ7W/J6DyrIie7JFLPTZqoMEMyKyQQ4PsyR2Y7M1vjw6DwEFder1yevMeUlg5o3p6+psgddosxq5u+iwEfi9JbbO96knttqnSbWZIuPYeKRfoofProVzAswmxa/0TlcMq/EcLlH3cDimDq5ce0jryq2Hs2WibQ85NEVpJkJtAr/iekCt7L2R5EibH8/0+1RrpQzDMWwf16SEDou4VuSSLtgFxHOEvgWogIcPIpfSu2s/kVNdMykSHIrn9SQrVJdirCodWVl9irFSEyT70lWRFJnTpyJlsnkwDLAPVJNMydTjgG2B9pJ8AtoszaLhQ+1pZPelBFw3kuHioxDc1Rej8FDT5KAY90p7i580EM9emPxklpVKXeX4FcCA4ntv47ghtYEn9xWjmMRmmiaiRtQ143/LQ9gBI744imXiTyTTM1SDiQRVj9IMzKmHev+879+dyejFJXG/JM7wbu7eNc71gYqhGo8vvqofAhDbALGxIMgBNJYfY28CIDUT2FvhiLiVw55+0l117IpmlmzIaeb5rtbu4R+MZLwY0odJLBtsQKLK3EvNYbMDjZ4EZasSGtJd62kfHVaV9K1pqfucaTm3JnNQ76b1sCrTemWafga1oyo/PMe9Z1qW9N4QlyZ+vYDMvnc49LpHHOfI7DZRjXYCQ9VuGkAAmERXah+1icI3q0klRyrmauciTEcUgNbKUDQyWoFD/3FvuYGz+iSKPZ8qCe3Sp1NQwztQO8KV2RQpAdl+YwGZ2Gy3G0eAKdpFGT8xwUSMm3rNwV5eJx/sS1W5U8Iv3nAGrt6gtTMk1jrxEgD+PaXqsNesLA1UjOy597CdaTAqCUdTQxIQpEAaOGmZ7L9JlaE7GXaElVwUY9Lu0sbwpbD/8cOQJmGgWW8Iq+bEnc1lLcxwtxzqkvUs3n8M+siUGBrN6QrRli4gJ2s5JqzEp9qp5ZzgrW0D22XVUbOEyScLcZFLpr0V0au4wi5ZBovborxSlRJLQhWejDrijLn+AUiRqOFjippN0PH+xn9umq9CrglxC9mjmWnYCiXPWQ5+mAttTUX18PZq3q6g8wPCfobiayDTtvsZPEzCSvw4sXEpvRHmDx2m18A4FPDbSM0x3/FrhbIu7iwgfykyDowSEpRjXNv+FNzX0egd8EFzG5XB7VMu7RqF9U0svqOJaJ/J4Ksn1N+BkZ7U0UJDbu1hz75luEqniYcmHZQww2IW4O2aBD9+u/I1AfvKcCaQAKd88/chmWNKh68jJOcVSjcUyd+upetKultJ8ieLRDMA+SakSpV7rFwmP1/rjsVQ7Zt4z7RAXNqXboSx3gsJjis5inU7tbezUpoBPfIvblJaAf+FPcVSChylYaP5DJv9KAjJ0e9J88o+PGZRUTfDGxrfwoOKAKLdvXCN4dotRoSG+daO94q7bf2mF61hdx4GU5055wNm19qY3D4rEWW+08HeuzX2V8WUoU7Zd79UwzNzohxdK74k50JPLKbGb9Wu4Y7X80AloOsQehEt1MLHyCY2gUY6w4MdkFbhIsYP2Mx2b4uoYfZ3UXoqeaTtqTwHYfc9W9Kyn5YavEPv5NfkwxlcWNgtVZwX2O1AR1Lr62AoTBMLKY2N+sXMBVYdp6dMPqRv7w4q/eiPxBV8zlqnWX1u689mPoFarutyYUD/9YFMLcXQGkBBMUUI3CH35+MQMTZqGvIQRnd5r76cI8+r9M3UJYULa480wllBqY1ReFo2gwpBxNeqlIqBmWCvr19O0CNCRE4e8v3li0wW5GjyDhPvL/qPh1jLGVeotyMegdrRtjCriQBQ3uFzkyEGwJ3m0lmXiWYKmrUH9T7yHbGZNs5Ac8GqSUTgpZYUlP4zTHu4P+p5EFt9zglux23fBq37VM2IKLDbYkUXGOWs2sg8AimtNTKWUIyNkJxsEh18Kisq7iLlnZUHgtLhwGpdqcQqUt8sgiq3XD24HBGaIZI3BmXgOKyUmmkCieWhqs8FWnJPxlidTjN47jbDJaLL1LMEG3hTlVaYo5oPTHv5wOfQMplK4a7++hEMjTssPr8uPqfX08hUPwgeXtFXiwWA/SXOVp6xUmuClWI5PiHWDh7ABA8S10bWP97wQ2EL38H+/EMOoN8xVLVpDRD27l09H/pi9nf+QSvLEXDqlXThVhshU+ql9Pac9aPqC/sfAeCy0r8igcZFodpqtg0ovEQP8jEkWqWp31JkQBYv8aN6NkKLiVk6chhsJinI3N56EaV9nnsvsW0+LTsEaVNtdIvNAUP2dJ8oO3PPuJx+vm7WGfAGxAz3wNUKRmCgy8x1rrpZ2sWROH7iB4mLBr4ADZ5DHeLznU1texXAARZPMeKbKXKOtetMKIBwTmBOptlfeClUhe04pISwcwuI7T6gi5TsNclrDy3YPqjLQdNlSmknu5sKG7RBwil3WqPowdIz94X1+Q3ZskDgLc3FSqYt6LeFEYIVzKy7UMgxkmoNNEc1w/QHBTGqcrrN9+nRp+hbS37vmjShPuYg5Srgk9dvRmUYZAOgSQfFxXbXuRcCBYbnG03eFW7+bupMBQrsj9bJHxJVtmkqxWtJLYN74tw+60C/YySLAdU0UG8mPsqE0FNo2mfEKuNG+Anrr4eIV7QqcbeMXJgFNSZfJ5PU9TlorxGLCwIAcFt0hX9hBOQeiyZmf11nkUvD2QmbovL9oFZHbDEiKfe/BcmbwVt8vPfQcpv/DhGXcLzy8GFGtNE7U1YZ7dKsK+jSWBX+c+Tsb8LKdlPPd+ofuabJ3Syd8yp7xTKlD/bZPS+r3g0khcK+/SiujCQiRkrpAHTrON+15M0AzmtVBXCmUIfn1Fl4Ap5nV8ih4siWJg5fiNtZ55MZ9od0dZr60Zeq5vN4SnYCs9s9hmnMHtDI34dowONiM6lN9oqwYE3Tu0P2bNf0TIm9dozwxjT1jS9nxiBUyIN9SRVqsP3Ck75QWs3G0rjgqT8o+nTYDOa1YaKLhsJJdVVMQhgUqPoxryGxIX07XC2ZLUHJvCQ5yDJsCtpdYIgCHOfyNMtLqN0RBhICee2qWm/XAMC1T1wHi5cXzs/d0bMrQwa33xPlOWmR3zknNHCSz5IkFY137N0aRgCDu603be+5l1KgI6k4pjbHpVdY7ODBUp3VRJO8r33hCSDkikQzo7Xn8alY3RcjWWyA5udVYOs58gUFAtPF02e9ZoWwwhg7vo6wUGPfzFHTRjXE1Bw0RA1tZerrGwOoiGsIwPIWanLUkBqlT3paTxyyszZpts6HmzgTDfPihtubhqi6aAvggKnDmyWduI0I8alP3px1MpCKqOCnu49HVGYgM6cidK7n28T2izDXfo0NJeogqYfbXdOtEQFFArcChhgkG3d6PSVMSpIvMfBLsi/r1OC4GXxutfEY1/JQ1OASXTCy4UxdVgu84BH8BcJv7cEBWrhzNEZXr+v8/vYIwsmxddLmMKNJm0Mbanoi2+PpAV8Vv6Vy8f+QUjpwAfklvLwJwhh/5s6iX1FTZFVrASNU89gTDU+66p6h1SZA7uGFoLZdPA8/zzbqwNCJ0Ud4hupTshzRkK7+l/ypGamOIDqFu9ctHu//ZiIIRzT5tsWaDNgUDf37GrvGG4wOa3mDkGJ2ShcmxyhSbiot0uQolgHPnIE5fbCdYnVKBLpGb/PpzkaLkhJSOmNQThw7/BmEfuM1VYuecyFMSOGXobjbttGZszJJ4wk8R5NBy82crq9OfZB1Ss15MNRzQukHo2T83kiMpAogAgrClyH3UbZd+QLz6OzQ3vSO9shnT6hiLx9vx6cbnGLTMQ1XRwcgU0f5QA=="/>
  <p:tag name="MEKKOXMLTAGS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1h9D1Z5GDtPW+wuCTrU5cbsTyeRnoM7v2+KYfNB8pPDHY3/N/nQDLg73FVUjs5JX80ZEMdZ5aXYVE2SrM7ljDixtoKhF4R5tzsuuZUVsHAaGHrcvzrGlD4yAm3CyaORk4O/aqBJgY0aC2MNL7S7z5ijemfSgX5bQjjq9OQ1XUBK0ZgINrN9OG6sVK7rGsEM8vfxZf5kf3+Cs+3Fg2Sy5fRaQ5ccUR2opIae3puEoYX1/q8LkRXBqJVH7xnGGAHyVuotPXWWl/MCNYEHkxXtp8GSte28JsHppcnFpFPVpKZ2wpjIdvl0H+niFkCOIvUyoneDSk4qTREHIQ6oV8d4GMZgdf+n88FhieQUyI7fTzYzQGPeGecSTlpEsXEAvRxY/qVjxnBXEnruj3EGjdLU/Zd+g7+fmpRtN/u7Yytz/ZDt952vWuvZcLnAO3S76MiNVWzUQhdy5n8dVyWitYUsWTD9GA3gb1OmRCt3PEgFKVSxHTsxBnLDmbtyMIUMY6rmJqFHQcIS2CcgnqoUAoUiQLBcaEZv56opNFDqY8cE0+hFw0LsZPmxGMii/HPBfdrMXrv3ce1UWgu+bg8ClU6atK1YiwLDA4wZYseVBySjr0R1P2KR9W2g7eCJ/pC6H4HBtrl9I3W6Pntigu3wFJar35IcWBthSQOi+j+R9urrJubUVWB7mcfFMDRXtyFflQQ5RYl2tChSJY4jXL5L7EMpb899cxqcXqSIzuhArPSuqATxYWHzT1NGwphK+zFG7ZWAI0ib2QudDqIxvYyfkwH9h9RJVnbEIU6gf/pqD9i9cLqihHnfSD4uKb5mwZ2EKcpEu3tSKk5IHZlfoih2xw8dMqV16bvvBKi4aZtsVqjIOAkQazqh5+xWVpjN2EGzyWdsp0Mkgw6cfKmx37y42e7XORGQG7erqm7ATvMu9ssqhLolcacY7wOd25k6RW7lZGPgyHo3PJ0/8oZW81FS7OfaeLl4f4CWmVY3JXuGtlbfQ+QuGD3W/xd6LqDeQOWLu9tKRI2LC8ckWzYhcelXPBr4rkjWF9bNaDIrcLz+O7ayB+U4oI7Baoxu0rRePafDclzdDyWRg25SJxwBmrGEgSvlB/GsEXNGxrIkREN8HzuFbQSvnSik5meBuN2XkFGvE1QRlSlu26WlXjvkraOdqlYo03v94/7I3nOkLgx/tRfkDdZUEFgfuml7TeLeqzllpWibMxA7XvCRHwCzuHhYioDRMuDxFbSOsI+YvIswgeMozWEdBr+pAWuuHrx7VxuOlpSBTLJdbLsznTTuWbdMBN4lPwQUJ9tHwLgwzrAgWbhafRPWVkoUzTqldYVK3izYxTyoHh+80pe0eajkYn8dZBmuR/uv5KeSF7qSgXnLyQk9gliLQCogIgcck1ii+Lv6960arqMe9Yt1nPvMj4VvPp0dm0TQ7blijsncF6XmhGJ2a/zPliRo7Ao3FoV0/75+6Z/6L9Qt43zqElLQYd1Yy84hKdlrW1BdOM/TRH2juRyHTuIvn9v6UtDBEfXeUofQu0gEtsqIk4EJNt/38/ajPepEO+TtonPFvN/7Jc0zuM6Z3IBUO2lsvZcYh73rzVoXgD9VkoXYIi0PBbpZt4Q6L3AI8pHbfrOWCRBjxzZAiz8u8Y++XEC1FQs4XYL43JVh6nq3+3W6xuzz8gbOi2nfomG/e9E6lpIt6McCQyWKeSV/2wSWbW3onxj7HPQgi+WZs58MEey34OFAQox4JAZFj1EjsuEHSzI6MIv6bfYtnHfq+5uz6nx1/W+TjuMDDcirM1vuZGiuLTR72omSsZqy619SMxS5Lwk3ip6qmTN3KehoT9Nehte9LoiwvLRxnxaufnNAqIQSKfEod+Lc7fBhgDFcsVf9kH+p0KdcahwQ5vIZHtAm11EItTzEsgc9fmmRrhhIMbMwIXZjGWqAAavmBnmp4ZK6STyi6zCwBad5/0KZZn57D/ZDuCdPVEerMG1De5P4ElAhAk+H0mDQAY6Ul0pHkks2lFzii43pJe9DTDC9sc6mo+zudGoZSstHCupyGHfNum3jCRiNLKs0GLBRhDfqEbw/7JNNI5jO5WWOPFkebfGD5kBjHq4Tp0Qv7HRaiqhBpJrcmt6TbMK1tQzMmY05GhBNQLChJAw9pfc+zIi8H7KIgRos20fsotXT8doynnqep1E04zJGR1+3MDbJsHEeSCjk2+yVi9q6WIlK7MKE4wiQv4Rq2b4i9VbaIFB6gXI8DOya1kXOecZdaJ7rUXhDUGEUf9Bxmursvs6wAZkY8eiz8tLF3nK7wBbgU96Et8/w+SDgCd8rIfJri5YOvo8yhZhPKbvQ6xDeCTaOer1+qukMT28J1SBJqmfG9AMJ7KDWIWE4cxXbm31yD7msFDGIXf4RT7qmZUc6WJ3KzKrSfqWWvEi0JLos7PCx/8gqj0654XaQVhFAUA8IrmMCf6qLetMMb20Q3Rwex++7fp7A7ovRxtRtHEzudNQQ6jnmkauyzCj9Sv+hnls/ndy/27RRAY7EWaDDYPght9tQC1V/wN3iC6fxqAWFuZW2J3sassTNJOTAo2ZufMv0ZeT1XKLU8offgW6GEY4R3Lu617t0CsnOkj0eZOHYn57RIu1XzrYOO3VUHeIvtwDsZoVRt0H82AC/x3IJ0UAcjtFSJzTF55BheRJxvkMAfkUo169L9QP7L+LPd5tQgDnqLFj9tvlqNb0DZf7H6rFm7EeE0n5AV5qazAor0FliIvf/fHLT7EjReyQ/LJ8RS5GjWzfQ30+l2m+M0tY+UkIZ5Bq/+QSBL55aNz9OXJ8kiLQZRpK/fwif3YT47He/8gFxgtwlgwiG/K6touuVeW64YGFmD7be+ylzqaq4DllvRYNdWIzioHTQvEAlGFjxOakoWMkLp6edqpZme53P+i+u1NJo/yoDiPT1fCXvMHwv+UtMyOJ2E33GtmIRhohtw8101dnJcybjzAHUbwu9BkXebAdO5pvSzCx9RwLSURlmJ5p5rQIY0bl5oxO9sFhp6ZPn3LVDzDvESyDELeZ/YD9TFr252XPkM4Qidz0dIVh/cuypzGjej1/XhV4ttdhjslS4bW95T2pc6tfHJhQPX4YrWWeBhwOAmgXOSkCYHSwDSYe+TY16FeXnC1PUA2YwDfcgTuPdSN7qzeOlQqH6wWNJGt2luw/Ku6ajeZ2L4IRmfbAHTKCy6hHY2/8keYqGzpE/7R/UZmyNPcTb4qqhmdyYZWCLsVuV5cFWwCTWK5wM1DnlG8zO1pyoFNhPInM76T0mxuTj/HSQgsZrbLCiFka66lh1eQlv4TzuTccoOOcwJUeBbcJcqpiz5MUJ46JOcA3LNskNWde5gWk1kC4PDoNteQZrWlAfm/Cvv40GGKzAKj7aB9oAYIQEqQdEAGJTztsPSHq0g/BI5jc8abU+RuEPrBUT52MvvKqJd4tqeg4EtfCBEo1p0awBWiLmOV/FFWCadbOwU106aehDNRPFxEU578iXAs51JJuzeq8yAq5eYY0qcjTWdQZ0v7XaPgf8HlyFYtdSZEyktM2WFSwrkQuMfGzF6I0HZLwdoeN48Lv5w7SebJaeRyBSz9GTpo93wrWwgrDL7D9yP5hj+KgsyYd66fTLXhn4RcqlnnkRK+TXZ2mCGNog2eL/4pp3NlBE9VC8LskqMS6j+nbTM/BViPF+r5WrpIpXVBoofRiwoSpL4TFyy9d+J5coSYDIO81OzLBZ6K32xWbN6R1AJt1y6Kj8VyHPSUXqtfCoRwGNTi3in5SeiyryC6kzQI7Iq0Y8kvDOZgDOwaRVHjuEK57AYdKrE/+Jdv/T+0THsDjjHPWeLFybGUBfN6pP8HRlks8dtlneYthplRTIFh41KJ8C3DPR/y/sNDcYl2phmaid/sje+uebcg5HnAffV+8YUuFNsbNnxnjuL60acgxUkZfFJeUPeiFb4M2eYS9Q5ktPUGAZqnpqTSNnM0v0CwBrD51nRUNTx4A50R7xijbzTo8MCBtVZ+bmiEOG9F9iK6q/oGCZcihNE7yJzKUdJRDCSUR0W4V39/AluL4Lxt/qcnTlPyF6SUm/5TmtNmLJh0/dqcXGLQI9WBBSG7TQdA0/Q0I3dH1v75ampmKGfYPqognxrpemdDIZAqi7/IAk/d7Tg4ObgA3adeVE8M5MwXY2ISYi8WcbsiCPDc35cwJ+2s87DRT774+hV68f0tmSj09bW+J9vmhYSgTe/7zofRJwgGWwSo3p60XUohrISwBAaP0i5z+/8wE8ajrIoVweC9bMqwG4+jCUAYMuEl5JY5/azR7yLEogfV7txQXhmfNgP3ILao7SzajOoJ2dkeKZMK41Tu/AA3ytLNASI3SMYddkxd7+Odx0aKm5pAWnBBoIMcx2VvOIaTQUp9C4XzHGo9qn0VE2F8dPoM3uJPoTfQtCOW1ZcbeL2ODqj7ZiPJQav3PpcqifdaM8AmykBYP1rJN1tlcoF4iKHoWLBs+mIjqORtW8nCz54nlGl5LoT/SJurCPExmMlu7CejZTu3IDYU5IfIENwmI/zINgXV1ScWCduKH35y6leDBUrRYtLF8E5paBqJE99AKuoxpZhCWYoakSa8rbN66YkeV0DOOKaaGKIGy+3QJmhILJN4zAQe8+QFvkSIDDQCaBerrVT3319L4NIfB+ZX0B/Qs7O5zgpMIiaAXZltg1wXc9A6eVzkQw2xW6aR0BJhzxhsOeb21lmxhpJIearCdtCXuVfAENAsh/AjBL+BOHO7LvI7wqOeGqF7CYGW0wYctwLkc42ZYQIonUBbazogx7JOJD1QvuwZPAaF4DAgNuozkpIHYgUG7WYO2dAmhZ5vWPMHTcYzboMoPZlPTUrWYDOZvaTN9jLRqAp8Dmh943mLZ4cZAJn95sUmgDv4xLOiSVNVknnKSOrZLKp2NFhJTInVb7KcptDqxEHYCeZh9CeclAkQifwC3Xb3zf8FzVCU53p+yv8O+iAEnXvqQoX/U9FKUNOAYtSIwsflxg2ht6sG15YpCkjyEt2f1x22/dH+WUTxSlQctV1Le4Y1j5zQ//rZ9IKrpAwQ2fd+zFcn+0lB0Ei3eL9YRxgBLfJOvNGbu6OZR0Vg2ChDtVVxCooajyRCfMwIv30XTLlnYegTgG5tNatQgpCq9LHRBY6tVH4CgIFvRtmHyARcLVvhe/evzYb02e59Q2aTaNifloVa67lHQW463qre0kjrmGluzYtpKbEJw/8+YjzAhMQPkrL9fOaMd9LZ6ws+MjkViVxPKAUyARBfX3NHwiB/MlPHereRZ2V86f4ro7slVCf9M5yR5zJN7A7caYqo7eTQ2qTQ3NDDebrhBPdLF9ZhbvbDEfZoqMeuTTIS8RruqX10iNH0eCO2BzQWpXXC7lvk/7nlHlD8DhDw101TFZrZecvjprP8rITBBA07dFQOy7RdfJQlLEL5CRmUhszPHkO+6Llo3UcYO1KV8LDH3GU5eJc1XVdQS5tOLlrEPqnMnctF0QdOTZJY6/V6rpW7fGbQ91NlYtvEX2JEd0v7+2pYfgrHteMBTxx2GeU2gzp2bDNLO/CeoT1DBI9AhfnzEMMJsvp5Qngpz5lnDFEstL430cddC43mfz2lXvYanga7HdLv0dyTIIuGymI8+Svh5vP6C/isY5aijlDvEOTaiM6dTXn9cc9i1AKo5nlrJPtV9IGUX4kfqQ8KUt939oTUmybfE9kYkQB6wGA5lVojHsgIAZeeCPABdq5mPgaOSq+SKb2uqYZFG76jqRWvxGTZkOGGZFtVc+xubwBJUNihoENtzD1mlyw9AhHNWkLT5S5OfzbEgCRzBgMyxfPq6VT3BpReGguBx338Y+saP8tVryvGjbe34o73Jnx118SGdViOig7CyccvLFjFyUtZhENmp4y6GI2igu2RnjArRnk33RmqqXPer3JSx4dOu4yVviQe4W5KtHG0R6w+SaFVg6aIqHs41qWY13uv92bm+p3WEENbHraAIF3xjB/Spr+wyVLFdXVPB7xuYmSnK3lycyBnuAgzO+2HMEaa6pGapqSLQIg/Sna6YjFxSKwR3qNfrRxThVGTdaGwEYz+Jj/WKkb63slBWAMdf6T7wlGVcF738BRgLmG1wQvZqq0lotXiA+tmAfIxGy+HxxqcWtSIuJLOKE+Q/0sAKpdiMVOytVzAgxqcurtkdB7gx54WQjlYnTjrMQs+dehYGbqu8Gm8pgJwyxAavRVmJ/4mq9XmH5/TixtyJZ1xKRFzueeA78UCsZcJIJx706ZxAQh7HzvcShrICSLg6dUOtEYfTF7xHdwYrC1xdgy4MnaZgJ90MR4whWzg3Vet2Z1//J6IWGJb3TkhYffTQTML94YzVCCzOj9t8TxXnMW2HYIaOPCebaSgdPZ0BC5WjRrVjL6OPDA3UfmboqPKGYN0hDSRCWAQON+nw5aDGNzYQZ6OvwWwbGE5SrGTncOeow+h9GBPkmoB4tlM52sVdAQrVJuQabz+3+vHCCu5bc8Xi7rpPZVXMbWHt3aHPCue0jUqVxzV3etvNlqom7F1aTs/oZMozF79cHQuDQiybWFDsLEGTLRNCBa+R9fW51hmXb2ozyzjXg37OZJ4d//RQiTXFV1hlzBhKsEC+6r8cyTPGYQ6+r3y95aCho+/lABmQ+KKjWr8nl+p+ONb8p5v9wOiLW+l1feCg2ZC7W+q5fH0fS3vHGadLccf5lTu3vn1AYRNzCCfqfxkn5Qia/ZHCa+QMB2LcfpB9hzCkgKGwcDBDFAgoFJMersyRv6h4oofuXp/y3z5+SCs0uVbGIyCey0N5h2wtG2/uqk+WiDO/ubE/DGPTGYL9MI37gHmYmc3KLfHObdUhanmCEBh3Nya1dqs0IVIVts/NZ4bn0MMoJPfZW2RhATHpdecqGi4MNEYUHFTv/8bhw3yFnUjK46Yzj5pL3KBMyEXmD+z6EDLF8ekLlGxHqrjgX15UzM9S6uGoDMc8DTTRlTTYxBVrC+vzkhEFMHcAFhMbmhQ1CTAq2BPHLIZGHJNG463Vz73wndTUGHCWoDpgqyg9qfc/RnLBsE/Osa5vuFnUa77ox0H21gYHf+i8e0YN57hfpl+1XlWGQTBA8uo7bo7ZW6zUy9v0Q2ilpT7rGBp7fCEXDmYqa62teociS7+DhP1fk/FONoa6KJsRbNiHvYLXUNi3oCeEJ60knzr3Yt0PWbtn2spJrfnPRCE7A/PfW1jKdqzE7aiBiKYLTwBtg2L0q+XIAHH/UFw7fjAjSwQPvOPLBDryaMiItvENWly+mRdYzrT0vzbr0R1FGb6AjurxjWkS7fLqA9c348MQ5eQmP8m0+J7834LTGKV2I/ZMVQyhR+Bh/D3vgCHvj89+eIum9+KPzo0ZNOZ9wFfcsmfwJ5sEFhjyQEPqWtBAaoHorqbDwdWWtNYaM/zNZpf4QH6XLHEQT9PBpl3fg6Vzetkg+34BNFJnDvXRkXGYl2MtkcZYD/qdIxwn2I3DhWQ4VxvMyJWA0C7Bym28gKW1am3EEWdzaunKzqKMqwvaBkTRYoP6NncWhdQ2TrgJQ2RtWA75daZE5UhLreO5UIhbDedpf7LwU1ZRM24w5ZlJsqcMpajC/VV+RGO4Nzqao11w9j7efSYy4L5l48mSsQ2lrc8kSV8jEozERnV6gpGtSifwAwpY7O/mwJHWcweG9QDj6tmdgdyY9cd+nTF2q6jc5TzvUHU5+DaTFjBTcPAMjYmYC5cRPkAFAT4i7OH8b0polYgf2dvQPjpMbru8AUMv8z6wBVJXX3ASUBQ4cG9rMr4yTl0EXTzokFQKVeUbP5TyCALFJy/54fdeK2pQwN3FsQrvjd4Ud8Yg7Wi8O50wUmr+mJRLbmV/qIh1Ab2yMpXvM3rJPbzMPZYYEhblMhgbXnrTsJcJjdexk7Z4KQXjd7dMwu/VzHcLobSC5SraoKwbAQ6QcfR/+BZ07k8lhz8u8MyrI2mkixpFIxdg3xmK+DuN5zKtmDSrenBeY+KQJekmB4cBhmIVPCqszkQENUzNTkGZdeGfZvHL3DKj4Q2najzUjba6jLJYpzNI9zw6OJ5VJCFus4SaJzPHc2NYmaqvVPNTsc01qb/BzAKyj9AMKnN60EKojnG1RN4WvDePyfRPIebzq3ZA9ujEstY5UXstDRA5iPzKNFXFsUrZ4RDxEyAqh/eaWK6AivUGvSOv+c+M+iIaF2mdPFUxzbH5aOXFfxnBtd2jhsrfIxjryTPHUFGt5F3q34a9ufURyM5B0z6WxvAn5y6ffWPVT8KVKRmeARUxlkPo6l0JjcVQdk8WvbzzLu7y4YNWQAB5RTQIf5LgeOamlFPRSWNTA/u8s5drG/GzvISwxhm5y5I8n1gn2TE87NIAzA9IfUzu60Hm7jaP5gtScmbyZ/1WKrfZNfiX0A3EaS0x5rPTPomAGM0xlbsQgmPFReuAGuv28mQqSFDz1uGp9qNQJTfHwxaHEfzmb7sj3cfrUXka0i3UBrDJQcqAQUtfvXmgHmx4VBaWf79alms2v8YFw97UndJdbXLqcNxVdx+Yz/GRhKv7K1Jak5J3Nn3xBsmEUr79I89n84XQGxAxYIldinijVlGZq+B9aAyPVOkN8WUmwxUseotCz4mJa21np1LWZKpA1VgW3KXaxc79ZRGn1Ug/x+ana+kjWqV9nHlSsUw8iOpwm2ew1NJyiTR0XZAfFUU4Z7h6JYHzWGU4bxhcb0meNm7wHEYSUuOeB5ai+TDyzQgyBZvuFkNfJ60H4DunLV7st31o6K7Ppa7s4oT/K683LyoPaDNCoUqk/JiSYaWE/+XpwFSYIToJi635dMeq0PHcyYUZzSmeYVvz89OINvztk6yhiaTGUkkOtGw5XSke8CyLyG/5NCBdndvdpj1ARbE588gAVUTUEc/zj0MkVjY/4IAtSjZt5owBPu2TVd+5nFhdRJThygkLPLfLDETsCZxONI8vxYpPGLJlF2KaP5k8uo4PT3Dl5ki9yNJn0z36ssRVTcVi7rXcjt8ccyVyP4+YgIbOc5T7sN6fdOA0AJrPThkNPwHduC0gmJozhIlZbLcdM5/3essyVXnyNz4Ck6Z2bTpWc34znYuwcxYbluPKutP2bNr+FLIK13s+FydbQGV4U3vppB0lx0uvlKPxAUDi8SF6wRIySXxLHirP6f9GJSOl6ylTVriIAuGumf7thKhUHBiKfdnNrzhoRlyT/upnxcJmxoveq+hm2qW5WwQmSqpZyvUmsGpERkreDwQq7yCCGkNO75EKY6+RDT2meWkM5fTRxuwsvgC4G5/ZiPQDhYgZJGiUFJPEn6szh+b/wBm0/CRmjnGXTothCqT1qXrQn0Ivot8A118Du8DSbbvICZ6P7ob647I4/FpK7j4wTgeDm7YaKyeyiMmu8LhYv1EauU3hEg+Fsp8+H7pCgEZeRcShIX6BgV9MfLphcQqdhaq6lUC/CiztiBPbQLN8RccfDoBQ8EzA4hzrXGEibdxcLRbtgVRXNl5uNmBZ6TVBiCuhCbk0kH8IKBFjpLWR76aNs2WEuWXkY4tOPZEj23bpxMh7oifUEjXGPqN1EW0aEw+EqtsKcWSV7GVpro74ROVgwnj2j0WMZeUKIZRk4ehoKPAi+tqjk+GRsZRMdpj7+bAbjPMNrqstvLFTmL2uM+vFJrL3cFO/n+VOIT6gatpqyc/FNmKIPi6RApYgsLBGCi1D9zTklNAd204VTF0VPOFckQvUOB4RjBCeFYiOFibd0pt64W2E8btj8Xl7jqML0gl37ezzEduWeIW2ABW+6KO4P3uArEq5GljVBoZoX/fNa+/GmM0enNmcIp9c+tDSBsD/azACYkIgCqXRU8rSdp+Lw0QqoLKf6Cr1sPoOb+2ix4BaPIjTOoEPNt6tqjQ5ZYfvaUmFh/e+hRRk9+7Xd194mlX6apxLXAy5TpA5PUMtKnzbAg8QCPXgGj63yeDNdRId6vKtrtSkpXFgV1abOgBZXZSp76Glce89NtFebHeZ9yUMah9fdzgPvkdE6Q4XLdV6Xfksm0kPYjPHEbvKlFJMePgd7iT6uMNbPNCxEhx5rAO//OH7nG3uSPAMkZlpchX8/JI3vXpe4D+pMOiPhmlAn+Z1w2JD2KSgm20GxSv3vhvCqgzI6uBw5Q25zKKk4DAteAu8gefPuZ9YLDXkaXJIy3w7t6iib6X39sgcHvvq3KhyDI65FSZfdIiXnH9akDSrIxgCaZbkxtH4md3YEHZjpIIsTfFjWiqDZoX3l1Ku2yc/BTSHYEJ2AxKib53GLQwqLS5TH9+Z77DFguN05M2DVrZHaK136g2rfvOTcMXPje0jEB1Z9DyGVUGQ5Z+mwS3Lbgd44J4r4t1tkiEiIQnYLHu5+GVNgnfHo/kPlNNwf8hks0ehUCFYDdSoEKpg8LnSsgBsnULPdqkuk8k73SotF0Ww8RsDEMcEmKBkUFAqpYvkRSlNyfECIhxt6rLA+DHktw0oz/wm+BdCQxv8SEtcbiBAow2D5IAAJpXYpOCPaNbV+jrV4+qbLPmUB+TkijrWRrHrNaQ1NXL1zRO5qQ107W8cx/NtpMqt7XvPxQpiIP80smAF6nFsncRmmV3AVu+DH87AZmZSXmjmtaHlCPUd23TXRIptmeZ/RYcVa8Io7ExtEtlJQMaQUAughzGRndezcV7QUnqvyBSkUfOUhieKM1Gy4puSq5ZPKXE8QK3khxe+7Od5QE5auuc9GnmbFFjnsmxeXlT9L6uWmQFbb7JMh7HbqFBh2yIsa9hbQKwi76QM8JDE9oow13rT0Z5wx2VzQG6OGLZwDoTPc+idQwN2jEPnyr+wyj1NwxxbSc3NsArURQ6lN5WIMfwRVJLl7JspYxbICkraXIm5i4bLgdMzDTaja9L5Ty9n3t7URu6xOX94luOBGikZdhMjdOlmRfcdwd12/Dvh9Y1t0ox4Hji05wYMb154zNxY2AgDp4E24UPm8mZA78Tr5FCr4h8Rr/RpGnTRjw2YIG0HxSz8gtctIrQS0hGBt51dZUMJrjFuB8qxiohvBGBRoTxf3x/FILYt7qd7Nt/Ekq8tUpdSsuXfAPNh5GD9xFDAgBwpZyZuOloe7qUoifrVdM3+r2vxAspIXzHwemfIyVagX7Jm98pD11CLSG3jZ0CRxO6avv2mZfuex8yVYYF8yRdrGkKCaJQYr0w1LuiJYJyJLt6Ri/Zy+OkbRp/2JAbUbvZr4SS1Ea+Yyq/YpWKEpttM9HeRNziugq2wH3PmZJhPVHSsclenExDQWPiYwUmkjOAZmaW88JkZQz7SOGNCBKCU/dvugp1lHOxLbphtUt9FbWE/frtoMw9J0W0Nf7JMZ1MWDEepgfPveMuc6G3MByXVvh+P2T7RBkJWleYKLcLikBxGTugR85OSy8FHN3IREnjxplayQpMkKePn/vM0+NdAA7dWVPdc7UM+OXOI88y+dl44HcZIgdekAoOknGu4YKQffwdz3ADUB0fwe/YNP8BjLmJB9jPBeGl4Dz+o2ttdLUO3vEgFZRc2S1PRU2SNtVji0nGk6ODwRn/RD9ZnXKRZYJ//F8q/+yPdAXDcZxtdmYkwRoqA7Zqo8eb1X6ixS7yuPMgk0etMBFC0RmWqxZ4rV5zeLDqnNokm4zXGLqRAV5cTySMcjbJOsIsxQkVkOBZHTJzZaPlIhKn92CFteWQ/wRuYir3p0zNq+nHNJ9KxfJNO9VZejBSQdb90+ja4k781TCPVENZfr7dSfPNHkCnm7DKgJKefpl4P9gu2NJhmBeeLffniTMST6bfOFW2EzaRSrSOJkYaxjxtQY5QEPqSBoWjXmLTeMF8sIQqZ20RDnJcMGp2cgEgRt3IbbuNRim67+kv26Zm9IgQpo8mXMun9RL9ZmZHY3tQO45BfvNMcsSwwM7Sw3vpTh2i6AOGKBnvbs9x3SjBhBTZiZKzdPf5USfcE04/L3bYtwIi5e7YvDiw+8M4hqBLAGEicvrO8U2KKWlRz0IAunfBL/G2PCY5Xdxk1SqD24JjXZF4cw2XkGkziTQBhMNXsvwOi9lLVGo3kB5yRIYn2e72S4A/578G9vBNZCAQcfXegvtPksyiYe/wUHl9kySIKUH3gcXlPL+vsE8pUtD1KhgehF1KEHkHqA6JwNzjcBvXrhMs6pw7DdhuyRG05C0nNAfbz5EJCl39t0bXmuuNlU1O907ecJUS4CDpQvVj0UjN8I/+b48+/8jHBz8PQa/ctZlx0QmJoQxdmnfhmL3uvBmG3KMug7QMzxeb9e8cfORNe0g6HPMV2oG4gql4jh2MNX0zm8pqQ/2eVoUEMQtF7iYGWTymMMe6Jo4IlH7Fi+79cjVonFUMlNmBhQR7JPeVf2gMBUmE6csC3RgbhwQLIU6LbDIwAM8/NJYm6PUmK6jEfftidhxM64cAnNBvsPtrrBnOTEh2BoVUKsb9EX93j+PTCHMdf1OkWwroCJ0du1HtpXbcC7PiJ08UYjD/c4b3YIsul48xviFuJRgnFk2D+X8lqWpPDVosH+WnKEvdG0/EHYgqdZMIW35ygVRpp3SSIQYyM1ohpGe82J3/giylOhen967ObJ8IUxJpgkp4IMr0aw238CwYNLTmA+mWGRGnGstzvZ3kjpaBuzax6gXB4roKt6nTtMxK2el/rcAB01H9RV15Uut5GYYzbyGwa3pBqcZkzdZ6DL0YcxoETERWN4eT9f8raopZkMBhB/iRJpCw3yK8XBBMm79liHw435e71rcH5AhHws1XUrOjvl50cr70qQQDr8fULRnywFQNq4UqiZya9bxYIJ8JiUpnAFXmdknA5vxajsdYH52RhdB87HP9qQ2jH8Tn5FjC+X8IbqltqXeupSLf9uU2qyD1IsrsXoQ4VxHydqS3uKBnwRu23izHnaKTiIg2SgBaCADVxeydTMq6ehUAoyj1H2nJ64JculrDC1u6T5a4n1oxIxWoNahKH8nDIPU4AlaoVqPeaPBWHuR2/yFLSYB5RgrxMJk7ih7I//6JqlOHgJsV9nDxkkxdExlsvh14EKNxXaqAehScIUJuYd/pJa4umhtdILasXbWfrLxj/VHm1iDm6zJURWTX1mVwgZWMAKnOu78b3QU1JyMk55GVf4tleUYscSuXVmj8J7mkiqp0s8izeWz393YHYkHgIGCd5wAzWlywEPfvcJVhS86uVCg8HDGZWJFknXGnHaX0CXCG0E23rJykzi65fa4/w4AOBkG3FwkYrhtJnrsv+/RZW7eZgewzuCjpwiogdtnqzoweRCFZ6SzlU7xUQ3ZgEfxLD/JALZ99WqBwn5rI0IR+HiYEeAiQZTkHTWA2iCW0jiXw//uyNfDCdg3YOlvYFqUPJEn/vzKwGNqFNM1oFVzdV+n60uqQQ29HFXQJj31bZP5Iif4qemWxsZno4lA5oIbJ/IcsYfBTfPJa0n35wF/YECWKIxhdxkMO+9sN6vTen8WbkNMBeuP93EhGLZtvU/qhAMM9Ss+aq7Hsld2r/Y480JUF+8Hv9MJzEPYHYoIAaBqeIJJ+6ET08g49Zc0tBuR8ODdmOH/l7QL4GB1N/23cbty3QStkTtqE4qPCw3KARz3KzgukIIv8wFF+wKBE0xYWBVhgcXEhRLTiBAiaYKzAgh5z7aWv9D/Wclnkf/bAvLQx5L5fMUAF6aUTtMRV5hu427vUJMqffV7Aft0gyVB+Wut3QFL/IbnRZQqqKLbk9b2aDTr4uAWG0FfMAGtUHgtEKf5PBSMWYiRzRTDUauoQTkY99VWv8WuFrnmsVJaN6K+i7GjzJrj49Uv//o/7an67gcpwZVpCQDeNLOdZ5oeutj0TDSeaPjvptWDteVP2wa12p3OCZAUToX+PaOa5BhYKUx8qHccvISOw+scY8ATK910QsTZ/2T+0fAZHzArysBXjm1bKfe46IVaaqIkniJB5cavBqrntIZGAsEfuigrELi3/kbUju/RIT6ozBT53SAzJ1S8DU1iI0P+eilLdrOcAAMdZav8t/9ScUgF13e/bT+lZDUMHfR3YupInAz+C2dPu9qkLdMCn/w4CryH3DPOxEQ6Qexb0c67uLlBmjZtyQE/nfI233boGXJujWFgtp3H7sCK1JNVs9Rn3KMyuUbik5yxFgaIMRWfFGtLUex+0QoMoWdhmAPIBx6uI+PBfOSI8DZtlQaRrpzvcOy9XWmNorq6FWyHnQAUDZvzkUpEvEpF17dfR7O2/DIsIKBiU9WGTVrq9Qoy11lRigIs8Pd9aBpyz8HtWmCx3EV9MJ49IQeMTNU7Ov79YuhrubCumm/i1iFGIwLY2I4r5NqLXeuBvBlKkm3DpBKe1J4RYePsDs3ewLgJbX2FpzLVHkLhpwOPqWXf+KJWzvo/7xtQV7BnRWL4awazHUWuMaahufZ88ISVbMECBJHOvQX/JvaVTfOHUIThXL0a3xIegEqOu7M8k13CvtOjLZd+0xO6Lc5C+FqskYdR9UZlcCF6KlkVoD58pU0BRB39FUejX4wFJAq6QmhLTHsQ04gXNAs+XtJJlJ4Hm4c46tqIRtyuZ3c3aAA5xXogdD4xevkd/6+EzTMS5XRrJs8behcEj5P80LgMqv7OIow5cHw0DcwVlDTq04LLley/pGFjwfmRY/AOdsl+uJt5P5yAbnU6jZ0iSeG06vD6iInHVspw7AqkK+e6zp1e5AAaq9yFYv0WTTORKD/YNoZbCdRiuCRHkGOgilRg2uNUmTJjm61ur4k9EHm/CxRP5fI/W4FFgJqb1fNgCMHAUA/rvDvlU06OmeYvps7PpqsaCvezhYExmzFvogZBcnzTJRisarJqpOpoBX6vpz6OdY+waxGQB5iuV+TFhC5fTCC+JT0kNsQcCH7kDDlhae9wbrzEUfvj+t+RubFno77sDCW4ko9giCHgc1NxUjT30mHItD9rBxojeU+KOgcpLH6Tl8VDa32QD5kRv3c8BcsPRO8AF40tQVFdGM0OVcY+dU/F97VJjXvHXxHHkoMKTqp8/JtDZtroYF/estPoiHBQuEOp6yZ3txw2LlBxC46M/JXOnoe1fBBMWStkMVOYBCIlaAK9tjhSFSr47SFbJZj2QMji5j6cryY7CHomjBkuhvzTbhTuLnnBGZvexhQmf1RL5VPmBf7J9oFtMTpCn8RtIGIAybajz3Swb+GaxJ3TZRare/p0j2ukoX+ul2eQEzj10WE/YD/6fIyIlMLYpVXxWxYc4ldGyGbQjlpLILEROKlzVxpX+Qo0HOAO2r1xDiQECddWnns1o/JNs71cWiLOoCysqJ+EQGanWINIIXALi8yFnHffvWqxVUcXOCDUNah2WLH2KmM67AxfeQRni/p0W2Yuwz+lWsdSR8XVojlbtxYMuH40rEcJY+SS2IEhurFd0T2XKCTIuq536xr48JLoMSU8KEf7WWH+0HJl8toDOz5Ssx8UHBZPc+nHz9MDiUAkD5frZmWu6FApeIOOBaT7zmRx5i8+t+1u0IF0M/Rh98VN1hUCzkwl/AKjwiL+wAT4Py9i5TC18b8qb2dm1jT4pNF3rhQ+JMH6GS1/ZiOBIrgvkOYnSbxhWtWPJGiuoCG3YIZitmDxAfytL72lEXVwvfIkqPmVpIi8/zIef3c0C+UNu91FTWuRVA02cSjIjrvB8Zswam+theBK1CgLNKabz0mwFkwRw1LTPJ53rW8L2jgpo7R3EHdAGPGHKrq+bWMWvB50szoXIp6De645W2CmdP0LkIlZb7s3iwpMjyatlymSy90LGyOCxK1kXbcE/HTcolcHZrzujqbpGoO3ED6Nr/5WKPmOA+PTit/zNRFIAg+weE8fawUhARpYPMgtKskJ+peZpElaI6znYEDPJogZJWRiCKT+4zBOHfIcBrm0Wd/W8QR/ml3HnMwvbs51Pj0KctfMcJRocT/9tAEVDym4JEi4hK/6KhMbKWbfjLKt6IwdjWTpjYZwB/OutHfd5EEs3fEyzvKSaRTM3aQab/qKmh9arrRhoJ9IYfhWJcrhEKv9HzxRWgMQ0ywAvSOUQk1kccp51wSw18G1pq5b3oQ7ps1zco1L0Zp9ypkS+WMUMco5galBkUTQV+VYHs5fNWqAwaRd6LhK4xRKmAh0p1w9whKBkf1Lo6fjFgf2GVMhZ/vp5bOUF9LIt8DqinN+SehM2X8HN7zHVUVOmpXsAarQ1mc1niYY5T4Cci1SP3lo/0ujK6QLVRSmbReZjGHndQgx88ctVilZloa4ZiFyMASg5dh9PbBMcENe+/Zu4yfhO4U1u7ly/wM3ddqMja28nffgLyxmYHb9Jna82CA1kYBFA+N2oUWE3f0DxGjFTqRej/SVRd/7lusvKDPw5g1VVhx42ID8Wesi0+5JQ7bzMBldwzZy9Ql1o8EERyv5E/48sVdvSum6PIEbN12kvMpa1i/m1gamvw/cQ4nSF54AlRixOPORS7MkdDuFBG4zJfZBQwvFPL9a/z/VtjAh0fFPCLd54pyEoLGp+HtTDYme/rVKqsMkalAN9hGmWrlByVgJA1rafczUjL4rtWWFKkwa6dTdaN43ev30sJFkKa2X/xnRLrlu7mwHJ9HLG/IcdULhC1CL/kE2t0MA8JFXc6siCejm0b4hF0cLyvTZ7C4DyjdJU6JzqwEgaVd0MqQLG1RGde/DNWktHauUIqgXmFIKnDCp8MvFbckZiT+cYgbmYTAWN9oL5mIhNxz+5m07cvnCQWvDiX2GHcZ7uOAnfxM/nnt2hhuVUCs40Sy98Hg00GpJM7uYgTEtBRVvhHUK4Kyt9SxLJiiplxf4cPZHAu9bggdSR/FUzx/OtZV1wekPoMo4ZRpBamP3LnFHooqnkPPi9US/sCcHeOIGPTOpBbmsuO2zmn/M/ejg9GLAq3COs97uuGAdd9Q0JBDebxbfah+dpwddbe8bCp1ua+pimBK7UT94o6a3i4gsUj5Mszo738nSUL67dC7ndsbnz8jeY1av5y+yKzzpiZ19+PlL4N/WQqzTjh4mYV1yJbY9ANy0v6Sg7+m4BalGlhMTAHK0GaA6+kZ7v9sRGaYKK1ai26uZvIUuvi6MomSBLpMB56141zjY8QIa3ujxjBQZMZHCeKmLUBXpb9RzhmEIYVJKUWxiXo32WCNs4+ROxZu42/b9XIhWRfEm7cciZNJoPUpROwKJkg+GF9cNZwnMsxtHeotJp28kN8qmHO9nEaJGf77CRvejFzfQFcXtFh0rLFFsIULnY7bjmd992N36Morwh45teonlqADQK0N0duI+yYIzGTPnUMeLJwlqdSutEt754t1JuXMAcfNIsnfmtb/LgwfoYaAaUGSndQPYoB6toROVqsGubFTiGiEIYTHgxPUMtOwm4KL5bL6Nx+O5bw1Pv/kQoxAynhKxu9P7w1lOSdrH6CuxWOpdqOq2jmOXcZf0ud4wa/BqsUD1YTxPciS9j7enNLnCLEqZTg3euXiC9xKKDz9azqHyg1tW/Lps9wD9DXIJ53wIB4XyR1PXWEZkqejcnscREOxa9lg6BUn0CliKFypkfGuM62hjQcjiEPlqZkmuurGwQQ54kdr0ZiWfIM1Mf3I4y7zfqa+/tvJL6cXKNjU6sMdlZjp7bS0Q9jVBuaducKqAirWHunDOz+KrDgpFcPFO9GctWSjkiwaTo3dSSQcpYBWi6fA+KrB3zLLHAq2NlYmuuGXf2veBYdZPvGAAjf55OGDFRzgLsymN/p7LCSlSTsW6DspyCzobqesvvt1nDCMb9ru5S+qPmIxJNO05JOWBjXUdQlwrY+ky65Oz1UB4RDaHAHqoxDWh/mnCGXWDxsg3L10bSiqDiqHM/JPQ1sgbpEyS+J15RIH5+81zcWD8Oe4uTGkhItu5g+G2+M3EOUGgxqX2tfqNj4zjSFvjaHBnJqKFGGBPz+7SY4FjltwY5ckgxndMclZ3QFG7qiiPAaLYPG9hLn65ByWOHCCiymFF4BXQ5PYuTL7jup9m9kel+kudtC3dbHeXj+tvNpqCH+XDv92mP+fAqFKjG2bTLh+3UYDOzZcOwWdzMDV0wUqZw3YS0Gmp7rdaiiWoGeTKq/jsMF1BK5+hqMI+Kdnvh8yUUwPvlkMtAxB5/nA4JR5mthr9J9nY+ClyE3tua60SH1TLTuwfug/SYoxvoRO/minCnUX4woCskVSYUeDh9ymYUGnBdOu59k7KoWYAUWSJVnbBN+2I0Pj1PREXSdhNX+Z6fw70erZlzRl37Cid+5ckrGN7LWLkDZ5A6EdT4/ODbNoCRY7qksUTqKKK0nYlLXVbJFySFucGHmi8c5nzvCg9V9WqgENJvwpHXyiPjId9c/gpa4BeXy7CER0XkvgCredXe/HrLXDUq4JX4Lq5K99uvXvcK2pKlUvJk1N6Vbz+ycPzHkC+ogEQuPKXf+n1S811voZlkfmMQ70aJZ7wRA+iumd+bABcnWhq7o1HfKr78rGAB1MXFQEJu326USzHDAeVpdtffe/l6FPM2JBiy4oGwy3yQg6X0cHMYNxtjRcKoO0AXhM6KvKpgG+f3zxCsd1SHZBkZxENLQU4i7FBG9l6kM3o/AVhkvCmq0geSKcWBq+ccsCX5TKauPmn92MdlqT7IZJmwqZsIS0w97Xvk6l8hAoCvgoCUUOEZsKtGMt1AQ3SB9dVwfINNtSDGYd9MlJ2ZMZ1Gr/qdEmlN3mh+tN5Nl4z43ztrrszkFrHmljQ87NkSnxwf77YeeRzLyRWm5RJXow72Lo3m/IGnAfY9WRZm3XXTL6iINQrSpY8XXv4+4hYlDVYj+IJL8pCGxr47OkJxyxHolaDkiohGf+WBpguPssI03e+y1/63XU2Ang7Me4Z4qvXRAf7+h+lBGLggYPc/P+HXxkKTg93OjifyiPJq3w3iYI5fwPv25mltPYVeUuUU8S9JZowGIKcBFFgDHcec1J52IDThzr7MoEATwYfb+QcN8jK9ASPGynqGeEJmU1gs5MkBscg5LZ+sFQerlhC3kmsqkj4/W3uAjbcZXEUbwdhCwpFrjv5nLoE3GqBb7rRiwquLf3+jPC/uoibasnM8McD3IOo8TlJC19Xf4S8OKdk3JHrBnimMdr27X1KRuEwMhWtPqBmcBkRDkzEg7OUVXAmYjll3wHlfRLhX3RuCnSZmQ1JlOPD92PPrEZ/a1p54+WeXwG+i2HIGAWD/5cYFh7mwvNT0elUOlFk/kJ0Ps+Q9FDQaO8cAyrnIWu1oSm98otDv99LpCpeyN9SXi54jdrqhfniL4nCMbDASkKyEunkMw7Edp0Btt9hhyNSdo3rh7RHeHgNnRY/BHqoNfjw18bXTg1tldvOe1XdNKkNYEjozF03vhrh3nfcAZbMuD7yJZPSTdctJr89UfWMSA1kO+PjexH5X++pPU8RDTRY1Do/2Qk7Zk4r9LRVnQ6OuSQ8t5GRs2+mvpS0dGPdLAD7ipIyCfmKtr60e3MgcLhTc1g435+6r3zPV/ju4SmJ5Tp2ENDGGWU99tXg88JIIyn17lpp3tdyxaydeoE5NeHsJ/rhMmEx7BXJSbgg+po4SsfFwiSuKne3t1K19dEKw79316i695yv8N0hiWL/Qkx8U4ZDKMX3LHsAy6JETFmSZu6dV8baw4/1tilgcWnhokU5c1Ea8H2Rg961uqoi8LysvuQKO2FdUJbpCNF73lnn5Yn5bhkcQMIM/0+Zs8GdSmfEuglc5qsFA67aZuTI3gjZMjwhOE7CsbA1JwwWUn2oPmo/uS3aIbO/cJF++/v6EKxIJL0Ob330zr90DJ5g5FJ0Jd43Qy4jjcfcoxFlJz4mb37i+OGWnG3oflLJS3G+Ry9mc4gQaBVR4wzk1Bd6WUcWmxOkQFCpFLTbpUpyXitON3IKCgvHT8JNXgvyIQrjiPZartsqLh2uDFapg2QiSPAcotyqFXrieEXbiAmbgCGV4VFtQpR1JPU4AxCc+wFeMo90jhi4Thr67bZvlO0F47K74j5ZZ2E1sYYq+lRMp0LA0qcc/juVBHEoxRA9IXUrS6q2CAyGSQ2ripZJXHQ+nAh7e/sdSNS6Zu96TMZTTW5aC01IeRKO/CegsNqAczMEjllmzzAka2NEDLSgU4FOzNSyCWSk0Gg8pB/GunxYHkQ9GEtqrINlFFtVpWBK51OKFtrSd3wkE8S2z1NuqQj0k7/4Xyf22K5lFw1ciSn9TQxGWLWyTx9BYaCI+PjHgm4mQ2GtGDkLtAIsVVENRSXJLc/HbFwA2VvP5bkjYOqe2y41uGZgf6WPdZzvwbMXnQp0wJ4brqU113xNElFQK6Rc8/tKB8HluST3QUdWD2wRRGbNONi/3BClCNP1mLbuHiIWFQSUys05YruZqRO0AYhZeOTxerqfpY2rzEmBOqRJs7YCB5QTSncuUUJti8jyfB4Y26xtnASt3LMAwfgK73F3mZIP32GjlgajT08GDg4Z5rZbv52d3/mYIRmvAwELT4Zr8hZNIerX85PTaGXh02TU+46lz+V1F4aHi9KcRvDIDcYVggAU8+aW+4zlwihXQBt7gcxigjJLL2wogu/nOdOrWE7hV8cQi0BXpcqVmLbQFo1LqNBfQsm2bDiAzoG/1b7x/RWLbE/twG5pg9x2otAc5TYpBnOjrjieI8VoSOVsKTkI7RefiBcd6cVxvFSHTstk4Rphnf7P5WYig2/fHANWtfxiV4LEPAbMjtoP7/UhiieIOvWn0hCkRZYvKJeIpIHMOV/ZbGSjtsD6GQBx928814sP+35QWsc+ZF+Z7QRL/D8nTngtcqWHrkoMNJKRDJioP8q3IlB5IrwAgjj0V5oaByT+SxJcLo4PBjUe2/se7P7hY4b0K6xsUv8CaR5H0hsU/7GodZSwXpdIeWUjPOqewy2QMGWJXu3qeovYt1tVQHeeJNiGwnfu7g0xkH+O5vL3BBGgTeRQRqMX6v7TTh7IuZt1vMbSDGXw4yHhklHsHlwuxlMRnUa4iEiLhiA+vOzP5pFogk/J8ELPi74ciz+0uwJF8DFm4Kx3WKzXlYnB/liRsEHe4fYKvS7Kb8T8lBLgBXia+FCZ8cpgfMfhnqxnORRgswRmmO5CDRqH56lz1bxd6f8Q35Dmtm6ufkTeBJc3n4tAG1ThECg0X/fKMroWstyT81aaspMk9tF+lA+NmwGeU6+CHSRZDAJyAuo0FblncrEzaO04kRmd08S5bIkmaXXd+ehvW30ph6NZEM4gESeHnFdEGDP7Jb5osd+jll0NxYqoqHvELl8qbq/9oL3xtrD309B72Z66u8/uZ37VXgDuSD1FIP69SPQpmbRWwjVKQBZnU4ImpoPw9jGjWGRkPS1PRhiTrsQFgm6u4TYApo3Vn2PGTduTjmaMK7apR+SOuSNgftpS+j8qlBZ54iX7InbMdLaP0f9ZZ5t+zXafVPYuDG3OQMjvPXiIzG5Br1Xa7TjhVX/Hm5Hgr7cgoTHOuvJzpjF1JFbWdrPeEPe/y44ZvseDf26V/iABQtCfNYHFzr0aY6TPjjCcjIj1yp06btGengyRaO2NWHl71yK/Ijao+KekDWwEkIbR2/P2JG6xkSe0Uur51yAZoNxPl2p37vKDxeVggjxNM48aoIH436BdGfY7OtrU1F3of5pwpgeHRAg5/NAbQCtAFJRyQyuNvRSA4xj6i6TAxFECrFhFHt624haW6hEfgHchH+cd6QSkY+bjXm0O8Qj7gZPnqDRUsk/kpebhSeR4L3DEQw0+ORn+GCt+ynldwvrhVVllcAq1Oja4DwoESblPPVeMBJ26Ol3tvZ0yEpwkb/DT7tI78j3uQBnw4c1P8fBtRGLP3TSDuIc/I/f2+iNS6Q3otn1SwrUO6+tA2pzcidI0I8JsbwD4s6bMxIyUdLz8eBf2muQmllvVjPz9FOF5QV5qx/g8tgBaudIKANq5RZ6DJdTibpQLS2bBdThu0ncwfxntPabgV/GQv4o8KRDHljgIeUvSh1scC03Z14WwZ4VykUzdzYtLHNZfTyxkIdrCwGFFO9AK8LfgPFVHb3MZjly7c86rsfFRGXWT6I1dIsAdMcDnzFIS8xj1Bfaqk5h8jSphnwqk/WeZpJ4VGKkVbafSEahQ3A6B9+UXBIm9Cjh+1fUjLuQo1+qgAI0O4KanZPayugWhQ7RHq8fPZH/fXR8unmutiPx4AXCHD5CFf8joDiBGwM+lZOCbwHptyglHj6J+qQyDCAYhYkD7acM8ASiU5tEfEqRoZA+TW1RygscyE5bDolENfsb7FrYa8PJ3u9QutRfHYzMiHWsrjPUE+BfMn92sqcNwVHYK7cvk6gntd4FAgHX3Alk9F3tU56zGcOwp42YvXqmbRq67jK2HambraM3Nlb/mn0CicAOzJisinNBuFWu9X2VnvHesp7lY1mC6WlyrJPZvIk9MBMX3EZBONs66iH2I2OXU/rJjglAmXmVkVUsxaqQBBhWWOgIe76ikq5w0Q2qLlBD55CPJWABwlJZ4MjBtDKsmb1iijHnju5Bwfex2j2zNTOhVb51crpUoDx4RQEfcueRFgEIjKxOX1DNq/FIgfnUV3HoqXTBscOth8nVrSbmeGbl+Mc6tsccD9dFiFR36H34CjTxpMbIhrmTtTMa80u2ne4ZwqPCjQcKq56WriPN/L6hYcUAB+k2bUqHYgLks6TKMRcmU7xYGg07nmhnBf4oUNME0rBXYQQQGStgnEaIjZx6iMmEK5bXdU626a+JJocu8afL7ZJ51/4vYPsWhs4iljSXLjrD+GkgYCJalys9/OjY/Ej8Dn3HI8DMkbTCtNjtdX/GyqWEL8MYz/bcTWL4XIVsWhHSikQ3p/R7zptTQ1VT9Imp3/ors3Qx/fkcqX6QxBMx1bKa73kx/GzmrIz0adQ/0jfuRBsw/ukRqKQaPUi804+n2li1DHLEA2uPtmapSwQnYGNMcKLPXfg0f3X4pS0HKQFt4YYL1kY1K+ML9L7ydFb87wDz1VfgMbZfsWDBXV+9GsZyBn5U74Q3zoMuMu/BdlOqEgWCGbTnG7fZSsz4R1iwGVG7iMzpu3qrgewjy/13d/F0Gk+aJf0LkEaCIloPNOsGIL+Z5/f3jpq8+et/pq0kJ7jHOaeAWy2iFEX9TvMjAulr2mEj+fB9HrAlw1y4C7+yYNZUbYWMgXNf1zv9FlimHvthX8IFnkhkIxmTyokXzfy6LofCqnIyDG4RUUGMs3gSF3HkmBZ2d6+tNCHbzKYonc2z3su18nCMWSXQQtWhmoyjL09eCYuGgDdsgJz2OoqdO3BhvqJH+Vu9ow0jP6LFNV9KsE6XdJvTA1ajZjl0Bb7KbbABxg3arNgKInQILH1WjaUpl6JHSTC07BUyYHSi+IeziWvWBQd1Jh/nMwyBSN1AyASotyIKEaDBq0YuIOD6s4UIiYqQEvxDB6AcObqtOGobn5QADGmGKTFVTp8Vv4e7fOO9kXHl7kGY9qWAXYh2ovEQnLQC16oV87NNeW7aDWk7dzZBuhy7fmcd+w4MX+0MOdBVdwiGm5Sav87TiCicbjGakaWFaMeMjBjefuK64bt8bnAAqNuSxgfnTOacahNyGBzkiCBpyHDVR0ucRhxwZFQ8/6SOQOgSlJ7oGkYtTAt2WXLYv5s4amYwDKQSWf9nz5xcQy4D2WYm8xABntZAOQ9pndps2mjSmD5QmqZ6gp/EqikpmboR30/sfr2g/wEZ4eDqUUv4qxK167LDsHFz1pazbHTKfEMLa0cWelE/zI7rsVMAFd6P/bnbdH+tQ/97KaW619Q9IKQwV9txgfNIXv5VfHNdawzxVUBBuJ3WFb8aY69qqWVMlYB+WJXVRsOknvWJ160dA9tGwehOcCN6lVZ4KnClMHNhrYgs5Jl/dP07ykqlQOpRJUFVq2pL2grabXi35ZPjjBH+TDhBE/lGJ09GY1lg2ef1K3C8lpgkAfHLj/kYVeIf+F6pr99yQ11hIz2rZn4wNFH/vaF0qKPKnhKdkMWHiPItmJe+9i65UUYwV5A19jQlRlI0t70JFavalsLDK2bwWEmDFQun/O4P3Hfu9EBet+3TKr87prWJnirHFK4N0PNxSCTcW9iC8gygk5N5cWU+8gFsLGJy4Nld33M1bLRTcHiEVMg+c+viwWHMSzhSopybRvsj45NyN/hbQDhr6ahkUI39aUeDITZNyAbsnBhKZnzOw9Up9Lp02jrJSPeDAHZMHYhULGflekOKGxi1T9TGQUbyvkG+ySdcsMIcH0ri/KRuUKThMQ0IIqxQXrJm75D+N+Vu3uQ7is/6X+5lgOQkMxcuiecvtwBiTy+dmngdZV5ooarHfqiK6N1iIXqjeapxMIamCDgtCwGA+gttvOMxO8qq9c+TKTFHhADE4bAUnagfIcs3kVxyFfErZRqpVUSSxywBlyOeOpqGmmqXcX9FZ6tw4ZiWErM1zb+ItiRh/IEycfWq32VVv3NhNZZ+e6naEivLwHQf2aVeuT8UvkrBZ01ixkmIA1jEsIE8p4juXen9I+jJLQBYD19g7WLbzgsAtwwC5l7gAe8X/R1uw68vPBh1A38EsawsGG58U72r3HqTQ05Y7wGQH6HOUBLsH6dT6n/ZiZEEwbS56JrSSL57o5hpFvarZt04UCos5NDcsWlZKWg08YKpdhrbbu9HU6Ell3xgFvNoaQ7yLs9vS+Cg6UboplE118lXHH0Y1gtLFeMGNlTUi3hZyDaBVIhu+1UTIqH7MKQEWRlMx3tE2nOfyLMgzogLG8I9IxjMAnDKRMCZql8rJnOc7SSmNhhib8M9+aevHixbEXTqtGY9O00P4DNuJ3KS+24BTdbaJS4HWsKCBFlxucwm0gfG7Z+e83cZnbSgqHIcAytHBys8fDya7ewewYV9PPOTszFcnuH0kEzIi12Ojo4/k4HAB5UJBCniwwULarcuUsmrkmnQa6v5V+IBQAdS0KD4986/F6KjH4PYu73KJwWTksfKWHop8WUYNpY4faHabijC6UsSZeWdJ5WO6TTw66cKmIlZEyqzllTCjayX4k0QgB+NvaEfql5yzG4NvqcJJyvTBOg5aSvh5jl+A3YgKvKse9W1950snjM+Pezhmb/2iPy5EDf/XXECZCwVkHu5YwSR3NXCjsodnSGWb/Nu9aN+uvqE95ntE6vPg+Q5+zKA8brj/5tb783GkKovzn9JQzcU7daFoKE3lgezwCYb2tvaQp45QPsQ1K60CEMgFcdZrFyknjWtzoRoOlqG5lf55QTJA9/O00/RJLU1WDz1G6CReV0FeOmu1hYtc6zDHIUJBR1K8XEO+yRhHyVFkaHKMaDJxKRxWIOtyoRQEwlwVGx3iC4cnEUI36ZiJlM44TT5yfYzKxJQrBTImEYadlTYAtHFGDxQEmTNAT/o/t4StQZzD1olRG9LDh4IijHKI9GvyJYrT76lV6E6ifNXt7ZmU2rawn77OIYM5u2DJW6SM9UYkW61NWmpTR91bZANL6Lkl4CwlmH8feDfTCpblCP6hNdPpbj9woAfKX8rD1x1NZ6Sv+NKxe6mOrTrcrFTyTMUc8qYsXjN1UHxXRZn7RU6syBuCCrjs31EQYaXjSUPnMvaau4n/2KIlefO0D6Bx0rg7OkXB4V2nk/dBwieSSgD8q1BFOfr/71T8K0QwxxikFAFCHVZiCDKzFbuVfal7bt0Wa8DqyN/Gu8xC1fwL+DSkf2SligbHIHvQFMKkiuSC1EnjWBr+oDn53Wfvy4/WJo5nvsDXnVYF5N+UI2HVdxyoP9JA3kuW6GwZgpWRlAc1zwRKaBMdsoPcyAELdsKcNcifiJsBDVfs081pQjNguyKMj3reIJeKhD5dLGD0/0Zh/i3O83UQOlZMuv0xqM4BibHjlu+4fTNNIWajOrEmRQuAwewQCMXDpziQmvOJOa/UDGPbr9qRXe9vqkngdvo6Ah2n6wEd+WO3kTZDnQ0BmBUduEde1SSn9p0gQyADV8AHRHN9H8DICXTHR9gKJc5T/5GLHdWrgjkBS7WWI8aKfYdE17f91Rf1kBifHkeEKe8Vwk9WOGVCkYoq5Ju6GhjIPTbGBdbk1FWNiFsXOizK0yEHnTiChwsrPvL1BIKThyp3pUnk9fLti8ZHySr1CTeW6IkZ5obyATrPFMG3ZXsIZyPowGSbFnrNMyCOKrGePBwtavUhdbRsOkMbjcRFV7i1R2+0Qv7+3W/vqXx6J2/Toq497xpXGpnnQqCGQ9wWGh4wiA/+lpGs1oCSsgVdSZROomJJGc0xYZf2I1vs/7Aleno1dIjofv94wgzZ51Att8U1JkCrxFRBGE82Ett/ev5xAOzum/D7keujUoT/sz/BO5h/kA6srGRvuBt1hGe3q9Z8ZqLb5aOehcrdy48crEBYG0wLnUDn6WFwYN0Kv5xFuSBgDg+G4ZA/PPe3TgW/zoAC2RwONEm0EVPzi+MJDwoj7YggllhihTB+XnhyuRUr1BHubMEmUZSuWPyOHftsbvYfHdwumF6eT3CvBmG6vcCZvveNrNya11v6oGcsE4xTm1sqJ40WvnKIaTZpw9LbNMVu0XKL7GutZD1/9ZkP2ZBB9chr1vQXQUla1BHAYM4R+LozTIINwvnCdXV7ozOYSRVK0DYaqlKTaF+7DQuRPDGAZpGGUw9ehpy5U/IMiTk7/usxU/ReMm1wMfKT7qbHh10ENI1s0bMQCiLIMbusKaPZzEE1HBxiK4W756/jHRnZhTIbUbO8BgYgisgebGUY8sHkvzsS8vHL6HO3ihhSz5glCHo3ZPNN32zoNz914oC2FLB1kG1iUQ9PlnUrjZ84goEblTef8JOO0ngAM0qfG423f1SEgvqZo4Rc3R7OnxNdSQNpyLiJioJaD4fUFIQiH5X4jJBjlR6vHlXg4mnyW+UAD4qI6nQEhl9oZCqkWK8vD8ZlMVuym0BgZHUL7F2A874ySC+l0JRCLd8xAq1xAuTBv8BargADjPTAgi2SMSDQTJ/WxzlzCojlxOX3BwWuMyYs9/gbqwHcfo2ErkidZjzBGJinDZVGklpcqOvay5nBbeNZhZ3sopJpgqRDE/Nz4v/QBy+YgB+bF+Emi4kPWwLWYmxX4cHvViqOaNdvvAuVCmoPjfCS1tC/DU5X+L6dn2HUIng4kQgk8VBeybdZIokHjUfiNiomO7XlBuzO0Nq64OahXfdk/W6udCg5iw/tLVuLwOY1uyWkq/s6F8ch88XChuWfwd6Npc+qM2gEakgE/39p+ZnaumtnygooUGUKUQV3oRGLBY9677OYfUNQkTdxVPtD1ptmYbQmHf3jz+vqgr5sZoma281WV+PIfZcnByRNgoNsTLQch9GtIpW7hzbSCbdvcsGmgdLZRuJKgyEA4L5NFRVvBavPTO2X72TvUw/AAOgLpYO3i8uTlNlgdMsaRdi8amwKACp5yQ21SGBTG7wwdleMMEoftoiug34bMZbe4A7N9uDzR6rra7RyVszjKAwKzYObWt95DMgGXmHKUXowwCUFogc64SAAgLjAoaJuMFPRsKUk56EyFjUwzWp/1B2eP1SgnKvNuCK6nK1bBeq2ZsZVbrzHV9G78MZs1wkij//WiYUMQjOo7h+w2/kvAfO4TvQdgQ1Ayj+e1/y1Sc0lyIKy5qPOL0C9sr4CqQuPe/POE9ymTMzPWOcKDZxW8MjCwcVjqr5ZzTzC1kTys4O70C6NLHKunHxMC1PuEfwLl/l0F4+AIYx+Bp2ZdGmYYfHlEokJZL14G/9anZvr4dJifo9pOLVVk5t189BC23n6ZLcD1EbCIBaWvx4RF+E93sIjcN2iatvPi3u2mg+xJfFqGvie3tVmIcFfg1Hegc3lEqNDwbQC6PWOFuqwyotODFx1t2E5z4c53Ks5lOhechrgeUpUqTfioct4WGTcVpl5FgfW7UQRilUiwxMee42I0uk5waz9Y1Y5LgNSdpma7K95vVzxx8Zb8n/M5mDntqniRLLcDDcnhiHQvZ/L9zDn60J2bAt9hedAgiJdwOkCUoleWwShoTXbkflIvGXv4WaHd21cAGH2v0AY1232AGZ4UxbCYm2Cal6zx5xystB3d3c8Em2rORcrZYI8Hv8tRc5/HVrhJImAtyWvxOoArROLJGmINJwBNTR/cMJkBgOHr3wdcDP+WwZsmQXr+7Kphxli9T+hTWDt79h7YVNuVcGtlIluA5wM0J7U/TXiBCpI2leoqeO/o8dxnceqLl2rYXv9uAyfuDbUvBRyqER61EfnQ0a7ktATF67b6FTymWyoid/01p97PfNrbnmYWSbinoBgR/hzc490SALs/hnHv7fzZy+xXusE5Vn1fLGTJ9Un2inCmuFachNE71uzBMlV98IzEYu+vOJ+2o9fvYBezdUnR7gKmfxGQ3u2+7VF9FRpQmKSCT++7UGtGlPXY/j7l0IQJI5oyO0pcUR6J0lhctZy2Z1r6VzLs+aEPifr2WCNSWTC4a83zLuZ92kvp8Fm5oulowFuz5SGO/qTB1BWlpAeaWi75YcAhlhdLJlNXlrR0bapuPoRxK13eHTEgYgqxH4qfZqC2mkPJPTUY3dr6Ev81l8N/xhkTWcWGK0YttQVNp9SzYe4wCvTkfhnGgQa+hCOVn8LQ3bLbScGAhIiCxz9rb/+IatJE5NtD45r/Xiq4v/X/K5S7ql7r9tqP0rwigmXmpzIkd2TnF1KRN/Zoo7V9tPDxJ/xTG9ykVWlSNV6gBOX2u8myftSDexDNol0dqJvoiLW60Rr5lsOaEZl3hRUKIJw4DGfcCJBHKtAPz4zHZbhl8bIgle8BKAiSMLaANq7t1HyJlPV5bZAWdhKDNNflGHSERg3gxYa4YAtBxrCrWGClKYci/iWQ7Dv8FgDmT/yspMKuQlC7oFd53V5QtHvAoGmuQyPIKn30cJJO1If35ZONL7AajPRHj+XOzA42l9s6rBDVCfGYCwA6EVE3TuIZjkLLP9+b72j+DDQYGvyVSAaYXtiA8O8OFGGsKNLjdny8qd5OvYCQh6HsrNiB3HnMDDSY8jCLytrvlQleegr3NGdydFQp9KsRvGZbeAOiV8bkXKCgqyZAEYLRmLq9ubdK6VoXY9fKF1Gz0rWyX1mwKp236x+NU2QXkiSMiQ3eht8yI4R9YI6pfn22xSJBnwZZ6ZPJjQZ+/um1Uqamo42IK7XIAMpQejAR5+AM0KG7mEbdnpIje1sScf/VatpeQT9jGbUKnntI5HXjNXgfnk/IBx76v9S8yGeroeJl5dEU3+YD69MVpTTozDR0gtU5pNrByrED7hR7XHIlqCFCTkBj6P0XglDJqYD5m/KuZbeFDRjobQNKZg32hnsobSvZVJW6RfJjGTSsswJtCxchMxOOyJpxEiOH93EKickO0e5jZvNxSYBlvP/mzxy5/gGfwwu3zRTMsOTT88Jws2pyyJ3Pj3SasGo0QLEZdaohV0sJOoDUTaIjTGqs08oVVLMVH+EJej/r1NewIlCvtp2lPxDZVtQMoMHAnUlDGDohUiYPl/BpDlQw8clJrBvJ10xT81BsNfTR+EOfV2Wv5ob2GoSniBobPtr77dmDwneJNXyIvoaOBfsD/0CxLNOtsx1Pv6R6RWGH+8aQkO8uUblnT4+Z/VGr6IJ2Ur2CVYJcs8bvFJpLXMGiX50mR/uU7AoXzBe4c9r8xyX4aDkAOmmpwzdZkkD59/kiphZaLXs70fJ3Yc8ZNrUr3fPf0uhQDpBUfrIHCcJEle8rrPZgbvzEHtLr7z251A5r0Zza5hy5gdo2J4epzlQ//FqytJciuxutwUb4Sk1WbG0j/3C1x633QDXvav6eSgnDLz/UJx9BJ1nxcBRMgyeOB6sbJigBwdqwDLe/S9RBaDSPNt4Ij5KV9tJIP1mH8REhBuDXmMHTh1i14siILBgitp8DucjEpyaMFO7nj+ObQAkEOaMH9FcvryetuFatyuiFt7OIbb1sougVSzTJPadztaUv/5BCNwihFOelxEHs1njaMq5OMZos4EulXjZQDmjlwlL30o7ku9a93sNhmTDaRqvvFjEzco5siNvmOhKCtMX8dVmfAyp21jD+lNgJAJoWrm/j16Qiihq5pUWI2KuyBAp/ROHH+DSS3qxz8dCf39DoIaJDRB90NDM8pRwdsICW8Ng+ncPihoYK4i3FEVSUneoYVyQvRUcoGh5eNfIBruv/RXXc8J97rdrwyWOIyA7xI8B7u88qY9VgznUQi2BlhW5Nz9nJu1FNk2VP3gvtDk9DqWIH7r7DZpR17eoO+pVavIv07K+LsKHag6PdXlO6eC+hUaUq50HUiRgNsSsbaUwUimUk9sUiPJ4lzRh2wBd9IGqKENb4f5Qt5DKnVrf7XeBNXkEhayuPQfGPexQtf/sow4d0tyKmMp1HJTsY5LNjYTF1PAJ8pJy1onO6BmncjyP8VvHglIo7jJmlPZLbndTU+Qmm/dlqJk144a7oHA+Vt09i9NaYvptPi/G4dw7nIbOZOkp0UCSw29bwDFrEoMbn1XfnShQnc/ctmdeGrvNLBS5R2ZyFqsoMCT2zHjiJoKLWsWqnMJpJsM9e9k2QvGNQ7CM2qSNIYnXdbc9p+k2U0E9BUqVNxb7P7d5yM/qXJO82CB8+5to1tf3TS8mJepCQSSw9NG6Yf1qjRckS9YtGDX1yBeQbHdFwseVQXKz1UgaysQ0UVzFLhaDOMf78TNYE5sh2y0LTAnV/nAFqs+g+ZSVc4CbaEOGEXjWEXVmPcpcE1EADmxnw6gIu3FSMy35uETi6uq6dZrZJf+4Rz9X1RONtjZL1kzE0KKCLIZ//tmJadH/LTLQQ6XS4ecQv7Gx73tUdeaQte8kUYJT2vPgg1RDQS3JQ3YbTlC+oSSm7SZVZnCSE/PVD8yuPV6YyxqYZoQ8tLk3Vydt06WyiM9sf8eGlTICRByz14837e9bmW8aAaO9y8R5IkEBR5Av4fWqxhmTTWLACIasMhQ4fAtQifBTQvFzeRgjhEW2dYZWRX+vO6wqLBrWfdcZsLk1ohaKHsAtVA5tj+zMgSWUTxDUUMg9ooMcy8TU0WFzhkckcQPDShP5jYMJ61AhdeiJ0GNNeuvG3i1AuYT1YyjAKtkjbJqxhsIpFbLxrnwvqT9HUVA9pOaWVcPY7E4vHN28C5NWg2G0VvR5WzK6gQK4hI2eqtFUOVHeGDztm8Xz0lqV8BoP3YZKiVQzB1yPamVQL37xOjfvcB+JFVSaxh1yX6Yu/ZOFbNPkwlaAuP8WnqFtKdn3HjZywJLIvzWGt+XgZGOjheFkdoiVFfa3V0/5i4e8nX5jqE4KbJvEx0UaBjM0nWlIzgbznG5Jxtmg9a+O8GvDE0buk1nx0mIpU8pl1lAKT3wEfRymS5VmlxKpBZ/WJkO20OBLXth0EgUiAWnnWOZ2vYnZnYcpWze++iC2vcZP4PIizzMIgRyNgpdWtt23crmiA/Txv31/dD5dfB4fVj7GInnikmbMt2s3HCdypDOpzmFMlIWnvtPErhHppms72IczfsWmMjYj2vqGHVWrE4iqZaoqX/eE5btgN4C30E6eX1Q9u1+/FnVroltwRf6dEurEMxp/FHbX4u1MKMKhwuf1wIXxCeJXJlKAhLZR2PxaMbwy/HHzVKpH5++KoO6SvUvVRlPGl8c6aceIGD8NErEBSSKUOBt5rKnzw+puo4EFVEgMhjxSDp3kQxFISgtOa7exfUsAR/sVJVrcSnQ/tragQMqlTydMcsdQmVpbyITT8v5l5db2VVCUc6IjXcWzHcAvE/UTAiyzOTh1MAmGWT3OEOJmPdobFM7J4Omc4T12x2k8bKGNnMjq9MBRtVT8/TAjXqPLbij6ONSHS1pBu2Bj64KqZRHPVserLrc+6akQinor1l6+V0W7drUDNsqUw/mRCaiWAXOdmI1SPriE9ZrwNLXqvPuZfUVOkSZDrK3ev4Cx8bD7u+hgzWHdCDaHVTY2ztjq8OmXYxVt6OE+bkGGGIUnK5VyZegOGkpTd+CQtvOURtXlCDVA9uzJL2MbG3IzUdBWQRxsIDZys+nClyP0RYSv1tkopXlFexTY5Z+0HHqi0quLZ0Nn7H++eWNF+y2A7RU6rauFdfOmJ/P0ZYPOiDbjacY0OLz4wDZ47t1GDIGno6LPS1DPhMVl3hxz+HxcXhRDcZJMRl7FhRfNwxUWyCZXfNXIikC576iXwQT+CpZQbOErAqUZcPUXNtxcYktohn/LvEEl29onIlStjtiY9gIIg6UgESJJhTrEPq1TMhSlzmaVOtao3D9cQFzxOKENnhbRb5GpKmMAnlIXFs+rtfqWt//gyvlA3sAmBifiJ9NUyOZui9DkUoRl++w0TLABEN9d11kFzt0bkcXFY9F2SoyUUL+gqaMtbq3EobM0oG9g0qtq+6he/bV8pli/Ivw9BgyKUqjllUcXArgKzZ3PE/gXAORdgUOpW6PhS4Q/vCfEQkoBEuDiQAJT6qHkbZHYw2zM1KAJ9tiYLWmlUK50XrCGqlGkT1bBBzgCRmsAjHxrc9kXLvyYYsyw7KVr6om+kObEefu2zn5BKP7pyM//pGPN7/EwBzm6Vz8oqD9NwW/imQKPZur1Z0rr+K3nbo1FevEvJjXAtz91WaRAHs+fo/txZGjuM5kG2RH98elS805WpxwqDT58oe1OgHlft5gaWArgVv5i7kGHvQFr2NTyDISxyYt/n5LbbV6dLNIHul/Bpjit2Cb3iM1UKW3GJYR/E7RMzwZ/6gRZe5C37X00MvgsFseQx5oyJP1NiQBeMs9JJPbdTE1wCplsO/pBWraNhF+7q8VGCyL2roAFkGeEGfsCM/Rl9brfSlqcWTiAav9pVlWNfub9ln/JB03SlQShfrE9F0puPxJYg4HY7qFZ2R1R3Pn8itoh2lFwyM6nxHPjO+oDn0ovo8dhDpvt5YIB92hNdinGaCURNAM4eaaa6eVhHHvCCEmU+UyhEDqthqRbKvl7nlqug9nvw5lC81WDEo4xWuMrWugNZYYbQU9DEIybzS8A6wenGm/ZulRzQt0XM12b9HJegV7LTGYENAQHJcDbux80mzD2XRhvk33AVpLryrMP5UXo63Vi9/yjdeOka1pfIDc79whR/uVI8R6nwWiLXOQ5J+lJ69KTgL4QJdHrCFXZVsbe3mzK0fRHO3GoCTmT/9OK94guymIMmHpAOeDqUyIvtu+u8oNZXwlh5Cu3mXO4+Vha6V5W2DWggRRmQWkRsW+j7LN/BUD7mCa7RMaZFHh51NFd0EOErha05yoVc4OA1HYFZ8XYZb4gw147fDVrceTyU8xZjVacbws6CCRXJQhsMSJxRgo6j7alU3qgrOmDfGR3dJoyZ82Ob5EdZPvre9DgDDjNyjaTgbwpFpm6V0A0/GCEYFXkT7akUaJxLd/NUMdoYZ2myZleBgG8LiTdjEUpqGoXfWHe8ww7WF8JUEStRNpg4twKuxQK9OaVs2XYa3h0zMAH71tSL2h4I/fAXzJBthjtt132DfgNaL45+BZTuBH4uNQZ5az3mNcIf5ZikXFn2tW/AX7rq7TTEfLIIG6e/TIhVdapxl56qml3XL57Bx6AWkZCLLb5RQlHFWNAl/TkjoU1nyqBYsq0XBKP6GKIi5XPrUfPVA2MZ7+VVVTFVUagH0dHiQD2lE2PAHyY6o64WXZmt6EtAPHZgOdB3uxkyy06jvk0iTjxJeW24O3x1UJ47n5hQ8kp/4S0LINCS40Y/OKIvy8xcxkGBS3dArEgWdFTc0CLmPMUerzMtHpEE45fcnZmt0vFCFjeAKoXbIUL+scjPG5binLpc8C+PsB7fuyavQ2WeUvIG4ZsB57nUGVpteR+MTINbwFR1EIVykaXgYkCo1DajoPcB4A1u2q/hlyTC3dVZHDMeTFgvMkwJjXS58wUYR5/a3KMkDM33jfDdJ+Wz5jUqKUzEhulrngOIRTjRyFkurO8vp7xeo82E/TUAwCpIUjkX26/C/o67ESG1zg02zAvoj/gZ+AD4vxscwfHZyo7QWMkWbL+4U6fKbTErDzfOt21A1bmsmOpxQKYdU+SOQu/yHlN0VLiHUY+4GHRFhcVCIL//AAuLkEgUEX5wGjbwDFOWWIiVSyClj4l2V7Q5ckFSMIhkM+LnRNWAKJkaVFlzwmxtFJQ3SICYkjYFaaFNgv3evgxIZXgXsdeadlbkcbdkP9UQy2x0fX+65Ybl7jSv8VFGLpTDgYTglqF3QrL9i3x71aqODvQeg/fpVq7Easl+sc1VsqK7HP1vZAmIOgBDbdzyeVkbtYztYmBnUHeLkqsSt1JowqnX/e8vRuQYQf8Xxyf4A2Jmtt18PU/pD8zYAEGEQx77T7HI3/0kRNSctZCpl2WiCCEc4GsvNvLNrO1CN87W/Xy4TISDlyWREn+DuyWBOKDkV46dpWgwGqBwhjt7C+Al+xBAgXc2zEMbmbCAFRXpcQRBwsdkmgKAwiQd7sfRSpYPJ2tFvwQf+BSTHqUgfM8Qwa49ZbOI12dxxTM7flSU9HGIfY8uA+HTq8TbUhE7IsDTO1VV7J6qiHg3ISxPkZvoVK+/X0MWdMQlS3kjpUxa5gkBBMCP7hZ2SAceTXP9PSUCQRV9rktkBIBWR59poFoTx56H/sHHzENOrswS4bI7nUnlAI3MkG5Yhk7EK0NlSWpkjGNtdtRUbxiPZ0ze8QntxgqmQ0V+DzpJWVSpbg0QItoL28v14ZOYBe0K6+4pCr5jUKiES1tyyXJqzMCH+1Yjf3ODf+ey2hLxw3KASsa+LJmImA/AikLXLnosn8BM1hZRT2pyj/vK9FhcAshoMFiEg2QXkB5F6GwbA9rSsrlaoE00edo5ox6983feQnFO1mflutonGVyELGpTrT59lrJN/iGw0LQbvLsflldVT94WqN7RZ0CtDxMNOL1BJ6vtN9/e1El96+NH+x2YBQ3M77GcqoHUOGOWVkeGzUIzFaUMjw/zvx5ZGt7y+bPe2aybVhzSlb1KcNa9V5ECmGHnixoycEv09B0yBD78po93hzML824sypqR/u7Yhmb/JlP5V2k1bctsAMeEHXwVO28MDdNZmUA48Gzp353q6x7ddvBF1AN8+7qYi6QMrHti44ctYxMMkSqRMJcghpyKlNKa5SmSyLwTuvTy+wV5mWNsqMVitiMD7auf3kj4zlUvmodqBchRdXc9GtXRVVD0u0KAcyfk82e7IoB+GrTyO6z0ohf+twsg5Lbs2eupm9WjHvoyhqxasa0gYkwDK5sDVFW65U3nX5wCuMKI3jGfmA7qYu/6VU9p3/jk2QkbPda5ivYMmEUCPdaiQey6MXQz1H0DmTE+6RvPls+KjGXPuvneU6n0MwJiZ+i4SOREuBjAwRb6lOWhgUhqNnk047f4nsNpT8wddxjuvDeqB9m8Cn52H/MTQGQou65LPSoVUZvt/A/RQAAlG/ARRgiEMEaeY/zx1/HXlN2SnIM2n5Q8aDMDSgmMzfFVSwdAKk1vj1PhGpda4Ev6lymHMiCQ3J/Z3IVWg9HVVaqHjjfHLmz9zhEupWAcrgHZzVv9NzdBR6CUd7Zfk3NX9OOUnjpDYUHANzBiuLX6pfOVQCKXbALS8eKrUQfsJzio8qzrzb4hW0YbzSq29qtehZ+HqUt9A1vQ33c0UfcEkyPr/3MLOa0YYCO+matLQvsTlU1OhgqMNM9XAqen7FMXNYoUbriG+oq3PbGLxx4UhpAeHOvY0/U+MYMrSJq5rSvUBDPSUL23RiYkgeQpWO4TuNa4cER5CTisJ72wpJv/xGNm8KvShfj51u864YkjN9gSc9r6VnmSbcYpVASGKVaWspXq+2p8r6/fIFsvIiLghuv0KCmbmZpQ4BRloNK8mg4m1+02cJhFM72zq7bwpRJ3wS1dZAftIE0xVadHELscScCA/mGTwYJR70CN4K/8bXE7I6G2kOB9avj74IfD4u3b2jqb68v3IfGjDCPcwjcDB8ouKYTsTe6uTri7hGtM6+U7kRQNCtejdUiYROsLONYwdq/FuR3DqO3viWJ7DwFuwD0yPHkp+dHKczEH0sWFkAB7Y1z0/izSOx4RTC0E8NMpNWs7WjfrhQDZGOJQXXM9tkF89EgOWX5d/6eEKaxw1Qb23re3mBgEbU4B/AedMskQnBnL7Apd8+BINp6AkeWe3Vv23Dmbu/2Nq9FNAtzSMLJdm8Tm7K/J7qM6W7sauOj+UMLtU3P9jeqdYQLqATM4wAiwaqx3UUOWaJtsk6eoEdpgXIP6EBa5d5lWUmBojkwzC4kao1lm7y9/Xb6UC5JzXEZs6gKn0B0T4YJUZrPhOHoXK1yMQTcPaS1HPcUqGt+9tGm8FF/JBPjBdIvUYkTELAVa5blvVQvJ0s7/5gz31rORdMXzPNps9uT/gMWYZcZ8JSdC6EdMS/AHD7c1H46HBXyiMOFIMDVbgumVtWzqQZOqsQfrp6O4aeVDHOnJyZl/yC+C252p0C8HOCE0MWjtmeAi9RZ2XkJxHV2rCPdQoeBSgMc1RDDl2cfGmVMwHrDfaXD7dYwgQsudAM3bzR5dnSP4jz6fE96gnV5fz9UWIIZQJKU/GmiC2qo8CWnSagUQuP9OMGsS/z0MmOG2kA/0rrhLx2+qZDR5bZ+NdxVZLaYVjv9A81MaZic68moHMWP/kSJEMiIh4EJ2/tReptGa+6J1XQI0Rgt2eSXFuoVft5uAcjJBdKjFA4mYqXRKjnZEf5TIbOqxrfuvGdP4CzDTLo2P2TG3yC34TWWc35qsmizPAga9yAwAj3r8rYi22BBZW0iTiJrUo9LseILOJmIvQ+d4dKY5KcqGv9zVFnRGYYuh6kXmYzR8IJmzE0xO3LyL2kJvP70VMUUwy9agi84/eyRQwL/2XAbqreiq0sCSqs9jgqhv6MGTG6g+rpwucb5l7ft9dCQIIgD2hM+KH6JCZ05zM29hWS45qLNEe5AFBa9Z7v5ZHBq95k3YkIQBuDFzo3Ao59zIo7QYIXjSm5SN42XXqoCUB7d+ZKBWAqHWSfLlnu76Jj3ajWbif6oAVzHkAhyfYUFGhnkTkIwXJjnNnGI5Rpp9yIiWVLB5vtx+qiY3J4uh7T4AIGpArtMw8OavcuThQ6pPjxh1P7s1Hiv2zRVehtKE21tsjtnDPqz1GAL2sVaviY2GbT/EOy4mq/pWBxr2jx+xUYXfUZHm6hzpRE6WiGBMInkxakmzb/GxQd8x327qvHfbbpl5CM82Em6E7jDJ5GJinDou8u4J0dBxNJCpym6Tnl9I1A3j/Q849+kPUOK1m75YOKz60LhngQq3kyfg4O5QexrzEf3Y8VdKcEApOE4RpXnwcdKaFQh8w9KyOoqXGc21X+jWFemoR+d+w5TeeAFv65jyt4MImtx4v+dOp1gujG6baSPLE4JT+dvQDCVETuveY/yvyE4bSxCvBkDqWCxkYqAY+EV+6R7ARae4FDl0UiUC1nm/qtx6j40oZnM4uMBJntdJRQQxZQHnrmLRlhYeARrTYrnY8rSVyoRG/iYvEJPdR4K6lC0Dk6vpu1ri3RCViqUCvTSLfxxTpcNbauFvE47Bcj2fv7JpmpPky38PIR3cgOvTXe7FxBnne7Q4lmGFF89IeYJHXBy6K4h+IRUdD7QcRMH60wgjrzl903noHCRI7YtG+UOQh7jUpPlwW4QJRwr+D8/yhNjfZL41LGeSmddhQpfIt95VZQZrP6b1RXXMIzrmOCEczeXCsWQDOAIoJ58evUqgNgg967X7SS+8Cd3XaAecg1RNXtukk6YQ9uY0uccHN7MRqgOdRHFCqnAjYBpPVFUJ4P+CETL1fWv/WJeEhUXYgYTuEuUJhemwkMj3TOYJRED6mCSRdvklEtw0XWdD3lT+S33Mch6DtAV7LJOejJZvfkMRL51dcLeApYnsRPndjPF3F0l9rU8DTD76BM0PL5WeCyiUkNzY8ee6aUEV9fEsDrE9bQgle/KtKpfEEpUqdDtAPFvWB2QOTYyitZPmQdfmZtwWdrrsutVd7hcf5irPR4HVDk/cQDVYiq57McL4+7yOzvipbrESGh1sV0TnTWoKIe0+7rxd+uUZepQnSjst154SpjNAD4RV8F51JwGelgsk/IPAl54Y6mEP47Ys1aDhz4cn1S2DNZYZKrkYXONCYylstbV5LE899KXnF9ph27aRy5DomxxS1xHWNvWiH9z9aIexX+RE/HglEiB4vrrgrlVoMz/SBzyGKPOHTWkPKVKBNg5XgIy4Z1CBURGG9thRbIn/XoRYouu8N6bxOdh51Cc3MqwbeYfbLCk50HrbG4Uj3BxNrPf5bb7PedZL9Di0HCw+zmaYUMO5BKZfw9udwaYweagWtOImDL+Dkczj2XIlSUC5qRrHqeWfqk1TPSkTDuSDFyo90HXivhlc8jz2KBo0S1AsC0r2+JalOi0X/hQLYQbVww0nMgTtXNPVp2uI+7BsXR0nNivmV4FpnLRqqZH0N6eRZiENBSIG6NaPVhNKNbIGvUcD/GxK7hadsdcCZDs+uSP2Yd5RgWtc/JDKhnT+7V5hxQjwM7frgULLEQ+aC2+LBBUgR0fvYbFVU6sIumVIcBFQI2kKFIjJJfqeztlVwG1i73PRme1DXQOAR+Ocw3+TPiKwAJqOe24zD/C8JTnuMiCaB2Dmgaxq2HHwBaWW+8eiPUuOx8PHK55AaduQS0krSwWS9F+hp/iJS7cAJyxAj5/S3oRp9bcfpNVfISBm6/p1owaKvqXBGtCFI0T2jVMK+sKHYnxF+27xJDWfKXmj45+iIXzPMHsUhR0aLwmq7hqu6Im952KeccJXkG7UIFHiG8N0b4isPB0RTmF9VdUU6OOKOiFpe74qlm/wbkucgRYANzFmJzUv8OkKe0VLM6gdZSk9dtDvimmSwji9gnvyhoYgQqO+7Anf1rqI51jgyoFhxF05MlJSOyjzlG77wlGEIoWMVLRo6BdhcYRKnC8VqC2x//jm0g8bEAsecCoqpl299AtIW+nd9GSDOe82NIP0DdP6ekqamSMERtjxnN8SKpfv/wugQG+Cx6IfNdV0KiFy4QaihEw8T4HUlEACEhRLXFwhd9AIWkF/ne6yE1ni3RtWFdZ4ToXDomMIzLdJi8NhnDzEFuECK3pU84LYzGBwCqo4FbQMy9FIt2yUXB/b8lGsdR+j3ERtFgMjB8CnT1MeCFQYT0VDAMEOhDU/pmfUCs2z87JXIUh1pCcmR+0AnWuSuoir3R5/nP/ftpgTxXZfDqqim8IQjjc1s0Rb8Ix4kbw04LskMjjH0jcetaU+UK4K3GHzX+vmhz+I0hrTEczBFRiYtTDRKl+3h4S/Ddx3+ff6Q1S7r+/4zGWXY0Mo7W7OltvN1DnCbxYU0Q6nnxOKJZQub/ptic9KcDE/UWyDpwu0ogyoc3Kq1MxvpCcUBteOUEl97NaW2lV2iToAdwvrElkwierg39fmc2C75hWRf+KomoeMPwoRqWiZdSSSWg0W1K1bO+jyP5J351Dk6HU2NWjB2NwOfn/PMbzR7K1MdjrCBxFSSXqmtHBQV/ytoJdtue+bIRsRsNxBgS876QqhT0HyWnjeckP1ZWyR5b2q5Zw7cxQHkISJd+6ZzVnd7OrYwnD19tooi/TMIbPEmDGuH0d5TbRYxC69P7bwyuNx2onaRpB/OCB4wT5S5kFdYEKSR3PztxkTubGzk1OZ9JpD5bVtfDPAF/fEx9Hfh3Iv4f6F90hPbyizb98Wj2qu0kd+Z1bkL3pynKy9MrvfdcB4eeUQH3Zi4mnuARSdt/i8uiGdA8wyLIYfOmYmWD0BV15BH9msRYxQTRglbV7Q0ELUKFXxhN92ZMHOBFwV7F6JiKQNBi4kp688hvnb7MNC450ATZnZXti8skaGuBP0CHcmhKWYv/h0W1Xp7soh7xn/1tV/3YicwwqikG+5ntQ/o3u5SS4KJzzNr9+jR1hBcffDoPwHMSA/6hTJJX3yglBHz0O5yHe8HABnVR/t59Z5hm0sySAbzTzWfy1elEvLVIjHKIU9/oHfTvp+cLGz0bgLt1sx5wQ3/6PMAhO9/psMuYCBu9Jq/HNdG5cQN4djUnpDq23N8o4O4JSkX60HN0x0OY+DdQg11hV78zbNsBwi5eMuuOT/1kypOEddJHeMgghjLzAZUzE26c1WQCtrh+KHO5Mu74rEgsEAijnWmspDwaAbBhOzUSfUc7QEFc734W5UnlDBkHbl+q/+mLo4u+gJYrKGoOx83RyDI9kFgxbH1kgNgfIJU+aTiwAgGiGKp7cziCfW7Kvre9H4MXvjwcigaZuFdZSH/qs6RGVkPDx9hFaoPRorTqcuRMQQjLe6mhnIxBx5wE4t5OV++i0RqVabfxlSbySVB7kLlZticZ//g1yqvlMLvQ28lDWLiJHSFluvDZ3FGNC55gPEF44X7qtajdvXfsbdCL5XV3DbKRmqaWLSfHv7IR3TvPsByDl8vdYCA5nYjPgpcE9qQsEKmCAIqyHImjvcrNbZIUur4C0PJK8Oud7hGK2A0xNGEhIAiixaeAbKmAmk31/wmLNlXzkZSzVZzv6kxtoe+xqDyysY7wBrMztA08La0EZ4sM1ah3hDT5Vudvn/riYMBIZm5sp91Zjphb9OC8F0FypoOR9UBhvSjiJcVxeUoQxYpwoX/k4RQJHQe6igJNOtZ9Fu1Td9dky1z2Y4opCngLrP6swONjWHeTDOZbRsIY7YW+0oMP2uMEpm4i1nPYdv0bW4YDhTP9VeEnc90cwVs5+P0VCafh7zTW/OnE956KqsfFLFj0tou4h4GVyWV4eUlOh3pshxt2r7BYKjBx8isIzuwX0+CgCf1FMVbDUGm8HedkQX5PurNW7Yniae/TjgCf4WTn/Bbg9OfJY3KALhNlYXXKXvJwNd/FKnCFrkC0OhVdoAQL5polKFF0IlxWW9ScjDQ/vulb1FidwZUe+NNZZML9ztL9Sm44RSK5Evjp66djP3uBWgl+zO4XZ6AXuulATkBfgXpDDDTqjqBqJ9KjbiIvCONIY2hPhUmGOClBmEXcu6/Y4spa7I0NFflTs55Y8WvRKYGaEhO9pWTNQ1c0OaZEqCPH3cZdTghwm/3mzra2IpoVMv8AA5KNKncKF9ajGJlXVsWO2MdWT0jzrEDbKdUT4djIwGQFtBrV8k3w02zYNxLYG9W+CRZON7rD2P2Xt/vZbz/Dks3oQijwqRkfT/ttGXi5O0CO4a3gxt2yFMSQcW9l7PZ9oAKNV7jrIlkBGSW1aKvTf8J5dtHrhWGVDYo+Zg6hlONAa1k46n5Zn1q8KTfpSZDi1yCpCwJIy3Wdx0A9J8syv85EMmOJ6q48FfrkG6wp85ql5A8eM/w/ijVJ9w3oeqebC1COi3kmfbPz/xRnZg3roxJkEM66TtEMm7QVOABhek3OlWhLbOg0aoifUsoi9ROWr49SBB5NUpqn+9Fv8eCGSZgdq0cyJn8a4HQqQ/3QfP5+DI7+uCebntYas0f4E7Umux8P8EJTOHhutQ2pZamp7vxoxuCXYHGY86e7nCRTag5HYpnjIilJ4YmTHSDsMD+bpPVgqpU//toRxBIQ+iLo1ueld2CX4G/rD4uhWY7LBrswCn3rYF6W+HeieSDXVK7cw8TGA/NkoFWmeNbNV7QWuT8TwgF7xlG8aoglsS241XywkKo5wQs/iE03kQNB07nPHFpMDmrSICEUZt0c14ScO6XdCrlKX0MwSx5HPLEkIgeUQB+rOv8S3VdjkXwV3GWNrNR+t0VmsI5jVEd9tTW+GrLlPW42rLmNngtPIFFuKeWENFfz/IwWhHstDVNyGB3alFkFIKg3RPVOfXL4VeR6/K6V8MRVzY7Bwck8tuxHgXqjcNkWY1+9F/azKDZf8eiAv5FeLYOUoW5fuaENhC7hXiEsU6iSCtJiiujaAxkVMi/H5cQ3H6VYNLrOgOPG1ZFfhCZFn1mudUGnSqL8nmtQeD8NYyV51ZE7cYmSiazkG4Gd0zpz/4+v9qcCfjSZ3TgNDCj/9TIZuFmfgRKc850kmBakGSEIK+OZ43N6S6exQOQOaLyt/EcZU5nrVc9ZF3ocQASvzdAfp2FpWsineYrQbHkJYKIPLBNdQBeFfmSBqY67A3Tt3J/U8MDhUSyEk7asBtNLSB8Hy1fUH1I0U7PhQYPMTiD72NQwB/zGHjCcqiBO7RO1Jd6fprqkUx3DpSS5QB0cx5TqpyV6yVRXlGqhoOKZwf4a9/rFNilDB3+KpptDmF1CNawBzjqsUgDfA7h2kr2b9tZCk3Dgs2LG33oDq9z5Px0rCc7fEVc4CmvWuhMrj9UKTyIlRtteA5d7vAgo3oZXxKmxEiv826Q75nN8MBR6NxOLuA47lNoUdw/bnPJo3HaJh3nsQbPkj/agcz513GqI8HVzNYIIDPTNJfPqaExtwby+oXUByNdLeCc8il63xGSQuYDD2R8l6IZfu06Z19WM52icrLMe2bBoyIJNH5pt+B8aoSXJIUdI8GSDJSAEodZCa+b8jFY+mNl6B4xnvmLL9AvUkoYeiNg1aIikLL1u+lr4EobreDm/mi0w0EFtfQqBDVlgUdfwjv+qSariOFY9x8yxngnTaNShy5CZLL0/JbwaoFGQeBOXwzieo5k3GZeMchEtYE5NJQ5XvjCdFfB4Le2zmQ7KaUQfTxajQK96W4/g2J9QyQchh2PTWg5bK8hsLT3oLHNqr/0Ur9O+re7stqHyo46JgbDVHxJNq1dQnXor0HtZ1gchuQUfRXgI4nPdbDR5OEVEM1UfFTpnMEYbWlUv0AAt3cQfErrT5ELWyG9JdMOJjzRHPkva9/S1nXrr8NHg1AxSH5mSRbVtL9NtqD9f3+18qJeFNO5V+UKyJ1nLRFH7N4DcGENV1erCDh86esjQ5JP8nLFRde4GwCRcEPE0wqvnFD775qiio5uI5zK2o0N37UG33BdeC32lTM/fOxlIiE7CfWYyDvZ9gugeNrG+du0uYWxmVPsUItInIjyU0PqLBHIH/fZjgKOE4yZYH5Y0TzxRwgg+JJE1C5hEvj+t2zL5YotlZNXQPy4EWeprnHnB0E9axILnlfYe1cyYZCkCXuEql90xv/gwYLks3bkIwfh+kQGd5dNjntH6/rIY2uV9ZvqL6xn5G+AhWtDH2/1oX/XlJNb7S05xZR0nBbG1V2DI4yl5bGBrpqFE9UeqrvW+/MFwajQ62qXRhumDny1vQEAsKzEsqmk3jFasDUT0YxuxLluSxK/6aNmdttwSOveL3gBHBUOei2ViQw/ieAI20JD23eHBwkIQZcL6WbSgh6ut9ER5Ly/RAA7tP3oqSyt0Qija9KyKBtjRadctl9xWvD/LkWlIukEgOG3OnXrWW55rS/zVGUdgKQLNY3dygctPYNuaYfZpOtKqrA+xO2D99D1VIDr/e0ncA7Ew0fR9IIgMSz9tD5QwDMuRqxV5qT89bgioTbhKplt0sH5Y+OAa/DnYnj5vJnB4qwXr7ACBB1zEclgxYQvXpqcppr/3gfxFuh7fZkqicAjFlo7v73jgRnbmQ/Qw3duDC5fb8/2cEBxezKy+052MGmhsLQXIcXTEhlvL5sS+HTiDLlYxFXfdAz7AeJgUyYzQuqWtRTnngoNbMJBuJTFQcmkcCJd0dVpCHLeGaDbhDrSg1fDNthQgDHcQ5erA3mOZq1fZ+npJQ3fYEMMJI78wp0hFWQFrlMXvqDk7Nfm+aOgUlKFiAUF2k9d2ibtzjlakjWhcIPgdn1QszIIXWfxupn3d16KI+m1M+UMnTHRMwUhFccThbzbFJ2j2zpsyYLgq+hBxKLqZF517bOe9eCXW1cPaAVNcKdeNohsmxa/P2EaT6nuQfDEV/FYLDYLfL69nYPMYlW5Yg+m6eMP4/njS84QuloX1JKuEfEKgAkmU50KR0Egb+wTVxUr/q+n+m9wCGw4j08tGrREX9F/tWJeJ9Fm3JGH3bADjHxAH0i+yk0iAttdIFiLOI8HcJGDjHeweE3FAU1UM/gnr4ufoW75uneJTF5Exsxk/NAvWBV1VA6aW+5AafydXzmgeFQEvOk6JKvpunDyDwZx769u6N8J3kJ4lJZ3pUF/U8fcp6po/TrpTwYqZS5hIG4WeTajX3Kw9WDmO3299Fe8XLZ1d/2iQDU9viNOkEeo4W0nV8wf3zmC8Fi/RoF2yVhsn/S4SJqSHeMV12P3RqSXRCPN8tKLUujaOOg84w25xMqWcGECdFUIO1RsqeUSEFgngSaAIgERtwic3H2KJyQHavIbLRsM52abHaU1QweB7qLcovwEMZkRBabpjdHtJ2m0EuNRs2ZQEolJm79UxRualpan3keRam3cCiTGcZMCMade7ke1ftyrVCxbeA7CACBCHZTomHn0jF/ZQnZqPwqV+iKHJe4m2P+35SqnCVC7z4fwuWo398qi768SP66/jIC3d9sSC2pP8+Ef2l5yQKd3IV2yJitIs3sSplKtOBfqyaNe8gQqsidtbpt35EHK1xBnxItK0L23esbiEvhDZCyruCIvZDJJiEr/WuD9CYfDa+Lw6kJ02nr9Aqeu4U2a/Yv1WDqwAoc/2ea6+/JXkdkPGdNF426SF8v2Y/5BRcfoE9ETRiVMWOGmys7Knn/cf4D+Ns012ckPtbkOF1ppYvTzHnDg72L+W6B8lLL5Z+JI7tPwiKyNRXxzmZoNKShmKpINoiiDAi1kSGCpip2+YXs/EpBR6fa9Oy4hF9h7AmbigapfGWF/xPyY/nPGqYEmUSZdtwLEYR8yPvqI4tN1+fdM7MLJvnz6h1umqCGfCC0f9s3PNAHAUemElp1Vhjke20CQpYo0i91JSqzGgQNs6xWv1qpKUjid4Vmwf5QtCFdFpeLTimSPMyEC+vuNwXJw9aIZQ64ycjewGfc1KsfQYIWuee5GGWa1gt5HPdy7nbMx1ZFo/Y2A7ZWyzV/mQRP9TYrdA/PwLvSAiUeYzMcS3scNAYNNFd3ahWPoaPZ4/e6EdiiHGnFbyU/SG41q6mw1qFYJ83gzOflQBZRYQVeYM5WrtoGr19czJsvwKZ8DjaBF4/+PrNcEKe0wb6QXdreD4DHfJvMY2OFF9VuZBfQGTIWeKgscmruSWysj96/zA0KERG+A3g5Hn1R8F/iy3K5i9PZDqfy/3uJ/G09yMwVpsSK4X3kejHJYC2DKmzz40pjv2d68rSsz+plzxV4gCYpmlolPouctRMyRdcJdH3ovnXp8OdmaaA9uptdeKGl/CFRIUYUElbS8+AUsu03Q4OFabCU6UnNC/R/a6JQxderE8gIqE4lx8fD7ChhGLhWbHnd7VoIT/4nf1XHpIo10nQOucJLDW/D4CMwx8VEwEaJf8wO02xdJe74D6U3RU/gi6gIq1ROLUTDUyjQ289lb7MrqejYqu9/EfqWHAy1KVHqW6IJJcONxYIQr/9SI5uLMYsCJSZwGt3m5Xxt+i7qZah4+mbyIYDyLHi+WKJvRkRehLeUCFoVnX64jtcYeAtss5EJqfNJg2tjJ6/l3QNkpyRXn2B61tJEbharB+K65EDCJ3yxA3NC6PKM1rqIs7k6ZJv44wBBxhjYnmOPxhu3gpBagiMt8mxNqDISN+YJROByNKpLsGXKg7UVJckhrRTWnEb86Rz3lO6EA8qqGSxQWjmb6fK3kdD8GCnQ41albFavPddu8dhRv9REuFWziUGMrQndfTB2H9k5Sqg41gNF2q7IQUhqU+4uUlB3nKBAgDroAR8tHnkhW94bZZsfNHI87gC1GRyyo4549VY091BSltPak0TWUg4qUCkZgS1cBY79HiIrSBgTACVayrDge66iOBxa4B7cs40pA0AI3kkjawK95yXkjGuxhqKfQC9bL1E9BU7+r47uSZWvOkyVWVfvZDpW+e8AgzvTIq8mtizyvVndkrlDwJtBnNPeVs1U50M0LXsCxKvtpeQ3M7ECKYBLbC8UJyawCqM2J58OHa/zu1/FxKbrJqnuP/8G7ZEKtZnCoGibnMNBwAVADyCIYUixXDPz6z028YI2ENCWRza6r8hyDaQBu7FQK4bQzxKiajyNe0auwGDEM25TgNqet0QeQ9N4fF/pCo0eNuIDFIboMyrx3xGT2w2sUU7KaFF4a/5jHqVV44QHhwophVpWnLgtMfpoedrHa95L/rfAxULraid9bT6Z3k2Q40io6gGO3NS/P4PjN0MPe4qym40fJo9GSC485H3Ndrz1ZiK3vN+RaNYmNHzK+f8GXhatQPrOBuBVrAIkNqqevNNKcnfrFu+3pBquiPBiUagOpj6iWNPYpwyo0Viq2fg+4hLBSvQfRW8UnIBT5IaMfaMwkGXmySrZQTKwFzcy7ekXtGl5vNcJNuBFR2FnksBGloUva51jmJ2FaDbpJ3CEifztIv7q7mS3N9zfUbbW6SHcN/WNTq5I24rr+AD9PuPwfDn/WgI0pxIqhpnIa4uC/+UXhTsAqhJO1wbqspMVfChw7z4MUGzjgAQT9fBR0v1OXUjeT69KiHzWxuuZz7EFTMS53UvpjHz89k9FuXzMGRmrukwt8XVz947/h84WXHfDYMHyTXJJ2nsxqeSA8oT3TSSNIfEnew3TAWnX7sDsNZeAP8mWcmVg++q3Yc4GelJZrOUalH9xpl4xvuZkrg5KRbzyiVrHworhw4DUIc9WD3IXV6GFxbS+0Jjyq4d9et/GrO+812EsNTJDvQca18BPiRmrCy8wqQ9na/4QobvF3ddAPTdHUkz3hyIi9TGLhs7xM7kV1RpMAjiiQnNev8pJOnWkU4f71MCK0HY+2lzyNBqKG+UiWMf0DLsTE/z0NKUwjZ8ixeiVmsjIhN2vpsj41cdayX6N4V49rbbEgfgr891PLvDZ0Y/I/rGdl6qWrnf+kK2Hc0H+kVB0Wu8fuFUbF7v9MmEMY6nex5fx7Pac0Xh5XIzyZeSKU0Njrvjg72ly8btvD/rkbDP74wO8bRbmKQKg4bbqF39g6c06jxl8r+XiLR950zigTr5mbVXANtas0ybN/7k4eoefgoKwQZXXYjrdDfdbF0ptf1cmcs/RwT08EQjY8oX2ykXlpoIZjljGUFtiCXCpbcacfSqlprhWiKAH6GJg7FLON1Q+yqcXaAPRW6SkA0VgDOFOGk1Nrm5TAcY4aEjZIoOLL624y33T/5JyyAykwwq7cd4zUBw4QXSf/yOTp0Dfrbu22J4iRSyu11GTzd/dtOKdttIMxMKdumIsGwgbiSbE3EFSOvmiy0aYQjFLeiPyL7BMaepcgB2b3LZRw88r+GEVRxElOXgyvTXcP4wzPsCJ9RBHstjQsiaqHGa1CXLRvpqJOyit+XQZnxGz9XWxC/qsdhfoxmTMxyacK4pPThbgxrXtoRZTpMWywc+YOER5OHDD47M3JUkJHb6WHDxg6bxAfreBJe/TUen+6cYLhQOXbwMv8fLJJ1K/UqMbk78hRK1zXQYa2xxqXyxlfGU5mBjbODPOv48qK5C24D6UvYCIpCqtk3MxO44Gu8IkzI1pRuXHzDVQvMpyP7/mILUaL8fSmlqV1kfQ58LRhKcgjpEaXl8eSj/ixEgo3HY3RjD2uJrTQCupWD3ByhsfChDDWi1tLhz/nKM+40WJsasjew4/BXVuOPvslVDS/vNHA753qKsP87tGyFUMDBpY/mO1s+HmBUsHVZHTujEsOpfvdcg4WNkLOaBF8EqnIW3R49MpdIHKDHTX8uAlHVJumHp5EJYlVwPPGDlUgGTVzYdVPYseEGkUvnm9M4bOvPVJp0nOPWzJTUE00Mxma6nb2Dx9XkZh66KkgE+D2y456sW+ZjI6sZaQg6PTUnWEfInZvBKEObp/DOxRNJ+XGYktUfEKp+5Y8id5+OpdkvdZQ/CE17LoUMKWYQ15N41JrueetsydeDhuqZaPbHmYlxX1qbg1jr+13GlIcDXAO6yeMkDwijvWXi6/K7ayu4Lby8uJWJK0y5ukTn2Z011GgCusMq0AXfT3527g4mAxBwN9YIgSEk/yD+mE8KtRw0PGetTRBCWk+T27gZWqGg76LBa/s7ZkoPmyxOX9GWfBBp+t/R5XtspXnLfPO/45tKewHOB1iRYnV/WckvjBrIrnAFnwWOXs8HZqUQOGScp6mh6o6HsTZs4dkic5KXkdAOm9G06t8KxMHBerIRGYIeXbiPdJha1lt5yokEei2jCHnOmOfXYw+Q143rr9o3PXST7nRP66G51oo8TKqmMx07qSYgTWF7nsXpRMJapOmCFEksldbbMU9X5UfmOmmWSchTddLEBRetuVuyAWI6r85djHuJKxBYmCLe3QpB+f57b/YoqAbGJegc0Ovn8Guc+qQ+QgzWh992cnqMlfFEDXrPiDPEB6G/yYmZZ6cSE4gbojd6NI2RHJ4FrJpsIp4eAXxdR6zjXdmzX2cTAa84Oq6UGMZbgk3qZMj682srHXu32TcuOkahA3sp5A9B/MlA3BF8NP+qYkiiBtwp3Jv4nid/VdWYiyZo3Eu4W8bjTRU7AwcE3oT0/1MyDMA51zoN0SxvSzVpeuYfhqkH2lQLmuckZ8tdEUfAqN1G8uBI2qnuQ1z3DJ2yPfUfgV3rUO5kDhrP4Vs3ZdM9UWTQNlKT3JwmZ9ksM+WYhECb8yoFuaskBowyQnvsLV/wrHLCX5ijtxdDheQXA7yy9GbHYu0b7tNXv+3U+SCA4xeSzBAGRUOp05GUEtOTq3gOo6JeqwF430dmr9jQ072Qo8htNcyMSXKuCxaCI1359UNMiX4kt8Awn1l7rTuAuNMYkzXyJvVZO1iQBP+k+pnnaUZfsmsK/9oGcwOsqdVWAh6vhib5ctIDJx+a7ToaQAf7DmOHi2nREqlF2yRFUbIoZgvJhfQ5058BZxCKae8DPBISRHlCyorsZrsFaRqLhoygfZvkvEJ/uPpdsyJ3P1ClBt7eNlBVMlabL25e48zeHLUh/yry/psfXmVsaCP1AcVN8byPkeyHvkgmf52OD7acxgcWcp3ym0tJWOiHCSOgENuTVkwzjqJgRS8Vz3eDVCdFOq9OUdXo4oSAKQ9q99G/UvRapB+hEqwYmbcGNdaXk9EHZwpMakJdEEcyb9vWtoiV1aFRNb922b4My10r+WmU3w+DR3ZCyZIiHK7i4LNNk7CaQzHpEjvYd3FOMpGDDLDSNpQmMiSAN/SXK0RPEUwgF1o33HquizF7kWOmCtm387PZG4JKKtHGHsvEBKF6wFLzv4WgNtG+q3jj1b1DnkQQvLVi1uqYDUjAekErH4rVLxuAvtGUSRC60bMoCeZhbRKKngPeA81ikJ5F9yxM9pe57BhXVzrT3FnmzunWJ8jULXYJ1H33WPFbNwxQQHngoQ0F/Llzw+ui7/flbMOezMP2rzbMfIMDUJ/l3/emFObbOF82eKDByTed8+O9F8khpP+s9qDueCrVolHV8HOG5rhf+zXHiJRUOp1Wg5zxuzAnJSKnjDvDW/SbRzmRxUm9E/R9b6TvXsfuBvqAJ6nx/H0ozmXjPJmDqszg1lAm7f+wENYRdiMnfhtQx/vu2ksN93kBU8iBSqQv2ecoo5xVzdNmq6xTqgcgyDZ+MJtwNIsUX3QYAxWWd1yjdeBIHKyzGQRKNchKH5vV5uVlzXETy8Hi6VYc3pG7LHmjrk9pZqX4vtVyazm25GbY4ztGxEglD3o3mVpjjmbmxBx//HAFSaA7ho0Db1M5cdFX6ca4bTYVfj4Y5Bln/od9zLvyVtD0BgGivnKTTjwrXMKHp8PomkYaqOrfxa//mz1PgrxB9JP8z215fhNhtwAXm7GnYXBPH59MGCKAzkvy2DPMT37IPYGeu4GYAcZTt6fuzXTCgPcfoc4fxIfq8Y7CQn41LaPC55OcKFfWrsqntJsvYSJo8Smueu8JSzOFJFAT1BMn46IwV6mf6ZC1CP3An/9OpZ2iZ6ofedm+q6FA7eXkW2jz+Gj5vuDGXwLgC9fyMenjnv4fzwQ7ugVi+2Ti8HZfGT2PFEFyZvSpuZP2HmRbKSzAT2bIu9sTtfVjHYj3WIip2bG+f9/B+FBN7w38V4G3EdAF+JOEWxRur3PMxkzUOtxiE11qP+/IMQeYnU+B485LT/4Ba9LZfnVdDD7MymDCmorknHmJQnIP0TDVLyuquM3h0+LPgVGIcmD3HP21ozNODjLcT9VhF1tX2YJ40+M13AFY6dyN7hBeY0cqa/7eoC5dPHMZs/gCTREHxkrKmT5Lth4lGjL39hqqPVLgZ3+kCtJnFhwyq44mLCfOT5wzmoCHEvrh81v9dgdgsoqnzk0mS+JkDyQiweMUTI/8LlgxMSJE/QPD72TRAjxD+Kajf3WHlOrpt7H9a84lkv1eC1HOKtDHEvJckiZt8FiHfz/sWK+JUzkex/8LGHL1rMitH29ssH3jKgGjXogbpInDHLOdZqwLcPeiTq20wRb1pN3wjy9DhuLQOBN8DL09nW9W+yhyJFX9NHKcQkW5GcwYLsqbIvfxS4E6Q4MdqbSOSYQuM7EUc+oJa+0Eha5dKiEHuVKuv1S5DQb+s9zagGRqol3Lq6bEK1FXuvfz1Ve6UFwQZ5roTpcAMOoDKnLPxagsmUrhEospE+xytwx45bkX7gksTUradrZgd5XjM96gdeG4A3LPXBJ+CX6LzOJWj7sLq/mypjAislpDZXOJmLLYzIUUInyZgKL0sXTl6+DXq3O8mCmN2isp//0q+YB6Ubap4/g7ipwRa17J4XUfXh+UCJV7CG0dDO6eu9Uc6vK4pgpITuaXB58Lx6u5FTPymTqi8Ah01Pk4pXixV84f2/37/euyYyWQVvR7q9UjBu59k8gCcwFQIblfWOX/wT7b6nyFi8/55WYo0XIU77faQsE/Slaved0mILqXWI/YdMO34BddLAKSC0AoXEhMVNNm8dIBBSZ77HmNCLForswcNtxC42ilmMtuQkUxpAakT94TujkP+2liUO6H0ObsvaMqU+rJokaMavKzycJDmM8s4kQx61i5KDIS6RMkzUcCMbNTPwS0o7f89d9A7/2bXV3cj4hx3hOfKBH24ZNJ6ITfQtqOx7tL69g2STpISlPrbkkjth/viXtxx+l/ikFc+v5IZBanRWJz1phgJwIzbQQp0KsdxnPUAymPkPQbGneMCvJFG98YpwQrQccLEB5ueTnF+8VwqtImFuh8A1dcQozSNP0D5EwlC4xOr5M6OzIU9s7Qj6h/QekgSZiUEmPJt3eVYM6xv2mJwU4otFnEmJ2YInZjT764/u0rEq+av0r9a+t6jLIUyfBeRiu5M6nxz95xM9ahEsot1DCX7frxruSfu+nED4fRl8UKy3Gf6nAa5SgiBJ8+QQbB3tpY6IewZH7LYRag5g1J/9P+kFUnYPkXpGSdmfo+REDchLwIf0AKzZ9buj6xZYxIN+HooL0MvwHNlivbsO16UArQ4PbBRM82uF0EOXSuZsZHVd+YXLjbDYl9bCGmcbAOd/AISkS6J3iR7p5pTDGtEC+vU3WdxxJS/fKeZNBy3msr6UOpNw4NWwWCBlpNpwUdxIU5YEWXj4yx9KdKn96OwbH/+Ei63uOZZGkNp2gJ636CAWMeUuu8E3NeDf4q2NYLvj5R9SiTpjCRliDvChJM3DEPCvtBN0KsRUhBhTGgmvnuzNJWuqvRaD8DSLeA5z5n0uTfSymj7Oo8dJWFhHo2E10LCt/lrSM5UlJyKPT45z8fsV60NKUyPzZkiEyRWZrs0BwIMIFSaqL7NcdULH6dDxSJFX0dhJVRu+xQrJRsQBrZuuQGbGgmy1wiYDHbookm9hqudUlulxhEmnx6oWS5SKjneo+3pJ5dFX50IZAbJlG8sXvWJ/5dYzeBK6PNnYCkvjv+7gJwkxRgmKQClEqX4iu6x0YTYiB8fwmUyJ0f2veO4ZOi97wpqh7UudzfQESkzllql4HRJ35SEimt0G+N0Hr+oeLB5bbAc3aU9E+QbIsovp1G4Hk4Ljkk2XpGaf3czjVUhBUjSiyCm9rRZ2xTcwHD8ysnMKadeDe9b8chRCTM5S6dezDMq+4EhEY/7YAvhz3tCPjZHGVahCZcFN+N8rADyzLoB5j92+T/KZvgeq0XfQjgV/wSdG+bIohZeO+FURnW8nSJadQPrQ/apw4hpHjng7RFMpbxK7tJjvTc/70JwqCiJ2AM20PnG5b2xkm83w2g4FnWLJ7HE8NVj9BBTZd2oAWlQSIqHYlTQTAwfZIT75Gwf7INIJjnjGefzNpxP8/StlrjjotqF8Ib1BDHZeUMnJki+8m/321MJ5VuRr1sjdHx6KrHYZ0v2J5Q1fsAX6mOrBRPwDaOp9kjy3WUnbq5A4kR5lLXscj1ATqQkNDEaYNZmTRlcqyejP7mWi4cPxElpmpfhPetQnbmCUrIC7uAZgtoXnpxXjbC6rTCLZKavVwlQAfWpaqWnKxJCpI5WAXp+t2B/ezd1XjOrqHT+1yhOEpRoTUDI0NzTsF5OXNoiVm30e/CFmOZgAd9roMaItzM1gC520YtaURbVKVBH1RMv/86sR+GcZhwtwB0RSN2jQMRVdPOFMQKgtpvprblnCIcUzch8eCWCFYIOqxvUXf4cHgTfM2KprobtTwxG/CayC85X7AECgkXD8GvhnFZmA+09SWP8t8+jGPZ0jEiAn7WfXmuOta93NedH9K1uyPfM5VZhx64MJbN43SO0ok5f+EQzB+QTZ1yd5VXRoUdAP5CkdEmngT4yZoKiKSoVoHVIGpY/wx0reEiHn0dB012hEizldoKpknE+N5hV6zerxWjepRal00m/C9iX/yrENJKXN6ILtMuHAX3UALeWmdBdIKERwMl8w2VUOqkRWMCP++voBMUoY8nqADfe0qjahZEH+ogmhY1Eqqc8Pfvlad8FbtWe8FmRF09TAk24pb33bHwxKDi1W+RlUyrAsk3p7HGfKbyalNukmQ07sfcDLqMc9KSlwhztdzsHj4FOloueySKPRqY2op7hIhvhyjNx1u0qU8CLWmg5h5+C1Z4ClIlzjHjSHpxv6RrbDp94PAiEW9wnfEMMWJ/i8AzsRvvChB7q5xeLWSY2dinBv8vcVD7ubuDWKwla+tXhxaofZVpg62l642Up/toLMXZ13JBeMdCP8k6ITyvsJJ1woKgXoYOKD5Z+7eiCWhrzl4Up1Z16r170G1RmlccvLUGAZZUcZ725il5BTLZ9EADSE9dfDyyFPIWnP/rOS0lTfkXjqRbeR5Dx0VIjOC+y2HAm+v5jA/Usvz8Dg8cHwFiOLDmGtJnUf4oPm2GLP/UzROQ5SaEtU9N1Wj+CkHXIPW1k7zywOeHx8d6+XLYB8IMpIUwkRL1mMewChlgwl9Kck0ujL+UcHXqFMTpH0a8/1IdNwTwbuLz1f+iw2LccqAfOUfcuTeF1VGLKVsMrrNvnIUyY5/WFvZlSsJjxeSYsmrRnP0xaqSYDZBx7ta0VjGqRQ2MsacqffH691QA7raaNjPQuKTqlbvOx/SwkL8PTmvIe/xlVudBX0WL/vVuE9UbTc2FuOsVkjQrwsX4/phXYFF2HdZOZGyjOQnR7Qm12pOt2HX650pIcDk9OXrYpeAr9Q/qosEaieXjttRuWxa05qyRXLVxOVnBejKa+rWm0WoiaMHZ4qN+XnX4C54apzURJOdIMUf7orSnm0GQmNOBXXfxZzmq9bzAdjGswvFdRW1MO6FEgALJLxHD5u6fPnfZ/TgyCqTc4//5UgoPnYPMU9sr1kh5qebDYN+fHkN15lORLry2Ln/1k/hqlwVOtFsoqezCBAiBZXq20F5h4SlnyeZ94jJvDsM+5fMg0oSCil+ORI4VHjtGXv3tzvc3dnj32yt6fn81FxaW0St5qWJWVN5w0DJ9pEztKZHV5WnN2TdzyoxRlpo9ZZ5RQbnlZxHfLAfG73QE3blkbXK4ve6mhSI2MQNmdMRxjc+xqNmrscXOMHAw5Vh7ZRAsgc0iRccAXeS/eYqBXXzUkAY9zQqvAbbfXXf54h9WHYAZ17Y/oROP/7MNokYPga68YGXeZ+tsHr7O4JsDwhWmmpGXwiLlZiqXD5DznyomhRy9USIORgZ5QBgnC6FSYpyxQp5dYcQeTyfi4Z92D8Lo6LF/g80dBOOrrxx+Kld+0O+7MGslyll3j3/rWuYRKhxpAgZVA5KYZIQbIrU7Z1O6g75PaTRW+zBACYSEJjGo9li+NbCycYqfSck0vshykG1PqJwTxih15Rp7jlL8FNjWEaXgP75wGektnyeCJR3QBRT6s/ouTq/0lt1n3KVoYqFxnHZ/wrBh5gFzCAvOH6xXXE2X2Q73LTtDeKsS0zdrChuH4rsDeTcggBJzHNPlvvFYAyWfbZvPUIG4LAt3bNjOevi5LZUZdIFC8ziFJJhOMZI2KVrjti+k+8wYo3Ck08wa9v5isyP3Lv3fwp/q+fEzSS9hVp/W5w9MKbusXo4KAdckJWsx+dlewz3e/p51qqetDgWdJ/Fou6TabaX3D0Y3/9kIK8l6lKL3LtE9dwGTw0PQ5cKt7aKYmpNo3d5EYnifgBWFhi45QbNKMKqXSkv2FwtYLrFiQh1qkkz4beCPYWjL/qEHwAZi3Lk1ToYIg1wRPx8ECJv8zUe0BPrusJFs+BGfA/MBSuk1LglyfhFylQExMPK9Yqa9INNXV3bh3P1o6RZ58O6LyoMw+Gibz9dLvx8/FXXCzJ6aEQbSaAgDXK1tqVlRZ4Dgb2n1hYbG1kzp+rL7+Ahw0Ftw5YOHTyKDX327gIV7dY6TlZ9/2XyL0lRJyq83cn3NjzdwaeLdP5MpRHCkyA9yqOU8l4DYsQkJCzPWbI6HRFMpUpTU/VgmIOtytdCZwUq+X84ou8nWpXDeiOAZLOi01Z7OABIK2iD+6BA66CYThuP97tZWOAXk+VkdW3+lsrkiroHadmh9n7+rgIvj4MpttPnHlPE64wD/cOawsWmjaEHHNnHWkYA/McIjQH0c4tmJoItsCnHRU4aRxc+g0f2wbZOFmAgtp4MDKLCRwEjII3XeawlhYV/HsvtxkVjmDGNSP5YvhVF6st//MKTsoAhERDa3x3RVdlwgDb2hSTIpBfWYX9V8vQ2nDbKhv5SQ4otx9vsmaMR6BTUDALMavhyvXsaiQa3cixCqtYeONG7kcjA8dvZkIqYHqzt87GoPovfqvPdgcPP8o+IjZBsyH4c1PdqPv9yeFYyGlNKcp+eD87/yydYyJ5eGuOt5Ax+3O5fkqF2j5fq3T7m2IcgMIyVL0qH6ngjNSUPXcZmgzqWuNoHlEFn5ULRXnbMi9EAWbO0TRaHlKStCGBSGkr80GNBPjQ/bnez9dKCq+AT3kFDNqh5TlksnoHPdfoUroCP9JjXZ6RJoL6TCgPlHc2Z1ei/+/T5NiMbctDkyuXWnzpSKnawAuA4BjzTrxUaSfVugYluQNEoZ9tVJaq99nTfxKu+AQwDzmQVgMtfPL1kNV/cPEoyEQUhhPZtQMbYi+PhSSML5RqIqA3fqiy8dk2cqiZi9cI11N6Tflrqptqh6UMgejvWKV06cjhDHCRThONlFW1z4auSfPex+0gtYDR50wrWbdJHteRcwxI4BqAfLhHwzJ2nUqiS8wTqFE5NyogOJHKUdKaxtEZMv08MPAD7viC3GUCa1gdTS7qwnv7zCx+nlqNbW4xSYUKlj/B8FJ0o7+tVQwAhctnPdnl473UN22na+cd/WnAyaeXEaHIXDKvNZnMGE1Jet7i3UYVoiYUe/GAT5v71bHkZH2jM8gD6DQhi4UYs97e4yNSzyWLiK2iyU9tPguV0V8XZjO1YsIaBt2gbLnk3ctPr4K4cIRQSXnRTlkZnnp5VtJ3oJ8GxQMUUP9aQUvvogp9Voktjx5NmgyYXkOeJtGde9prS+CgVUDePR2LZFk4WRwEInjHKW50i+wC2NSw3oNx2zk1ZJumaxSFpbD5pyteiTQ8hcGZI5/iAL4wIfI47HDsr/jynz5BqSr6Lg+2wTN4FiiS4im34FoUUsNH8frxUVXlYfdSF3zBTHrvtS6pLVwrlASnScVCUHT8H206KHRrpZyklljq5/2bRS8+cC0jURir3GIVr/kM1r0VOaDw1dOVnX7MRMWsmHdh7jSJhOebdL7HKmR6rSMbvjgJMCofXq1sfZ8FsvMMPeXIy1Z7Q2+IHFsoRuUCKZRHLLCfeYlHAT2V3wB3BAC4I8HdI5VJD+5W3xU40dgkOo3xYcm1efkxxTZnqJTImiTF9hBqrJi4OGVGHD8Kan8Mc3dHr464KwkrAO+Wg6cMUJxVByDP+MiOrwW7VzzsCQAfTvJjizOZ9Sdr/ULE8aTNf59avW5P4ORHsw5kT1lHaEThZhcQ/JavgSDksw/E9Jxwm/NLnJ03ut25mz3SJ40Rl7tHPX8NHy+L2kv2B3jv5gvB17b0nUDXfoE3EMlKRNOKvuaw1GaGxRE7MvOJGSNWdM4jam5d7/0Kqj1zzathARj5IDrS8OvMSyHc1dWla8GTxiIn06Ih0Amr6CfBNcSUNGx2kwgUSvDc3OgfNyM1mxStZ5AUfFgRPifJTd+V41qA5eukL0cWsYee7caa9UnJC0Nc62QqEui8HjbxN6IpdapFaj77YOE8zl+sugFdV69WeN9aOzRSlsea1D1DoGUjLwSYDu9qESUUxAg3u1ipRWgB7Mqm4let+ZYXD/+TDeMlLcj3YaN+XqZ2G5e1b34CL6l2WUXewNBa+0V5hQRlx+lfGwzXy0BzxsPF3ciPCgzaNH6YGPhWoemDlHYE/OFJwkwkZnqopOEwukrtkVH6nA49OQTElfhx5l2+WdoYzMWYzJZkfqgPDEUmlgas+kuXHzbQGi/TIFW477azGhPS6KEmVBuDHFu1vM3lDkXZu1cQ1x+oe54cRb+HE3I38PEBIw8g5KLuEMXN5BkP7WcnZQCxIHckhpLnCedxeEIaqcp4ZGWfMpogESXM89QJdbO86D8US7ywcOAwpcYhitBnccAlXXt5aBkDFtraGSgVg79NetoLglMY7Z6L4hC2c+jcbWxFZ7ICcWqroAUuDFiIyJcbA9ihS7B5GWVwoPIQfJTZ0nO4xDqqFC18UHdx4V9uAz6gmLVf0HbviVuJUFjy6HktHgb+ThNaPMJSANLV0uH67jW+B9NbHWdzztG1kyYzJ0ZltFFLJaYJ2fJQk9wzgmENi7jCBFek8Pp8Ea9zcZFd3Jbe91FX5HM0YvQp59v/hBSATKSRnOHSolN4K+5YQrehWBCxw6mE+pixCHBgwjCC4pr+7UIWQPBxfAHW7xB0jP+t9ZmQNqkO6aHVhbQdQvCO2fie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1h9D1Z5GDtPW+wuCTrU5cbsTyeRnoM7v2+KYfNB8pPDHY3/N/nQDLg73FVUjs5JX80ZEMdZ5aXYVE2SrM7ljDixtoKhF4R5tzsuuZUVsHAfnOUmJYoXbjyORMu0rBOLwSL/gouLRVPGLdb2g9vLWoN8GMV13PWPSnrHZ1xEkoSNykYDfDL1+jY7dTKRR2CEzaEPGYUT5ZMznzlQBU+aTFMFEVhnmaSieQ6IPfvCDY/2ePvBR/O1r8gCunmEDmNZQgKhcyMG1hOvwk+pSFEaDMCZFpX/w0ZMe/cgDgCb6Zd+G5gmCH1vX9rivDHLktAMHXsSIJuLQtO4xyhSpU3qTX1a1qK4oVlGD8HRD86GAMSATe4ZcKOvOlt/bNa4hdpVHG/3RVeeB4/LooqX7uu8aAoB/yRA/S4nJteJwUmvgQeCws53PT3tRV3ygg7YTNW0j5MQs1M6JWTvckWZTCcg/ch7zj0ikwI7LvJQjZiScDwsKWgbvEoBxAkp24XcpfG8YzaPdM43grS1OAxesk5RR2Z20TC5PbFPgLpzCLAYNWZyYKpf6kr3Sf/G88jP4DqeIN/RN3kWNo+TiAtUSGgnUrgBunokzFzY/K1wCW+BfEO9qL5H+o5BFcJV+Q57CZv1jHaMqgsRDRlj+bRDsON0ZR3YfnDStrcit5jEegioW4tFO02QVusyiQ8citsutDOdeIVFyJJTj0fMMg6SAA5RT58PyptDvGv/vw/mpmMlUXucnr1tkV3Kda2C7C2IwurLAIQ1CvjjWptFEswcvr5J0oAQGGNDg92C5oVZdjEvIHCOg2vBWWk03Wwe1g1ruLUKvqCCxzcPZECfhEUpTSo4/ePwM5Z3dlvSI8FzRXD3jen8BsA3TgK1dzuys4C4lY66Rml+4fXz1wEad29CuRzYhNzQdk7rEn6dzZMUsbRn/sDFwIqbDgwyQpZAPvnyGNlnDExkSSQdM5iZs1uDmz+yNL5x+uGYxAiRqBTHkcCjSMkBGN6LRBdbBmPKhwAjHjh7GD3gYWbUfKtxkLSRk1/qlky6CJagkyEJq4xKLeAQPrMt6XirHrte0EOLJ+kYIZzfr6o5jB/JoNnyuUB+Q3VPsMB/+vRtmiD+UmOnJO62w8eFa/eP1I/ASaosl6XohcyFL4uVSivpCWifhQiv+cg2NeEM+kb0Rp3NdZ66PeJCTAGQkEhfDU6uVBeCDw1c7tNhY1CZtQrf3RUo+2JQYJ00gC2aFEcXsk2L1sxrr938tD+/Zl59cRqHpe7rFUJbn4tKzD68T6oRIsDvMOTtW5ta+INfdktLgzf1v+QBoJORInn93cvqvaOzPXpsl+0ddxbkck2qZB1u2PJsKiE9ixwPZurR9jT5dV4OTj83NjvhHV/Drdt4k3vX5+bo3XYX+VamzfN743gUg9T+2iwNRa/k1DYvS/qBNX596a8IuDdKKhLZcmlcgX1VtuVr+M5sTdO3SRuGb/R/t7jKBKn6WVVgF8zO4M40sbfjAW8lG7i7oi8+G5pwtZnV0O/O9QmHVY+z3WYbXweBCyrLx5obfVKrQVr/2vxkkfLKpvlR+dhIT7eeaxpmydRvEAeVC+SjZip3qOFZ1XcqnlJJgaYPbMM0cpCi8+F7dMhqA+hyi9ReThqBRCe+AVIiClyqy8/fZQkA54k8JAyepNfh7rRlxASGOF0xSpOe1rgp5ATk4l9o9WJxHKsvEUBaFy7z1A6chBuM9GbCl2nBxugZ+DVCFXEmmAPMUbXptRP0ij8l0zoxD6kiq5PuQbaMV0JHr0yVjUffD55Z9mA7/aHxOWENE0WI7GTR2+rndgZSWonHzS4MM4wwKrj3xsUtpK3y16pd3+dd8nIaQRbdxcQXQQBIXDoMCJHJrg2e+T8NGJEZGaUXA+D5h0Qvany0izseQBxAH9JiwcAxKYvw+muPWSbO3y2Ob6Nf6fwTMlOrwIw1A/HWeOJzzRpjn6O/HzNbRgujOrsHCn2kNUaPX0WMACa+ANq71VqCKm/vElzZISy3q2PPXJJCRbm9e1/AY5rtcBhoHaRrZdAo+qPLuoH+yO/VlK0b4DZJrWNLAoNZjHnLWQbnSsnDVkRrRLkcRqcJdycK7/pEffMU0zN0yPMGEAYLYMMH7+KwC4GOoZkRgbCXxgjVUvZ0DSfRdFZKeuWrkNwfnZ7iI5dk7YrEwVufyJsM3YDowEAtQZF+DHVYJ9yMznbEiY7smyhwMwaovBWziUqFu24iTVFcc3Ffds9v4/6gVXU7ajA2uqT9uY6H6htApf0U0rTI25hl5nOZo2mBvTomjLCQWsuKyMnmTTdqN0hyUvPWW4NN/jJpHP8Dce2XBR5LVAuiMmwt73n3s1QNRixHq5obmCXDFhIUIjR9D+WSDpU5L4dx4YPPLUjFQSi1Ch6S6ehfg3IaFg20fdSxs2lbNMt1FgIigLMQ7iqDd+zL/9iIqV6L1kRykLblo12afxrVc9vv1RliZZQDCgaxW67bP5uBL+p0IaC9qohIsnB4vkcOF/83dUTx0W3CKogTIVF0g+QqOOwc1sdZJXMb72Pow4heGuOJXY2ndYDlCNPeUOLUa7BaHkhskPTtsd7vgs7PYEgCelbR0JOjEhFN6WGs2RU6viWJBXypRVgKE1VxctJwTRnN50AbuuTTm0qTVEwzDSrMIbzIJzlZNcfSCRQ+Qw+wbDHamxPz7utHMT9TbqoCJCBR1zD9rFX6sWLyNsvzopVuFWQdZKn8hWo0JjosIywySJ/WBc3iL7XBh0dVIHzOHufxjWNhQUbV56FvAp3h7pRxuAD7FJmMMhwXEOTue6+XMEkks7B3zJZVNP/RtXU4pZBM/c+M37s8W531i5UVZ+N+zv12o6sk2VGF8HwOmxcu40K3J2SDFiaU/QUianhzJxFVJEns1aGlwiXG/AJ7cqPp9f5sTtz3ZG8dZ5Fc8pYA7fPGiN5IKKgj+Wuo30YpqftXLEBnhCSCVkSyrgXtgs91pH1cOmf6Dv+QKPbnBEQW5m1gOq2flY0yvzehO0z2JyLBqFxZtijeZbWGhSGDLjc+j4liGuUBdp4ZSfwuVO0ES/3ildmTtD8b1dfq9XGeYlpAb5btNyUR6gYVFQBV7nRih0FRIcQUwlJGWSrpCmudPomULgxowgnkIC7ZvjYTJ+kPRq/0JpGXoyWTl7mF96Bx+ViRKnW9nz7fNghXZeF9MonHZVCI7m8PyCox9mYE8hWKh5gEeYtwMBHi4ZTZ6/suOfbu4icHe1n5pIcXkXhT0+HheKyeQSElGs9LEuAcHBuUk25isL/llTcZzQEh/5MeDGhRMeNHO0SpH1ng2v3x8vozef1MEI71nt40gs0Nglk7lKbzQtpobqJMIUeuHnjJZaecwmjqe9qhaVYtOGA+nH9C7zEFJY7JtxfRDu6ljDSzlDd56+61ZuSiQ+C4XiDSa++rRWUWweX2fq7Axm2M/X0t9Fgls8bg6ooPOUBcj4zs9EQOTR9xMJ+qblBQMbog2YYpPmoHFB08Mo8Zx8Bxj80Kmskcv1LmfHxhJ0Hxt402FIZ1iVFzBVuQGJV6nT7314eYrOqtQ0/2RpA1WHpweys49wu+O8QD9Jo5lDNPrPrhdU4icH2SjmqW4AQ/awmwa96NIlnnGb3v5JsvlH3o2gwV2hFlfDXfvwysv4O6uP10W7BjRIhQZdS841bhmH8TTFvxMXpXotSAgwb+OsUO0Dly0qyvu0OsC7YVPQcZHzJdNvqNJyAB2myxofPOilc2CoMZeRSqomsKcANCqD4BHWt6cHVhHl/ERN6r+q6bP0naH/akPydxzGSUSBVXCgvgNZeW9yQaAMgF+1BrXV7j+MvINxKRy7gAf9O2+/3V11IkiCay1k4xQg4/MOee56nTuoHjYdp/qyaot3+03W8nlzHfzIpcqHJg5N9WyXwg72GA5XHLpuYqZsqVMcsJE5od/+hDBJsoiVXOuL+f0zD/y8as5eFOpwWsS40SvYL0HLhgSiCn5AXXyJSpuLb+4BOsb6t2XgtMmsYYH+1Q3IlFT9gSYnPrHFYk68tZ3mtXOzuznlE6XF0WWlAG+Ggj59jkFbTHKtK+07+wSvWnZ98agoyY0U0+WvipOj/HlGWmo39S13/Lhem2v1gi5OImcppxnnObDY+iNhqmOuv5HyMoD2e13hxRgNcLMPGSh0NcoTO30cTfClgKa4HflMM+HRqgCDFR20tqQ72w5wAwlTCoGl4Kl/bKTmQETiKD0qBPKjhWCvmkv/VdmanQG/FNffVzPACQh8De1fOcPDJLAQ9qvFlBhwWEnw2v3OH4xQCBaeMKuqn/dzNScJxLgODDZsm40VYLkf7bk/pfWjarX0kKUoSVLNotLv45yJOZgL81B7taNGpOdCH4PrYldEDcGfOl64qlJNOf+3kHjYHPp1lKdUHmOvsY6kv1CV1vDY/GAIiqzaXsY3wHxo6gq0lYUdaP0IyxDaP+6KYiDRk+3XG+DChM7X1X4MnH1EIAO+OBXia7DDqOqoNNLR4lr4+yiMvHi+KnY/m4IyMRLUMwv7fxOT3O85AiYjIYaGhrHSc274YezRIp/R79kpqJWv8Fq3rSy8OCrcH6NtC6auIOas7neV3q0FoAdaP2F9pbSgmlJEkyXakcmPGr7cO5YmQMfPX49irBjns41vmzfJ+Q7dV/Jtqjavxg9cK2vuFuuIr0EN0SUr5yq6JkXAbpHdGFbJYkc1T7DwlzQ9JRfie3leUCztu59osgqeHT+ew3RHKhP/Bm6aB/ndIBQqv/WOJWwKr/f/pZdl3XbcO7+lc/CEXZ9OJSUJYUHmsB8zluLZ/klvuIaMNzskWdCc00rfagMoVWh61c9PSauJGtHnZ5MiBoXvQMkI06RPQg9pElVJO56iGxSbxY4aIOXQrQ8FcDVNFFcLii+13I+lJWGykhU4vHpBUhAMFVp00qTybFlp0H6ngVU7+dfzIFGGx+Ue1YLY+2GzXfsUkZYEyrdIhSxyp9Gim4wKYEyqpALOLvX9r9JgYs6ulonGMVe5ZKqE3w9jI/UwRuQ4FV2QYRSNhRzBL+gPQQd6GZWhPZMgIc/ARAk7zu9aJPKYu0RJr3KhBWHfC7mhpAyjWflo4Cz9Oh2LEfUHiSoZPcP6FRtfxQnUyT2oILe6X2tSaUMJxZDYtDtNuUOHzSZZuhTZsgok9KDr/l9loml5wBFyhpZVXYCtljm/RcxBkmP6AcYpYmCSGgCFkpGCFVxkMv7SUcJN23T1fRPm3jktrp24nmPPM9DbJTTATKEdMsFxcXOIn2Gs4jhx+dP5qlj/Mg37Qi3sSf/UmX3QVmwTH/LEfrfycIA+hGqbv7eD7mxamIM2SQrgShz5OWgy2rvqBgCKNRSR70gGVzMVl0QcNj1njD3nOzXgk4eBFjiUn40vBjMEk/QNH/+JyluX1UCDhdATpzxilFT1J0f+4eKYjTn/Nv0Gi8t7AFnPMibrF5Cl+4tijNNZ6bghejW0nWD2EC7g8Wn3KuagsVs+AsrUWFTMQS91YjLgAtciC0ewG+co2HwB0FPpoucFPKHiqYfgnzkltvvcMKv+CnC9nAwQGE3gQ4EL/OO2OwGwPJsp89koyd1akzgtpnEmUy1mjn2+VWZyiajX0UUFBNK7vZm6IQpJ3niEo8S5IDMxENb0VzFgevGGR7HEehefsS1pqgv5DoLDW3xlOe06bjbiC5VFzPLfLIr/QJkdMpL/VCmk9BuWbTsErPFojKlgCikeBG7jCc30ZZNSMC+2l1v9TDuv6ZEZRcqn3Uke6ucc7rHolCWWWaTJvrfqjAI2xN+3JmC0tRyKMU8Y3a2AO6pXjMSXUz/sqi36wycErrFcsQRntxbqGuqqVATL0uGeSY31qNXtmZDavS4HPeuOVGSFMP0uzgujvYb/d8aWqubPnVYoOvoAHlkI0zX25Sq/9PzZhv7AcsmbznzSVug0LOq0F2b2B9lqTah5d/u9jSiLC1Hh8P93AYldgpM8EtAHg5oNY3yvoVTZvV9rqdTecHcbmjj0hWIQSg8Xoof3Rw6XwYkUwCOhvHWz9kO66uKDdYB9fAEODBizJJMaAlG5nUBy8e18JfEHiQDsl7qpucOstf3KwW54iYwHqjSRfVqyyEMzr3dS6GQtIGv1UwHdLPzFftP8O8kSeHlBER9zIU15gU9Ytu53jTmVyfCerVwBa3pZcsahD/PE4gPUZ7xDGeeF7V4Vi6W5zlKAJiXJlToVkA8rA+l5UwKam+yCOTPk0HCtXdd2l5wPRGwD7MgJ7z7ZPwNlx98pc/Q2LobHFb3yTIA83mepyWSGYVpN1xxnBMSBsKHtUD2NOxg4NxsoG/SZLYc2pl+SdWouProDG8qRozJ8zB1uG3z5PcoFPWGuQLouEH7hGcYqrbjjWh0YnCtvpOXd7knm5TqCjx+jQpesg2oTrGOKu9CP0QIOZJOlS55eK/LA+rhJn6KmxRXlQmwpqcaW6AyN9VSb7onyw33T52Yu0PWXOKnHH5xAL4LkZ9gM7Os0Reow0C7Fa2C20SxKJ9+DAC134u67NPJ3bzwjNZJreU5WX+ac0oFQOku1v0USuryopCmcKNZGg1TGSjdkat+iggcGO7aBdRpAyygbKSf4yLOgkILFAkDJM5htjM5gqN9rIXVw/7ffU8qmgn+N8YD5nbtU99yxegJ0zPR+uMevCMUPZYSGycRxecXq/a5x3vqDtLoCRwtucLk2abDd6BQdbN6AZ/JUByrWO3yH9XkoaXfuBhfuOiEcof/6orfZLJUsNgp/wNv5a98fyYI1k10ynjix/PEFjje4keMITfeUnbbt2ru9ThwDUJ2+iP/hzfieZZLf27lpFYQyhmvDzZ6jQmJ069SmX3Zqd6kLlgtIzqk3GbQambV/tOyZbqyt9dEGVeKSPsx0GFAol5cXlqYr4PVXNr5Of0n9gslRiXOEUn9YnikP1ys+z3x0gTXqB+js0H4P/L06BX615t/d/FRXpX1W7HSiwHFv9BIGLy8VOjJxAbMlccHenAqU50+Ly6iewRL3bjosGT9s+JBAx7/QCXn82V6SI1FOZOiQJjUAJzi6NwP0Q1mLQ8WfP7NNQ8RELQXLFXaojmjH0IjlrxQFAFquUOFOx0iRve3FpO8uPaQKA6u2AoEc1tom3BDOLr1wt47CC0dOqwAaFvHDxbmO11AV0GLmxuA2vv8Vd08lEzPa/b712ybDtG01a6Jyry0hYl3PiD2z+H5/g6qJjnjPv8QYxB+XhwlYh5knY381TdAvWHR5oq5shpXj/8d5+XnJE2W2uu5161xJ013K9A5dACAB4aWvrSmb6ql5P3cXgqW7FBS6Fx3HmIauGaZvRlINRhvCMG9w/LAlkVeJjRAIyDhavbjr6Q+jsKNwRer5EbZmviDgAao4FJbK35hA7U6VM3rBt4FBUdx8LyepHLAz+tM+Sw5QDLtGq1y1cmggU8Jq/7wx+L8JdHVKn9wFC4u+VRDRF4MPLjRhLtDKlctwrPWDUSkLyPJnx3Vk6FxqVaNmmaaAxm19Ts0pgmF5Nn2zllJs5coovleox1La8dPBt2nk8y4+8sbeeO8EeTzJBTQf5AWFYAbKgyu0rvPcY88G3O4qXm1w2TKtIQb5T4aXPRZ6F435ZywYcVAPAZrrhjp+etj3d27arOw0vKlHgBxI9FRxGBxKN968HThz90FTPF2jJAWDopt5BJghwXdMWd2vtWdl8QQbUrM4+TcKK2U4XA0/T2X6dlhMcmw/8VK0SV1MzuOXbpFHWAJScemiADTJ5+Ab1cTHkUHmNyW/gIIRDqYaomM3VeUJ9paR53Ic6yxwCyNA5Q/W4f47iqt4sK1DKKxu+oBGjz+5Ep0wGjXzh2RJhjjY5rls0fgP96ZDSLhuXQfxH0CIs3PgLlU/kfvlQRImhSCu/CNeDjxyCn1QageWPhprw3cU6+VQhxWKxfnLWgTWhfAiDDwnuh0o6az4QA+lPJZ3nwpd4Lkv/8+WBQ2FP25B0Ko4CG4BU0Gbh++AX/LnxkXH7U4ASAKOcK/QaqubIZ1kRCQ2WrgwfR7nLv7+MSK5uwSRF2vyCs7KGygz1u1Yh9KovSJCqHSwJEC+lrwoeIJg3G1IL8x2p9fXITe0sRPX6ZsPH92iS4RqVLoV1cEYD3Of4ZP6dlqaZMiQN3QSDIGquCdAhWGuWGtR/oOzxcdmyuuYc6Y3dGgaWLHf4uQ1ksbwm9k9vnusd0cQ6/I0J4IrzMUc9k2R2heoSE2yPhzqmRonn741/m0iVzz9qYDaaMzbSa3+xVo/09y377rcuKtuZUL0vgnUctJVD43t9EdU8BR+w4vh1CSVkeC1nZSxJWHnkvPHKH9d/yRg7sUSicxmZJWWSoscGC0Tr0HtlhdkTuB6C33cwa7YwKMnnI4Aun0KOyAZsCMEeavCWMXy0rjZZxQX10zYkOKpNjxVzlG+GoFsWhkwIwzl4papcnXHoyD95nGS9MfnYqMUOckWm09+B7nUoC7Gd01z3kmZ5+ODkNpN/Em4bcxALG4Qthh5w47leKoTlZN//pPjtTxm7zeMVdZF7a2QAon4C/gdosy9GD6eKXTx74uTbnzYTEWaDWNtVZ/bRe/u9+GqVWXHFeFTMSe8G9/D25Srw+2Gboxoi3Qf+a8JGJi9c6g9EUMNLKkhepiYK4GKYQHaogwfKXp3jWb0e8yWV4rug+N/TFPS42DyjtpTl58HUwLEarICpd9t68Iiyj+3sd+NJkOXU/0q23rtaQENq77XGyLRWebbB+PmFUyrgjlH5yKBgGqJYLj64sIm3dteFKoU61P7xW9Y/qqAfoJ2ymDAFd3eRYuKKLM7C0wgqrJ2YCYoo9K/nEOcBHd2VAXYDf/NPyrrG+lSqupfevziX4oyX23CMYVPTfMZuAxN8OT/aRNanJjayRq/x/5m/Xpl926Es+KVh4xBENjTyTYY6lvvqN8O7m1kAf9Qh1j4cf3b3jGQDmK1h2lai3/GYRDW6Az2PHpJK+B8y8TJvTOIPgVhRFoL8+g/hfKxT0GUKvA3iSwW+BiVzcQmXvoxXkGcpjXf1p4jTzVNxx5Y+j622zW3AV0KeNt9FC+cNWLZiCnB4SkJcYRx5hKDK3D9LB0ASqOd7yFD5QiW+HbewhSAbXnFAOpHaW6Cz1GYHwTSQdugmLt10kPScujoZ/YBM0RlwlKhQyOivKN/GfyhlZyTJsqVNt93/IpJvqWBaNvoEupuPHa3xzdu1uHLwi/tmJqOl6lH/kgGGxgU+rGMIYN7zIi77wOnc/qSDTNoB7+zL9ynQWkZSSw1BSdKfNlb0ORSyeHvzdY0Qja4kpLaYr6cc082mHUIcQ7MgkA7DMjmRcI1Vm0vafqXMMAG8XLEabc9abLTEf2qWMHhQbx6H2lzFx9xcVVcIrEF2w69exIPOnDFtDngESt2hNB7VdgaDeY3ll1+GqGOYUGThznk3AIn66EKOkA+IiLCRtOm1vlAfO1s7YxtenUxTvUSWMCnK1VhxNfQPQGzA+ufN+BuuPiHj8smU3xJUYmuYfeJDpNT2Q4qhtiVy+6FQ/uXXNhKs3y3AqZMYrBY7J2/FVCTOKh7VsZM2jsV6psMiu1FVjnVKgbNKyDriUdOqusA8QwPm6UwjpHkG2Xep0mZQRwy91d2mghIwOUmKdH0OSXe1SEdtDRa3mzC6JQ0NWjfrIvyv3Lm68D4FFj5845Q8X/6wW0lu06cUkHGTeJ82MORwYTqyJ4KFKllAKsUloOCHS71VzHMA+dGyPobb/GfTmf5HTk8Iq2ss2v1Qs9/dnwFMWbUhelKkx6B1CIRuX40z0u14q0vFwgEH+5+Lxy+nZELDhL/ExCpwlYMQgaYi4JFZg3ScL9+xb4tDRtfeqzQHPPDklle1nVlLdz7U4Bl3hvBusHlWZSpVH20eNq14LqOO4/HqGjPAp5QpxQXX9G0ii0hl5V8EghERunb18v/D8CJOcLhXS2fcQrTmjaELIc68h2cv+wDY3z1xQqOQBEjq/1BYkCcBh5FbGKiIKF+d7icfWWeP7b6OLpHFUxL8bbmwi8rqIDla4OqaR13cEmGHopkaMYxweZLxkZTj8dD8QoJiODkqkOPIVbRLNErYVd4bPHC2L/6f5Uc/MssRuc+ESHPuDlYCi3BGLu34NGg6l7y859sbRFTgb8usdZxgyEHRh+y/YfaddXhi8dTwD6BEkR0lkvuHR/7U0ei/WsU46Yv/zDoTqkyN6jEqMbn5MXSv/ZtHGMECEeCCoL88j61bgLo71wIhAhhMiWfNY1sPJ2muMo4DAIAhfbt4VQtwO9q5vmxTUD855TBemMNdbB8crbnu5G+Hv9W4+LGIfSAGkvO3gzF44E4nls7ZYujZ8UccrzIcBwb3h7hOiaTNucCQGJMkgPbpvHBXQtKvbX1VmkzRvXsEPKRAMREKJVdnyczmyPcinQIoZ2Ww04XlCX8KYnpRlRxwn5tUYgMrxVDpVkwfFC3khZ0XAr6vidx2+2gR8hYxy8x5UK0dS7ni3HmuOyphtHeIuwhc7GUOp/dxxFslYuKk01LGT3xcG3z8VlOKdol7bJWkqvD0jPsif4kdVhZkDBqoP+gHzfp/60DBYAJAxhjzS+QBEz8wziJvpgf6ljG1Ydzd4f8GYLUxC5zlAqP8GWivp5vBAsOJo0VgLvHL/HgvASEN2Wb+T7yNoklJCoQiJKZ+ZOg9LneXNB+tTA9Rxe72z+epeJ8Il9k44AQ6X3DAxoObUmOzam4Ra+7l6TLvhyoZfFNUTVsn3a1H7IDuPASmPM1N9pC7DG2SApHrL1hBumQgXKiwqwgmdJNQ0TXIggHz9cKyUF22vjBckeOSqsek2ckhwhE7fSqQUKrVr6znRO608psOqSJS65JhbZlGUTyldpTpzTNMj8N7xpfIZeEquYASO++BLMdyTrQJEZ+ANQB8N7XYc2s5It3zoLSEUOW4kcdLL7ZmxUCr/8fyWzNM/scZeTkl9DGI0fcW2wJpdb/iIAXd+SHgMWksdsYFOQ40N+W9iUmsrhxkKceegKlD9iXtWNHdfqQ3AibfTcjG3SG6UtFOPHUc1wKNoRtYuw/wOETYtlfTvE80E1Yg5BS9jvkgfXzFrLigP1pPBXTWwLMsk20X+ZijpNTY85NqyJ3wwSarnlB9EF2tj5OzuyyZWyMP05a9sfurR6Z/eNd4CZmRApTTaSjBVdSaSpe+DMo9d30htcXIgvbAXdPLcVnuG5t//hDeI725bVhImu6uoebL6wSOG8u3v6g6KCf9Q3JSnLvE+S0rZhn/KHKylSVt3a67ZrgtuhrCAPsAlxCNy4umYN2EIkbbbpypBmDPsS8Tzj6OkrrNkm+BiDyNviGtej9NKb9uby1cFWr6fMT/wbWUJdPy9UUiYiT53UrvPY0Kg/7KrzW5J5WLs1Ji0lXTd75/os7iWzFms5zaqK6CEQgcsymZV7ZhcQPO/lLlWz8Ca+2KcWkATk6XbioqfW79+SBxuNP2S81L8xxfyndyOyFrZnsFhOidv3aX1Q5siGH26C5w2W4PLuse68C4dfjWRH+gbe6pLr7YgacZg+RD8SCXC14mP8WV6aOt4IVUhF9wc/fPxgcKWdYtnKimMfyfNJHpVcxMLR2gbXuhXr+a9VJ6yP6JOAEFu9eE3DH1VhCen1NzX0eHJ29CNgvW0/3u8plHap/IZvfaNzfQuFUv+4Z+yJguoFQdaMEtYSenP8DIZcNCd+gSsSdtaIRZ0gN/JN7p0dxzLdWRX/D/dc7LuXeHK8k5TcWzj7sJf9bxq3k+v06YBdrlYd5ESE1RcIw1BFqfFiCPdtJsoWU9Fe2isbRTJK76hKRcrtuIfBx+lWGXq8YWCB/CESSGjVt0+Ppbjyghvk5qC1lM1VyR7yeWXt63ypFSL2zvXVSNjCQCrdETuY9ofPk6DgjLj6LUF4m0F9l4TDx8bTLa6JJnE6NR/lvF0jS8PQ4i8ucCMp4L26RizI069UFhokoFHw+nqKEumCG+EQaYzhZBBdBTkAx9S5TWnL5pd2BCNTOUizKIQVh7Q9dcDBMHmJgsoXYYlqoiI5rmJIUhnHxnCBKh8bVm5Wr+n6KjMEcUWiQfVz3lBTC/ewni+8wR20Mp870w8PbdzlUgXGXyhpwjVUjsBchG/rX41oGnRjA8Tk57r9H9qYL/db2lYH1pBOIcv1PUymo1CaeUYx9JqXlcBaq3JReSfwidRhptAaUaq+Ym2dAH6lgeqbZNuMmxeayofCdIl64CGjH3soK9cskpuZ8gDAIOCaKTaeMvHP6higZQ6JsyA9iIdwjavlYhK0DyIuVFwrf4B7rlsfjnpYd3FnSdRkODHcWqQX6ykR7XYL1CXGETwOSIUfmMceP+gvsYH3XenWKs67XBkZz0+HM7VlYz8M/Jrmp9AYClw7R+Woub97m3v0DGuN3cYeHPSKJDR1wf0b62KDbfGfOA81mJsVE56ZkoDk+EkBTd0qhMqqjxqu1HPtive4y5RpZT2NVin31SWcmu3qlVCeVKmSs5I5/XwlWZkvACxCL9ioOzoAcmknG+fwThzheDuOqW/eRfcT0Zo1iKbHpeFhC/kqdAslnSO3JFgz0TlF5oh2E6ieTElEg8iA5WmBCF0/EMVksemEYiztBUldkF/C+/crk5ND3NGNGKpx6ld0ROc3qBRD0SZ99P132cRtVdvgRT1Q/TL8G/flAkK6b18DgnnvgEAteT+4k33NVZhEtSienfDHGWF8wNHSbidqYnkX6dwxwktAORjhErGvZFXiMWh227V3eL/ThgzY7d6ueme6yEB01JWVtKWwzoD82b2eT2PWRyYbBav6CeX0DWZ5skHJuZ46mIS31D2z2xNWuPrsfq+3KVYxOOsyt7gZHCCyLELv9hB3MVI1ToZJj8lI5QRGhsSWfoU4RFrCKI0r9ohMgC6bRQrFByIG5QT4FT1DxTyzMEM00SaP3M92SX39Ahjpm3nmF6/38NwBLTm2zZ0RzLmX8atrdkFrMqxtpBjHn1f6HfyoObXMbKSLADkBdH6uITAvaSUc5faysj2Sb+Uqi/ISM8jcbxToj+qlw4w/so4AmCfuvjzwYfwbjU6seiqaZ7Aq7YX9GEWTgRrtsffwYJXIHEnI9TGvpspISVLhaoHU2JRdfYRzF+B5YsxG2RXaYEZXxUaRcgKfCy4yyz7uDM+I7zorI4SI/dotoYnoWRW4EAdzi1eBXf7kgKtrbNE3aFtZrHpvfVoKVTLYsPgARcyYIcJcTiClHYGNxiWcuIIvHRNK4e3ZmFC2QQ3QyOveFjSe4E8cDITdZewbBAyMeX4eDUz9ooYwug0PSvF5NsGKK144+XReslROsimEHNL+9GZsWLfwidulOzq3BxzZGZyep05BX65UMQ7bLPxmKaUHjCQSDZUV4QPpj+uyWjTDCicfGvr6pcnShRkP5Le56NSGLSfi5+E93bk9leY1/tyO0FwtbH394UoMKcwh/HcZZNxQ9m1VuJ/1dIDXL1z4ewvfkqhixOMm+GOx2hgAoYVvitwJE4uEn6cXM5PAibIMmw7sIbZ7meet3lF0yXB5Kg/Gp7jw0fOtjWhRiGrm+kz16YRkt/UEoZsfuGygBAmjHZb/BI2gwuQxzwMtkc1yfJfWErh/JqiNTe18VDS7iQSO1sXdS/XGzaVUrVuY1lWU5twTaXBbugRWm9a4OoMm1qm0wMAmSYU1nCn9xQ65TryIO8GnfDRSn5UZV3Jr3sDIitRcQDitDUFP+xDBHCO3miVgyGCVVY2R/hRhRBGotmAh9ygh4CAwRwdtlleU/834bXrLAwTHnAQjjVD7+El3WDI1M1bRTkTDVqR0qjjZqGnXSwqJdyxvNz4ee9NaR91t3GtEzw/H4l+2OEesLNXdifm8fA8jgpoLfIRjMqYkbzoTj1K6VsbnX/RlkYXw+47zmik1YeiA9Rlen0CE7ENfKiAe982XiU5E7JkVJss2SAazyqyJjMMlLP7qngEChfHVxm9JX3AEmE/B5Hrld6xWNMAoSzdn8bnU2LtraPynZh9waw+ShzMl8VLLtLnr5zbiyqUiE+Sf+EQiNNZ00bE98HJPDgIOimUNs5NRshf7eAovtAZj1mILtuwgDnuJAr1Tdq2xnyaDho/AI4pci+P5whbwEW91fosmNSOhUbIMoPXPa3NH68JMTPF1wRz6PuO9dEkZdPCRsHdJMWIezqRupO/x9Ao61UT/t+QALiYcWKCZMWW3cIJ7qvNEjrth8TMay+U4d8qRec82Z5CAIA2+/quaaUfQ6g07s3v3H60u1J4ete8g/Oa1TutNMzGrPStALqlo6r8l3ILww5OO4l2HmlogbcsvBXl5e1lYinjqDDrqkpsSy4XrKNWWGhCIHiSmPupMKaQMNwudpnG1XifwniEG+OSyTr5hknswgfaxiwG4PUdzcmjYYLNjZQQZqtoM60uPfMIWzyVcqwAFTDom0IvHQuXqwW38cfJVJd18237h1Z6CFSG9+G52WAG3tDQcR26f/Ulfgu3NwyCIgyDeOzYJyspR1pr9Ikb92ayRsFyMXAO7fAVOnyqNaKZXq2zrLWSc8Pj7p94YOBP7Bd7VsSLGmD5V1gVtwG/iGSDtMq47zdFxk+GRSW1lvQLEtD+FgvBc6DauOOWYHim6wlx8n5jXYGE1Nm8f4eXdH7c5sYotEJgclnwqu/RnrxvYUkqaDInZ4hP9nxXQ9bU3c5cp4alzTGuzOhsm3NaUv9l117aWRdNQ8g3nfC/as1a3yjUi44jQ511LAQg9ockzij7kph5iG/TPNHKxdrNCBg//qtAQe4kF//1uRRiUTGtlkCUonjb7O1w32oSuoV2SlSZzWGvIp6oJ/6PnqgxMKNNfLej9FFVlRi6+zrK9psQDVOXXImhl+DEvp2YRaodSepssjyX1ZnLnB85T5AA2J99MFT1Gq77LpQbmCXZtGgSF6k/0LqvQHjeGdJmDa4NT0YpQM1sGtb/nKpeHLrgvjThTJoqH6Y3uNExWaSvPnRXgCtxfHJlid6xW4RL/t00VHprMOGpC4KLcrQrDqmCEdliyB7l+tdJ+zu9d4ROy6cqs0wQIxRNTa82KZhxH3amnsYGNAgSB4TNjzRIJz91vEmkwlApU0qM4x7ayhC75DAFgFTEEJi8bh7gsrjo/XEqAFEav8KMavl1Sa2HZaM1P5+LTD18TVODUPkaCiG46TeHa+BM//AjOBciSsHCu5y8QCQFLQn57zfFJQ6XjECMNHMTWPQB4Q8Xh5m+DkSJJHoAEoDEwlMTDc9N+VkTf6kmtnCctHxwICn39JIWXgx97amjkJYV1PM1ybLQbsak9PJXS7oTeUz4WcZvfJXkMHy2iLG/zvG/2vEnRYlMUWdT1ENJ2KPOqwk45MVGS+O4SalCVR+UdAGoogcT/bhit8BKShXTkoMV9z2ihl3jjUVHJNWOooV7XaUmOGb9owbuLKZcBhLKneQOt2yfQNujZrkSQqH8J4cuCtFV6IXml52K0abVr39Wi+ydSI6f8WxAYEnrGLlZ8Y0dRu+Kq+feS5J4tZUEmUfI0JWKbneYsabM6hmw3+BW8QSyMbhQ1AJ53wJTll8FfsagpKBdbqAwCrelDorgZQvvRwXM1raBrZkfAuq+xpU0cF3Oi+YAcu5SVYx4kOexRggSrns2+YqoXlRktKB4kk+MbkQLWmtpAKCSP1rN+9OZOIk+1gSc9nHxNtrb5kJhie1VEmHX7hnaCKnsjFsnGIXv0zwWn1qT42CsmocsUno0mlWIy8G/VhPZP1MNMUbwmnrJCJOCU52GA07yUe9m4uhyccT8Fp3Uyb5cLTRd/iP2wr85Sbcg8owGoMDT3ebEIpRhPh80Wv0WzeRgOKW6z3TrDiFezFXtQILgh7Ctia7nGtUuOiOorpbLfnoj+Qa4lY7aiOs8eUeErHy3y8CvAJoVz7PYp/cyOkHsjLPgC9x71xJpw96t6khGGykYIbov+eVWaTJYIDbZTx1WLFPAZTqHWx2o6ax9W/Kls5bM4szArnQ9DinTaibZm6c5gKFNbKWunEV8tx8jmBXydNPrCJ4Issx3Wgy/0YPO2UlEN6+alVd4EfWukufsU/Toq6T03bsxwyH5j0cDsBmyRAxN8pv/tUMT1bnJj0s1jFrh0/aALuFhnI4kfXUa4DOcslcc53I0WplU6cF7U+81BltAT5ZCt4B6zKvi2g5d4xp0Gr6rSij49Xjnh5zaiHkgzOpDBi+va5sL1ZL/qaPAHQ531I3zFWbowuiL5P7Zj8UNzc5e2g6HZazv+Nox5a7y+eVJRmEe+Pk4J4VTCXPFRWGOrurLLtS6YdbEGf1Brp02tRslrnmI0WcbG9FQYe8nt0pF7eNOd6uEIO9aDuLJoz6OoeIi4jCECS5+B/xRG5ccTUVoK0FyYUUPYkdzp0qkDaL2WDVVDzmdcSak8xJz2eF9maTsyQhA1cUWuGhCggW2pyM+ZGNY7ocsp8sNJhSDZnzL7IcCCReKF97wGINGNzNr5QnCE/BXu5dKYEFeIQpa2LhBMw6WiEiDYT8huCRX0aOnOi3Xaan92NM2rhWKnwe8VWN4VUa0+nVhVgBagkGi/HdEctQLtvhOcCSsR+21IzQ4pSzQgnWByUAQHplhobcMod0YxBGU+B7Jam8eqzlQYwu4hth5DcJ+QhxOkgIdSxLIgzd1m8j5oJkNlLx+STDfKX79x9FN9/O1UtWK9yvpjfShDCA6wn4i8w85ZjfNTMzU6i6YBhmDMV4ncIjG8VkjPTvvs9T5SMljYW0gkx7UhRQObCwQfxWVhHXaR/IdvH0FiNcdDZ8tZfP6yYcUOVNlIBVeKQYdYLJjiNdIYn8VkP8Jlikz1rHZKY9XvBmLjtd1CJyR+obNaqxaqoRX3Lr3P4tU/HNiSaYdPgNWmV/wzaDdHt6z6Weg1b6SDT7S8aQ5JkCglFaf8TYCytc4plgDz3ddefL4qjM4xqsZr7yl3cZWVB9oXMpmTjvENczAsF2CDWXG5LZk9lAnmeTt5Ctzp1jyk6tcs6CVXEIkA+DgMt+zry0KiH1ofZC2TCTpgT8EyJ1DGQBwRyfA53agDzBy96rhFiDViOIeJV1MgLwR2SFLkXtR/Qcezrdg/i+8dfiQrs1rD3/w6rnZbN7pBN2GhNvNh2weVQLD+Pjcc206wSNimrhBC9fh94yTRaH+pi7ul1qTMURLsxGeIZ4C36H6VdWIikEOG9E2Ns+qPvJzOPRpTGTqUv39Tg7o9B1MP2I+V6CSZ6Qm/MpcORe3E1Sen6riLLJfNKc6mr4U9XNB2kQkxCRDt1Pm0qXz9H/G6LubULF6MHSt1IxI708AhZxftfLJLptzXDl8S8B5irvUNBPJFLZejUJF7lkDeFKcvis6gfu8O1R73I46D1Lvki9VZ9B/1/gf5jcabG4NPMR+s/bmA77nFqvZElWRVgPOyfx0PjaGdYCa0q8La/YvdUCjDOcXFqVJXkA+WClO0PChEnAVce63vODkC2f5FvRse4uxjp3/PjbUWhHR0Ieddv45OSAI8dMXGpO7OGC3khnKZnW4WCXD0j33bSaHoH+Z4brLTahyQcm/JdelU9N+xriqMMK6XK02PwWqvZJh2iim2kj0ILTeJeyOTq/Syx7WVGKf9OFwK+LdTuMoSSa8Nfr9FEMrd2u37gADi92eKAcw91N8HxrWSbhoUoAwxPGXm1A0KaxQEi0fNz/p8dqugxht8DbgtaOxevCv8kLGTJGotQujEDEZgELEsEsE0698FufFVcAiOAA8BKgXl9WpJhUwyCFnrowinnfC4XBLAitL4k54JmJ+HpDvO+F1Y7ppvcFFHeLuH2s3AT67MavQ5IYEASbdcpCGCXDS8EHDMY7pRjzpu4TvSrwubdK3zppJufvIm4YCLg3Bs0Oqi+ApdrEmtI9p+oNY+ygJ6eS4f+92RNAukZ8vDQh4GrOj4eyz6FbeKjr/t542Mzj6iW3rf3mz9B0ZveFUNqL29CtadInsBYJYoFAOUj8Ycv2xHQEKeJTv4RbwAF0DsOTpg2gjto1Bg8y31gDNPFVrKZH+yby2lQ6wORo17T13U2X35FqwBgsVyNS3wvlAfgq93oxsfR2usMDyKLEdk9dzYLG8jqAwb5Y+OKhyizGLIrG/8iYsiuW53buUZXNvuJ1hp8x+HAu2pR0NdlIoBdm2UOiNlFXpA1lxZw6b1Db4PFuKyGe4/8YPmQSrF4qgbC4MEgH/BDLDgf+bpO4whqCUrTKL+LbAGZcpPeNrydadTTV4KkkwphjmxQjk2ZWZEvn+UEPJyq2p2UmNK+6mDIa189b6CAxWetkQnnnFqscfcoim0ogadXGwN8SkYsrvbHpB3dyBYvE8IPMQSLnkRlo+wCvB89JjQXQQFXNeGQKzZtvkt6olpn/X8iBjkFdukspe6+rYwp0t3f48DINET6vsV4R1kUmQC18qVnG+RJ4zUEaKtufAD3MyFozM5QdRwfR34SbdLd1QMh0mQybvAdyU+vxlF0RhDfFB+cNxYqe6p2VUm2w2ALN2UBXhlpubaTmBeZfOpZuC8FlkF3rCIj+WvX9CNG1IO8Wq3w1J0NvHvDMDixnzF/PIn/RpJXjohlH1ebCXmTlOVT5MeVnik7uu0xHcv1+5a1MomN7SnO4rI1MSDZUuGqU8HHswuk/nQ7EmA6Z+sKlJtIVB96lejP6WLj+oGZeDv1cHdOz7hVpSYulfqMSiKcz62TgaIWGGxGlr7ytINhiVTcr2mlKXgmlMpYlw+HE4BYfvd+wlFd+Brn9U0/Hkw7TnlwveZAbbTnHAgoO5IeNNBv8sd2/g36jhipdRcjQc9MMehRECxbUzp+j37ERbO5GqcgTFTiAru7tK7KBFwWP0zcG4a6BCljMBGVZ5M1/6QK6a9iamw9+OH6x8w4Qj7A22nQ8nHkeSOH2eucDSGMdkeGilQTUIo5Vn1sbMf038IS0ZEdcj2TNEoVPAapo7lzX8zxijk5x4cCcVKi3JXM4sHA+olgJfB8xe1azx4m6ulwp9mrjkfbpMjieWeOkuOMlPsiV3FLSmcJFXLksWxwjq/WomzK9Sb+iaW/vtHm3NT+qQ5cpSSnQeuXRk4ymbLfM4VCz5XZ3gRnw8ju0IDnI8NSbYpn3TiBP/qaArf/GTi39Lg+b3wgDdQ96VaeqaC0FKKFOCHAgRuzH+a2BotVhzwb5b4E+3T4cOdqg+cysfEGgT1eXUOwx0IG+MXA/VuYRYM0FjwwvwlmixaHTfybKL5U714Sa+fknQezNWPh4NXfNT5zE/BipSiLo7YoPh+PpD4VwzTEVmggR/e5VXBghin9hFd4hTYMNXCpc8rcVeF/H+rMaz4qS1EdBkLx18P0UCUgfbPMkdVtNQdpJVo4eetSvOWxDREUr+E6qOICrRvlJUiCtYv3KqQowfJ/Twz4Oc3qrLK8xApIM4ulZ8N3yU4XukbBU49manLTpHabStengSmBbto0Ua1m1Pi4KVV8DTINGN2+XswM/2S6yUnyEclgxgK6KfYYCV0A72jDBGomRxPSP1fjJwloGePMeZrV5RS0HGqm8oSrclXxGVc3FKf5TB0MmE+xJqzWIK+IN/5bz2+sEp8Muc63ePKUrjWxXLQGv9jWUWSwsLHQMUyv7HytfYlYS53aGRKv8RG6x7frrEOzIXs9+XFifLjr0hHuw80unv/R9RjtR7Gx/UZxUDKO6hFkGdiKqd/LcHbtCyK/3HcUUJTE7KRd78ws94d5MZAjFTF+mO8zS76njan4KxDEnnSWGbMXu6qBeHXRiIxpy4QvlnsDlcy5VuaMB1CAAa3ocIFDDtty1bo1GOr3ZtbaJNz4czTxv090nfHjHXYcx2Rg59NiUWr4J+0yxQCPbeofSP2ZGu9fkdpCnGFr3YKaK2rMJwmPpxbJSJla6w4bK/WrWRwcG457LSi8G0Yrn4/nsGrejeR1o+okWlmmE+7iJyRqtoudfI6H6NEVLJl2/oRpC4ym7A1+TLamLgAXwYlrZ7J6F01DHB8vdRBpa396S9W5Rrnbb/dgLCNlSlFLXS7q9XBBGDIekjTZhPr5Vd3gizwwggmjdQ1ODL/WByC2BWeD+dGsTHd4IuDDng8JBYj4zHerzxsZFICgUWxSvhlz3LeHAxZjIsGXTeAZ+j5a2clX9r1Yivnn3VewEOwzY/lhHvGEz4Xs17HwgD1Tf0sQgmhewA8g6pzETI5mqY85FeiuUWfYCDt001GskiCuTfYIYkCHyn+l9ZWx39ON6V+tEKccZsEr2SpLZ1a9G+VRoTy+xXyKCBLrzzpI4DBux/u92+dlLaCTdLpPQW6ASk7bW7iFOn9hUfss4oacZbydovTUjnZt1CMv7aHbPTuRZFK4wQZ+bZSU904rZ1nymXMSFbaDwQ93N56zi6f4rgDjfJ6QsSg2OZbapjJZ0vTtIelrDEFcD3v8FAeS7m7q7HahuHMauGZFT4cCBqVw8/BLCHM9kJQ3ZEWUBC2Xz7w8jZLliPrghbZ5J+qFW/AxWMkwmmRlYKnLlS4UhpZVjF/eXtVY+Dl82/ERK+4Q+3ky3XTkdfmWUS2flEVar9CdY6PaJlbXHAqYcuNu65iMLO+G8b01i18jDA6IFEI+mM41RF+fXSxCDpnuoNVHxlPSQCDpDM0svOAVnJdzl1+k5JI0ah/bUKLCH+4ms9V3HRE7YRcxHkAzaXLzXnU/VFFB7wmkIQOlKWxJh/r1t5lue+eab2ifqqyNmQsABcY+h4SD4pJKXBELljM+SR1UuWgGxQhNxoNRkVHIRGMbI8seQ0KPszD2L50M3cdwHtDsdQC/PCefEPozaehz9cTjmfHQ5BJ84e1y0HxmaVlDdKLBZhmRsPfLHynMsmpfg4RmjlA78+mKCO94DddcFwlQ0XuiIEwesTGyIbKYy2OIt19QWKUDqwZTkpZ0s2mHxptHvZI0HGFbNt1ezvOPhvT8E6/auEAaRazyxkgWDpeIEp6uzjEEYi2Ls7gVu64d/kDm87fhVGiDh0uTzPjB8pfmciA14vXBNXGfRD6U6jh4tDIbSq22UN16GzjUMV4fEpBC6+RpS7eS6sCW33naxegbZ20oA9TiNpD2UA4WV2SQiKiuREK7lWneo7XGWyTL159EcbregXtpuO90O3BPSrAEbEyjQOkobXyY9y+AWfk9gc/mjYkC3+PJ5mYuy56lDjeaGUaC2nNfwq3lFH/wliTkUkSDPbnkdFhpSHKeIYsXAsXW3bh/r06cebW16ZDguomH52kz4USttrzk07odLxcnCPjhibPKV/AqFi2aHntuSqIttzWU8Xaoyr68I8YDy4Vtd+VJ1m0NvkvLf8i2mzF75G4LTxN2jZ7oOY8MDAXWoIqhGfYVfYNYx9FqTIkfHJvgfykAADw+8S/MsgORsRijQOEGSRkwg4oz/A1CTXhAh7DQjZB/EgP4M/POZa8emkowAAbSQabO1xSZ+TURnmBlXBC5bWZOkq6j70XPEuWjYtOufMquSzgazhIPZnQkQtKMDp0orx1v8ozFetp9ikZk2JrBjvpB6Hl2f70fQbzb0aPiB/mJqM84KSFLCFu6BjkWqMJM2ol23SYL/IUdIBAJSieSlpRSqtlU72UX0L8A1JcSQ1Wr4cJ/9n6C+yE1rPY4aihUCkTjo29g+EQxtHUM5Z1zvi05g6nY/xbkRalhWnPU2uVG2n2UM91RRWVdOJqCS4QShc8ltlOVdiDRaFl3L7JI2Bo3PGLmmNtABMf7cx1kmp33n/G787LGYOBHQS/vLeVelMTCB7W8WkhZNXg2RMsz0wuu4gkgCfaFXJLjts3kD4KfgLOmJko5aFQhVbm/5EbcUo7l2gRiroNdImY/mFeywNC9XBYAUQw+Cr1J6SViv4y9ykV8bYwggPo/yLhYVh3IiVFaBwIRnH1SPWr8g2zwpLk9cS9WPJDdNjJKdWMjPEiP7l6SByeBQvDxXFlg8x/UMAeqqus0g/ajqDWCU8HRgp0LBwMdQje/ILe1u17w1/NCTfdfr0+ELdQ+hXinASsFhFgznlH196l1DC7W53tkkwV7yzflVUjeLu3fZdQLs5RplqxvTP07jqcQEEI/SoWwBFZ3z4aDf6mJYnR2ECsAUDC+4FrjyUSsyOzvhcmMUsx0HSz99wapKZFAAt8XEvEN+3s6l7pLVCzA5tARkERvHhMPYgcidI0ALgYlec9bnfCmhz0mIlGcMgOmp+YscaUJ3jArDUYDHJB4JIVp5qtYMGNjMbrPaXsgeeh7Wjl/qCKBD542goR7PMngtd+x37f1PZLxtojdfEDyRM+V6cWEb/VYUFvGZgInwa2a1DrcntnUbwq/yEOhytZCebYig02GT8NsRmItZuj6NfO3kST0VE7NNFa/nEa38wIGTo3SNGsZ44l6xT8Lh7Nyg+3VIrB2/yfkLdwJhQKQUL+Kc9YRP+pljU2eaBl4+XPxaAWDSDC238Ms69BpR5RorcBIbTg03+mPTk7K5+ADbsizzk8BA0SMwSRTLPH9cQ9TGHtrP24KMYPGmdozFeNSupv7rZOSrfoq1ZwWhbx00r/NhgsXZgmmLFO3lsltzbFwnk3enqOexbu8Qb3Rqf3gOciTEB3XpexKfEX1OT7qDuy/A1wbCNqOhmuIm3pjU7lKswkLyO0up+7eNqoJ4EByFtEEICfl5hq00Ns6Q6AQsF2fqutmMUhwMd92ukui5WwW0E7d0Io3md1jkHpJZ/wm9NUHE4QFjlTfDaDCmd3r6/Q/UJ50Df41E1f+260sPmQc60X8zCB4a5jeZiUiTZBDR8TaxC9xufaTcck2K8RwyVEJQLssHy/EFCHF66YmN8beFcR1eRboJqkmKhuuqTKILp9+Iq1nMarDs990wBBTXLpO9iSoUudBNdvY3abe65poUNUQl2iR6D04A9f+KaaPk4F+dSTS9x45mVCKvHz5Sc2laBH3W/s4H7oy/lEpOh8WYKLP8MHPuGLCZeC01P6O4Ha7DoIKWj9Oogq3BM3CWlYPqYZkv90MOINJU3L3V3gDX3/q8g8uJD9RCj/6xxIb8LimbTnMZcpOaWExbSophK+V/tzgviVNnR8isPX79hf8Mvrd79lemCvBFY9jHhJmFW6PTmzmK+tpFsTy5QuD2EKCSdmanzH7YRR+e8cPuVe5jxwcsHAY3c6zT1B02txFIiAzghA22VNnkcWBMJSAW7bkGtqqepYp7hYGprE8G5kRLYoO9HtN98qei5xIyO/Hv6y9YFZLnhVXnVUE+yQDTr+ZwAVT495lrmB14WPUUVBl+bmnErVlTCVj1OJvxfPkr+uPbDPNFP1MUU7HL2zEeS0OiZee4Yy2tzMbNgkwlOnlPMTAZL08xHjOxPXIy6uIhtNdThI8Z3KyIr2V61CRs/RTBkeSp8GV1Ca/ne9DH8iYnuymNnDY0GQIVJH+DLTRSZRSueo4mhioerMTT1NqmyXU835WVfuRHSYPixQuhFUPybz+Ev9+RETDChU1V0cpLYZjA7hDqgJfnevS7PXgoWl8Rj17uxijK9mKZyMTkwOnp+UR96+4/lgAIxlCpfQ9tTFxyc2TYP/p7HROPKv+rczIFpSl1GJHEY/UBb+0QAqLs9RUQHmx2+RcqXqpLMMhmpMZHhk4akPTMhsdAY8DGehJwAdo3hslR1vczNrgyzxHpHItj+ZZo/e7SagBKI85hvkHtwZYiOG4ImY3QCTJllt8D2XkaOfgv0UOcWZ9f91C1ffF7/9rzfzwro/+6S31QZAJydxT1+T5x9Ws01jDdmjRCbFn2KOpVuQIRPXn7sc3smG4Y2xJQuEqXJ1SAOoTmjnrOBSjnJLtwnFWiCjq2JiPDBvSK5AyASi1Njt6AXKDH78BggJOWCSyTKLP1dCflgLrW8hfaGghiNzXjLHwYXAL1xyu0j72HQQZ7K6EKHycH3AwPTXDvzV7YRy2rWFU8OztSWjsJ5ZaTW3e+r9CBARlNGLqM9zIWzrCjewam7uSSPxvpPi5aE0OiEHgOhI5A1M9uNurIsmz2x4LMzqCjyB1ZPHLdRkNQpribrnEzvxh9yKlXt19IebO8teZJZPtWg21HqmyaNoPTV8JuWbfiNf9zUTISQGTsAc5FuN1rw41PnJqjnnm7E5ifN4n58yqn18PzD2Rcdrz82OGcVomGnu8tV6s0n1ZBsraxIc9mEh0KTnB+PE3l3w6pFAS23qlBLu9hobEaWc/udgAUk0sYpTzJFvQf1xnBn7RSnWUYqnJBYpsd56qp8XHVH1hZ0uEBgk2l0uDiZYDzJUygKk+rjXm8B79LWMi/jfBxBkIZZGrK4Fu3WlLblLjYHLu6KtU4xAImretSJvB5vISZCF3zDG6a+7oqp7fCDn2YR/DNav2Wsa4GlFb2CIFdaLz+K32CyL0yJB/0wUL6MvxPGltjzmt8shQhDj+qZAsQdr4e1LQUq5oj+BckjJMtpNXN2KJvK9Pp71qA0DqhZ3ox9Yffg4SILms/FXAdXCNd9Qw/Wr84RiEotFhNFloU32uvAi26J2yPM3ANhi1yy/sSBBKtr+/bshxZiTfZtNz6ipff+3wUiIwFGA/B9OOl/WUa9TqcrzCkwj+zDLDL/TIH25LkynyPl5MCbUTxpeBdGY6GTGdto9Ln63g+LjkVwVFFO0PDbREiJl/qMZiAOTtVwRWFlW5JogBe7oheklXCRjcemoPnLGoD2ergSUkqszgchTmCkdfdhkQnqn/Ny7qjSk0er94KidejnpYqsJo39oo5uf4XMbx7YznfXJK1ICkfBn4JYGafDJTLCW4Y/wj6Ymso7K5MsxWtoKihikvijw7HlkpvswcnyozBGUQi80bB8jryamRi9NEQjy6S1lb/zakF18zHYiSHCqIubAYPB8PkEaEC7mM84W+ho6dXh31gFQOz8fC2VtFvZXjO0KOjsl5DR0VckZNyGV1D3Xkj12ERKCvHMQYqtDwTSEu9TPKOlYyw1w23srfA7hOeU5W3bv+X28iQkPe35io6J3VU7oDgpz0RP3yJYfpBWy+9yR1ZGit9DFuOrwOjgqf4BidwSds5tmL/KyED4Dl9cz/vqtQ2/tXQmENkHJ9xZalNI3wWgx5r0vKgEr1/sxXT2tZZvQvQbdNQBR7pcXpz1rJRw/xJKfwPO/ksDEnAdwJZ+2CgwcXG3lA9dI/Fdlj1V/sMB80iI1V6/GxRIV4lLdVEhYtOMN7DpcJFmRxtgY4o3E3TF2JACFiPndTtEQRdHfbie6BTtiYWKPUIy3KY1V61NXGiQ4Pq570N8m+ynt2CNOegNTQ3O9XTgcmJhO/66d0feMaXh0pP9kozjCqakKapC1oNeco6N9OsF+PZtm13TKQh9HJ3AzfAleSZMV296IXKyrc3KjBAAmloGERrYOlpcEeO4ZOa8pBE1+cccBii5xY3+bOpkYZgtbne+W2PadJIOVcJFY+JetBneVH+cELfsQ0aakhh3MG6gYAfh3V84bAHV+/WPg6eB+rQvH0UgBP72yTGxmMnX6AtRcqC+AppkjhQL0hY7TnjkDN9KkdRl/IFk4Hbo0+a0eb7edRNIaBRX6KnYbdFu/tFchUsQXRJWvSDVAkwLauUttSA61l187TAYeNCnBES3j16aJGJHCygeFAR8RXt8C5lJbj8TO5+ODhm/crSkRP1ZKKIvoa3P/CbBI7CYC2P6iD+92yr1Ix5mVAqa34iYEeJhGc8gF56LtUV6TxYENFlGqfNGnEHUB8yHn972a26fmf+q3SBKxUXRwlstQVYIT0SGcUGycvmUZvUERAFceke4NZGtTqp/t74B34x6wIpQ0Afk+UdvdYmgUm7kd7yj+wzYIGi4MAWlMs0HMr/j2aZzoGNTK2EnihdS9yNyDn1+19qR/pwMYtrXGno8v/3cMrX0046OM5JfNgCh5DI9PnoHFlxcJmgTa0avxkbtDp6NI58fH1fbVO/CpQPc7H4lR3BGxZe9vxROsHQSFsw00pYtHwIvjk/g5g9PubPUmA/a0CXJ6rUZh9eP/wTHnwAb1Xk5kjqr8rMdi0/27I428ID5b1LJiGtHx5HzEJTo5P6XzNntxY19Rma3iy9ISP0vz5ZlUmPXq0rD//y3i3hRxpdVMUFrat7ghuss0+lPBLFfqfYTK0DtZb8tqu494+VuHZseiZsiMHLfH0DLIa5l/xZCCwiucl9O46yvBmhpoSPkgKSvD2p5jzfNG5fa/dYeBJu6wBihDK9KuAwrn6iBS5YJhMi9nI0gfIu1IYUyxfikCM628DPtaIY/Or2dgxVlY5I9TbRhybpZu0iB6EvVLoMkm48CtgGFF2dM2et9gHzHJO6my0LaGBo6A7SAB7L3DzuI6VnQu2swjP928yMjN9HjEyl8RrI7Lcu+R2xpMuluBiWettxiQvb/QlMHnHNS7+GUevTerXFTgl4Z0cSLvdGzfCX+rkD1MXWYGdBs0Sfpb7cuZxyDoBmNc+8znyeA1EmC5BXLBsGNvbmdxp0eLWCHWO26Zua2dYbOQI5r2GZNFodp6J0sUXxaoRMys+BwVcHMaBEiUO9ivrBZYNGpU/ISFFKeLzLlEKyt4vepGtLfbA+ytTzgvPFF/nnUZh2Dt1tx6LCuhKxEqv4rFIoRT3PbTnKcBdWvQjsjuRmEFIGom3fjyBy1SEeHeeoTKE239ywhWGVF7sp7kZvbUoDT07XPJI8kRabZesqcHAMEvPAD63sdSjYrltXy5zo+hJZX2wa5FQ323B1m2/ya787NLZi/rvRkohu6+KVFF/lZIk6y8vXt/+htK+LsGT+PDz9l1cFVCLPMrL2bZkZTKtSGVtEhMmHvlOpNtbOftZTXlqSmEv7NI5ITNiaf1N3jEZtcsalPVrqe13NWBRGBUb+D/tcaqx40EgI3VAs9+/MSXWi8zptWs7bD3RVWgyKPwCQVvocJhgTiq4RS8kigjCv+pKcM48JkdGsSjlTvlhduOCMjzOuvnqOuCI1gm8m1WjJAPfeS3nPiuNCvbEF5rtcLNvgqvMcfQOSLWUmuJzo+cQ5hckeMupj00v+PMjS89A6T30psap/ONKRhZ5pu/tyYEgY4rNiDoXlH2ti5+Xu5Uz9mZyHiJUhIt0oz9WfLY0DOqfi/ZbcnRgXuCSS5tZwhIPN1aqq+mqRkUlIeX0REMw1FFllv4hqsSK8TF86n+zjV4UbO2PjWaccHy4SbTwbRvJ/Nq3btrZszDYoQYPUrWA1u9K/Lph44POtas+eFqZAqb8DmR8EfyYx1sF32eumZ5pjUqp1fuSpFZG6cakMGkaGDp/I0XG4OrR3ia2PIJCTrodYUR6AQk6WuG1VZJUgPSRNxZGuXL1oFtwg1lkoSkXwzsVB0P4aga3DtX3LNG/zGQZtFjTw8jJedN2o5o63Cyk9IwRyZzb69DeZaDu476C++JgeWZBZ4hNtc3sLMBMx4U6L2eIf1rkCoVmx1iyxVLWsUjBzuCicswA05oUNXLzIyGs2CJ3OTpCx4kOGMBV3WZb8R6c102gIE+Mn/2zseMre5zKwL3EGgRrES3CfMtNZbAL9S3rcSs/eQZq6cIH5VSx8xVyTqXZx3qr1JNlW8oQn0r/bILy/4U7VeO3WzM9LHuQFFMalLF0ozJSPG+AbLolwveFRB546vfsJ26p06VIWauPoTNA2Hhw6Bi0af1+UwWypFkMfFjLuKBadhj0KsQgbH17qQIHJz4AP6fisT9fBXkful+gSQbZH8sP7AeSxee0UGtfUnBkqZkKR6rn0Icex2++zjf4yXO9OxesM7BwVpf9/HCRHyYGucal/a+YKkmE4WaVOpDtxN4S0hK1SZl9mizq7JXibvQHpwmsjLxadiZcjmXMnRaWsfoIXT9Q+E28icVjTVM0DH0brzkSaLZwx3xZSjQI2nVljh/aUXzcxBWT+yT7keuxZsxVJG9/0ZBNtj/rAMWiDmPvCGaQOsISnVx5zKsPpA6VWy+Du4CHy7KcDE2hMv58rFKvgh5yH3ozF3ecotyXAiUGBvFmpAtVFvtC9FYlp074X5Q13kqf0jkeOSUJnpP3i8PVgx7YTmoOM5laS/RO2QplxJYC3sZkO4DPx7yUfK6Uwc9sCkAI0AEcgFE/rHvPpgo9Yt46wNmbHd7p0T48NweN9wRPL8dZjwMjG8lu0Sz5eOkFwyiJVq8bVps3gPrWbEQERYydlrEXGdmUT9RSBFqfi9rh0R3+CCPuQogBPGRWh0BnUjNNMtauVhXJZm6dLRUHjOwJaX+Qq0VNYM2LzLo47SOsDcBb1XECdhOYpHRqU0hEsLD8Jb4mF1+XxqkTYHRCoW90nN99XKIR3ryidVFkMqGTas5p2iirDfE+CdNkOk4sqAB7k7fLjvVnjYlfuUeC52gGmijjsu1Tfv40iQPziD8Aklai8c1NmkSqaaymyHEfQMr2nSpz36AWtrRK0M7f/BHAkejhUZd6gr4IHD6mzhq1Z0gipNYfdx6Wphx48PoO9iqs2pFkf09iBqKi0hPnC0fzaxIupjQzsbErlFM7LTO2SxYtDPfgswpzlUOGnmSYgaRURDtgrrqLFokYdjpiDiTAWJ0U9cqDTS8Mffcl7ecwkkvyg/LYaNAFslwn//P4nGP9S3rGRM7FP0SDjtbW7EsIG3fqiej7yrRNL3l4K2dkecmBL9WmRmpl4FlT4m4noyLRFfVQxbugv2KuD/0H8oCQyz1QWkRaHMUx0c7vfP1sajsJ+wzPKZbbI/5vrYcoBLb+UnBzWj1CtIKrWSGLRuYX9rR3rCCAHEmtHF9j454A+3r58zclVibJQZhIlRzjr3KOShZVtmoVlN7wbPLROXeSWJFigtDLNOiGHoH6BOtflquXdABF1QGobKrsejZvh9vZqy6rJrjSPrxKXo0CbxaQYKV6OGbyxanuhyycoqzegrBLZFGxsGkiMbjwKia+TZEt6M5f0RK29ApzHi61v91J6nk/WzK+TM9sx+T7ucoqKI40y7zUla+QD2WG9ojMs2ah0YPjjv7PPjC3mDdmheuSQo5eRQpRA+qHWJzgtQzt1Ea+10IOiJ4H9GJB7ADkzekN2ag0JcqcBMcwJXvD0B94MnJ8GXzGSYggBnBwiW+00xj5N5rdsJpV0MK0JsV85x1rgW5l6O3TP3XvwQ3X9f2BB8SUQIZcj4SqBuqULVhPWKRezr7Du+JHELgkN8gogCEiYD+E8h+GSbz7C8wKLgfzJcy0bYWdlIVldLqJVPRUtCretUB5XxlI7f4DAPsLFyVEgq9f/w/bmYaKHG6vlTVhnJ2O2NtLzul3GSSDsGyl+3HzBXNZug742PfPjifggGnHWqKn5qz6OfUHYr7RsuP5/Bl1CM4ilwde0qpcNfTkJJgGYBbpt2sh8NrGmTPl/Y9mFtBw0zGndNc0uPWETRCa71r7hTkSSghFcRNs7Rtel+biMkgrenHVyCrchoF2h/ze63xv0yilPsvUj6UlNYdw35ACJdgDbcXui3tMZqs/SEoFD6DGB38NJqruCBeeF3QQU7fLxD9NsY2AVCU0/5aMwfKjjw8JTlDLv81WdmWOHsWjpXCgJx3zs3RgM49IeaRaPjQz+o4v17iGZT92iBa2/Ld49jh08BfqCEeqk3oiZM6nzuE4e42tSIik/cLVlIrZTHj4RUsoO4EdKic1mg90Rfd0NmhlTSR9YcM1iNuW0Rq6XxLALj/DTy8lqjqT2zKC8Fv35a5LheZSdbPjYF8jGO/a9bMNoo5SYrXScUAl1ckpcrhbWj7hPlmroK/fz0zKC3PaHuAWel5vZmDUG0ABVXTFAs6//lLOvsv0COnz9s1ceDnVYI5dbYLIHS6COijEQ7lyiL/+j0CzBcGtKaJZDrU4ft69YzD4npXAxlW6ZoxhZbe+UJMeGqdhScGP5Ix7puKbZc2RE/c6MFQxhQISO0mkkBnOPQDdUtf2etXKjQc+Q9KFUEOndb6gAm7wSp9CYbf+6lIf+Th+rcHv0z7WJfk8OjvnSUbzX/RmQhuIMDbYBSxdLHAIqGTT2tBscYcZ6xyw0fitx3xPDyrHKACdUgW2bGSHSiy1FK89MGNRksrY6TtgCRkbVZJIzRuP1f/ecYsNGdUnBOuG9gEmz734z0JNkyQe7W9xsx8tuTZ78VuFDjai+hmkPT6kYZDzWWcGrUSoBal3IiWv0ipOVqAOuccvU9eIwKMvqg+K1Mc4g30JoLuBWrrlZ/UYMdUJvusd11Up4VC6IgGgC6DAZvX3IPrJHmIZu/QWKFMlERE6KlrQrQiDEgrkKrfmsWp0if78pSYIt4ghNW4XcwSgpyXwg+slEn4vtgyVpQILU7smByPRgprKm0mcXbQDTQQgBI9PkEtUTMv99ya9/hIocUX2O+u04gqDgVSacYqB3QKqNweyWMrKAVgYXW6DuHCj7nbzhwxTjS2hHJ4PdRQNDFBnTcYeB6tDJ+kXU+lnN2GZI1DT5yf6XOnfHqLsr9ZD1rUvn+7FKAlefEuvQRA8zBbb7wttZann8BHiyPNZbqteMUyMi+XIdB8e3Q31qPHGmMHUrCixaDbHMtSBEXhroaw1fPKBT/V8eGrE+6wyDWI+zcmDKMSHm1tOHzF2B0eSXH9+cf2glxnv/hu5p0HpBLMJNCwna0fKA/yQvnwrIgqcNQcSiXbbvu7amVKyg19jTfNCkilGl2o0jNNUn2Z/6gLYH0XuEZX+vsvnYbEx+94gUsJqBCibwZuToK5ftM4xpAVKIrk2Z/3bJRId7KeQPYbOThIwfPrWn5S1boxKT0laINoiMOiscvl5HdHg6MVGdqwcNypMHO/hyzFcOpzaG+i73fCysTuO/uLJPPEXnp8m1pz/rqoZWWVzWNt1taQXp4M7vSEZF7bxElPX8uVNa8t4Hpm1m1tT7PpmTrrdGi75uKlre7155/h4UE+gNvCAOQvknTg21UKNCdMeCfGT8UurpODHns8Ngq3bd6foMSVTPC8XfvXfwOHZFGOKdqXZN24j2+bAnYCLfpFt8XipGZqjod2smIn77/GaPOrxN6HmxyL1aQCBG6NrpyKMdjYTWdxV+LIe/excmHKNCkbkAx1jhrzu2Ea1DUmJxXNS0pU54/V2nU+GzwCggg3SMcRT0Xn7VP9F7iE1nyZbMdLIror1Cq7fW3wJOEq25i7SdCGwclyXPWA9QDNfNQxWOvLA19FqZ4VQxcDOuVdZQGv7OA7nacxXghYfXx/iqQqQ+RWGkO+przQupMquE2q+5jXgvlyi0cBZ9Fq+JnrW6L8zXtZGiTz4cEvwZ0AiEVtIHRp0s8dklIi73dtzEOAhpnQiE2EcuSIlML4+yuCHUqHUbhkkqGdvKJ7jY6U9or4E/iLM/k5zIGfK9J3faZXJZV6UY1OdqGHREB/9oX9zA66CNrxkzAlOa2gNdOrBKbHP7GkmgsVL98AxUjI2lFd1OYk9xxLpXAG7pj+HmelI2oCufxmGiJC+uJKfzIGkeCVhbRJoYXU9X/COkZ74IRistlnRzjHdbYRyAKnLZ7mt64R08d4oZhjC1QDtdjqyPQof9b3/Fv050TxlsJpbvmfWIAQnx8BkUezRQ99B9P7KebgJPCUvRLsstVNnIg0eAg7IC96P5I+pH+PhcI7LtQy7cOV2ThxSqFsHzOjU7d91otl0bRJ1HzPhSWjNX+ycvffswnxsuwKqVPfW/rn7oHL7ocEo/h/iLwzV5i4ooLBaAxWKcPTa4mclhAOJB/t5R+BoOTtkKOTcLg0YOtUpFQsnl0LZG30x+arHxtkNqDjSfq6UgvhoGd9uEsH6NDfZoo8pLK5mYT+HHVMdubOzcsqTGQ55NG+YRv49HORXqHG+xh0gy+VH3qWb+ojSWmg04fRBpXrOluXVXwNIIJhWZ0stUXpcd8xmCbGOlXxjyrV6MEX0OcKCZP9ftsSOa6IOgXZDw4V8N4CMZ/lhVBbo8tHxxlf+P+xRy0ESuSvJLt6uxlDDbcVgr8NWAdGgqkP4sOBzXiNvPz0GIVvYNJLiCzmOurWt0oSsM0bCPCHpg/FWabyulma7OPLmSGa+/v5XeD/37Vr1f3P6U8Pm32OvrW3TZKvhrDJboFxGRKH0/Ghurr0ALsQCSG3F/+cWXG2G3CdhZXvLKk5lP6JbwfBgzMTBTJ0905/gpgPILG8c22tYjJpXSlVdWL1k7LNjp5SRGruTvoq7h+/3wRXXKr3hFzvNVSJEo5ooQ/Wemcy2cS+/YhzhRiyaev7TVog8Tc0fbHxajJn63L6M7wMs0SfkuwtaCbnWv3f9ZHSwbT82zWuRrAvAlkKgipcPQ0W1ZsiAzzZll4ZLEGQqUtD0tH54E13q9SglXSEXylN8Utw2SaiKz0AOJ0J+2gwwcHZwXkKZdmVm1nTRYTI+tmegALhzpuF00Mfx1q23rCxdXufwWkKWMOQXzK2g/VUxBWFn3TW3sBZ2B2P0CiOOvMlxMpv/WFXblUE9e2Ybd2+0/m61Od1SXTFL+QzXB/nwepCfDr4KfyYZSAL9OLayTmOMvJvVLuBfw288Rg+Jxj6eDPTHoEIJBLBcnre0QzI5M8KIAAERk/61xLeb5UeMfgDzH9vw2QuKTyFWCaWLFOaEyuMKRzwOsag12zdqaKwDOJpyUn21AKdWcLac9fJI0+k78p7JXfjzlxaEDiE6IBrf578nlmHxGM2E45tsMw05Uhie6Bo0UubgRmCPL22lX+UgaJe/DGz7gg5W/eEhCdc5Og2kNv05ke+aIpWGfEenslB/1kUcQd1Y6Pi/Q+HA1E6hGi2QLE/+h2V0ZqDGc5tdsLbfvDZM4beKqTEeA77IpCpPqn+8i73e6qXQA6CvGEBTKYzhhFHRnzxlmQgy7j2uMATfiH9wKiAnYuthE+ToKN7QgEfwkgZI4XZyZqONHFjUVZNIES79VJTzRVH0JkCR4YUjFtYbl32iXg7ikvi9j0evif4oJicdj6wQDsjKJyIvP1mEvDW+eUWnnHa5CiRfWrNd3z+ypUzfgDvDQkx5VuD78/8PPYy43dQrJQXMmWrgBL0eixStSIU7RZKuo+7ICuBVnyDGjGSGrBdGw1DOOXmiGf9XreC6MY1aW3VWMwRgZ3+JxqUz0JFaaI+X85mSIm3YZ+ViwxVrU7g02hXXbfJVmXiKqjY3ABMaWovX+YjgOsHCWNgigVux4TyjHNXT3s/3+W9CuycNXulzHcdmmW4qk6arS4/lWTNfLeoFZP1KiqskDes8N1tvjQ/YXfzb/DUVr0Vfi7zUGB1POwTF690R6PSxVwlfaTMVAAjEGCTWNAUX5aBTFDI7kuqJ3RGCXmA8RoA2Y26uIDW2YZo8k4LFEWq927+tdSeeYE6PFZMsHJIBbNSTbJ1Ja1T0Zu6RI5ehUbaPlhEnywYLG+KvRf0bEwf1FiTrhRYkEBLNyt21mvE+URL+//xJotmVNZmKOU8UVAb8X3ARoKr5wzC1UV6bUiN/KXkYz07zYJBtmFn1+Cx+fI54y/KHiuQYY2EZFqNIH2y4+6K/ECDHfCCzaYWF913Yo+aGKPwnv7ph/o+vDU+ZuESjGbmjJ/bijkNQJXveCKLQTmfBw76iQbTFGF9lemUrfv3wiNGMCqxhtuLUz/mr5L3kIw6MHMTREFAu09ne3MFpUFLUvJ+ZfMnELXH00zGpCHWoCROZK0tBG2cg1YPg2j8LunFuQlEoQUXf5nqcrHBX1Jh9/ol2Zj5ptOmcK0AeRfcxi4mYyatMmC0pnX5SdMcyDmfFzq+8yjtSolODlaSgQsuNXa/teiEJPF18iV9ctYUFYzatX41k7Gy+Oj9rrXFyMj0MIgkMw/UWU+30hPQKunoqxH4Yp7oK9c0iPpZbjjp1ZLblTrve80QvoiLE63d0mxkUrghI3oAR8EixuVEWSzzOpVozfjpqfTzNNoF7eLxXkQrVb8NijqdUFJLwZabNFYtTnaShDVgXSKCjsnhx2bk7WDmccHvWvzRu8osMRgWtX/F1VedBqInHJJXquX1+iCjs8rmsszj9vzlAAcEHFcVfc/JYSZTRd3j04q0igpRdGnLam/nkNd+xScxaNDV1hhZ+5Si+AA54Ae5ewvTDkMDT4Wh9T+VbTTblBI/Vk7pGurIH0aHxzFaSGEH5Ff9FOdzLn4BDAvLPELFkRDvYigudBBsFNY3Zm4Rsy5uKwy4RMd5JHzm8SzrG46BGvyQldXY81Tf6bsy1Z7Lo4cGaC2o3NPGkjmoYxPUz8LQUyjWGOW4WCzmyK9xEjhdh7nvbstEDCTSXCLg26fIwfyCfJZno7UNfIIpA+xL7kBqYBUTonLDlwZX+yWPiNaIJRlxmzAADaSNHIJ7FSZsfRYfWwcKDP2zL9uI4lhtdz1ZTHnpVHgYgGwcXagbYBe8ZwfrKvpLd2lRSyHYJfzBbzdBY0up1PspmaMFibZaKdy/Td0+rcFEQoM6XExsXz03ueOC9lTMhsdeyekkYTY/pC9ZUrlcCoWqyCz4l6uQCdD3yOlIAvUWrFK4yHvPA/Eq3RhI1JpsX4svjobQyuFY8i2quLbECy+SGjHWuOGno+JQeBEQ7RqWIM1vtchA1ElFrCvyAKg6LeduDkVUK8/wNYmjxzpyVZ2Wnz45SDnyTYLecVvDZuIfgqnWqMlevbb+MTz5Qewu3CVXgpFOSSBSTsH7BA2PXAnwtql/t9DoFcyYS6kwrl8MgmERsM5S1bCxpyqsgdqnRGiuq3yLZ6YvhzflEaGrula1hn9t7ecvQUmJnjabaohSEXTMbrBxMnkflnwOU5SYEZzoDvKUBlo+v3Fxqr3YnacO1MGMh5YQCHIOck/I9C0TjIG7L2Sbk27F5Eb8UFttoU/HsqMKra3oxaurl3SXbc977aEfKnnMfb0MdZu71mr9lMEv+l9TxrJjOv0MjGQf2DCAP1VySWL6eI9sIGKvyTEVAhhtz9AP6mxXDlQz1UT0ebkrJFR/CapKY4/8DD2BiTRQgr1Rfx/LXxdz9uMADqZlkuUGVn2EyU5ixhoHRQ1z4vhM17oFLPSfVoe9DSVc8lXIzSDipHkpSQHx+k4VFL/ulaWqz/d2bg33q95qQ4oPQvoUPQx5um6bCskFHBpdNBtHRyyQ4DKWiKxDg381kgrn9me9EPHksqfmhiyOHx2SYLo5F6nAvR5tBCWfrpCbgaxxt1pndflNdq/y9lAU7fN1GmGMumlodvGbnOlWTlnRQ8MDlXw23II0ah3Spq6+6E/bnF4Til2beZlPlWL+n2MYE8VETv10IUhnQS0m0LbIofoFCGrvEkDzzMorWDmQ2yPN3yz1k7WNeiM9AhkZtzeqa9PEwGScIEa8MHUtYhwi5f8CRItu540wsVh4F0U68gFEAy5Z4BYVH/Wckkz/C3Jipou0UMd6R1Jt3TxlNazLPigB+XHHaOM/PruouU1rVtQ3kPU2I8C413uiLhtdifJbguTMMDvgaTnmnQaZvS5y4283L0HJ9Hr3jG62EBox1J1IDzDK2NfrW3sC7sKJQC032cvZFCrjg5SEapcZzL2U+qrNwarl1+wB5Nzmts1wsscDAbt91fwrlQYalzvlTmSaMjyJYgQmWuASIUMzXiXSjyQ85Xb9VDdo0cJ/Lwf7Ic7WoYGb3/N3rWOBIY+azoyGqv8Lx1xpeSEYLLvxJzZBorKQOLg8kzXG1hwffBgQdBYBjyq0/+sHEULu/rtHzEOIyZ3NHW5P+anQ4X/9LsK+4j2Nw8xwlf9pPVmDOEVVPghtk0Nsmf4V7Lh5F2imtlM6SLlLajWt7d6A4Z1bEUrvJk3LD8c3wG/gxwqIhV6FrT+2CvFMe5fpBm4TftmLE/01T/1qAY81vIellsOUOLe75H5OPQvaOakHGzdjz2ah60XzZKVcNCc/5UqLJa4UizljBbufYgWh9WpLbKylETwhn9RIzeADfCD0OVeu6SVGFk8SPAfSVbgcboPWRyJpCq2XThhbGH2nTxjFj+8EtZpDCDlKEGJpIpMfmA5Q0RVgJnkGNT0X8ygd6673q+yHrEQ4PMH3JWbp08U48rL5AQIdMEePBWawWRX3Bdk/I8hFURgiSLVWp+mvooyQtlN/uPCNgA2/dboq+btLxtnJQ4qXrX9moSv0i2UAnXhwDoKIzj0zP3LkteHieTjHlXQWnL4R/SM4ZR2Jb8EUTNco0UbdkJZjgVgd9Uf9Uu8M9UwPZv84DZvhlumQwXwK+eKkt9SJW60rqAw3h1hR5CFg7Eesn0YNBGB3ALsbStPAeQmWt/VCEaH/249BSHMJ+PJz7JUc0F9p6Bk3EtvrkQDtHf2jjwKtsLBwFj+8/frkZXXhjJahVzOQaJIZfmDsq6t5LJMrHeQFgg1DEi07uk0oBrXw3DE6m2UrFAUfUGhDcq2EtKrZypCL2EMeExooFoy4pGFCTh6QMenLY2XpFnA2LGIU21NpW2+VzAcd1bnYDiRH4FhZutOwcHYoDnHikeZk0Xir9ElVPESXuKSBztKwM0W89H81dB1tS2dxydzol9bKzOaEpaoi6fEE6HRNFYAktlnRhhDoN93danRX4nEbReYacuMwvg/Eqdry3RRgIX8iQGE0KBetqxHPYbQkkFFk+ie6j6cJlJ3XU9GYOI+dXNOAY30n/XINjlYKzjRzJ2gVwye0fWumhVPnxV97DW+XhvojBF/7wgNf2mTU9jTktUbEGL4pA8H/wXD2ovxl9FWKuihC3bmEheEuvPd7K4toUZGH4Y3+qLKy6u5v5GCmhG9gkMV97b+23Swptd1YwmSj8v00gD1TZ8I/3oCBIcNjan6IP3zNW+rnruS+D89SACe+ykY3a0xB4DtsCbFqqMALNLH20CLSdU0KzLSuQsAhGOMq5sffnwVRxxlvkbHTo264ehqXhEwu1iSlOw5v7AFBqcj3XXr54wADyOUVnuov0r4J5USFilM56pJgzTmIFEL7lLtAK4GFcdORzPri7EGpzs4OAyya0cMkYopLC6ciP7Aw1gLKTr2cmoEtXqPACE1NP+9S43ZShJPQllzFhoKPyzPID/qmDQcldq5UyXY3DRVmQHgkrlUBbwGyBHZzJMTVDvirfz6zT04INQsrzZk19L9QsJy8IJ7/keSNDg5dkQD7809f3uNYAvn70seSk4R2gNNF1hFvPa72J+vWTOTsM8DXbEcvtM9BxtIYmFoSIJd5O2MF1e3cp1FY5s1W/1brWxgxMGDfI4aYh68LI50g0aag7S2EEqcYKmserUC6lvc3eip7P3NSIAH7V4sh24Jxe8mCNQqeOlkGP6BwJnsHvKOdFwyG7bLe0mivcpOlOqmzhVm0KGqppDxr89rLp847U+MyOoUxj8nThMqolJI0z+spc34AEtiU19y8EfftuWI1tnvfNKH6WF3oLxrM748a+QLMTfgKqKmAAUslOR1nSDKb/T9Dex+TDNuYN7U8dWBqdFfdGajkp+f38KdUbNYmbPWC0o6mSuzC2qSfiw8h6e+gi+xOkarMvBRuN3hZoLM9344IC5qhLnnTZs9y1URrZSNmd3lzC/P0z9WKML2+vQjux16daSXX5GoJXWsi5pjMKfyUYXg/LxSTL2NC8K022X7gjEj8HC99kCGGHlVIUoZvreEzh2gpzM2IniRXr1WZucUD9n0mmDYleqj8MYXfNYSCwksYsG/VjINPu4wvbgW6FtrGbawLft2ilCeTm+PAGg0FgKQy0qUWF6blQTPgPgGa+XDj0UDdX340ZK+EUJIhhowJVirSA4NtQhpDToyXOXrjWE2pDpU/jTQOoXuUUd4HtodHkTwEFoFVhE+VB2BXaY4JW5FSBzzvgZ756i1jntPenrPZ4emVsKB+XLN4iOc4gtpZHCy55gte2/j061PmckPmzKBfidPOv6bk1r9GNOeicNqRyD6myOZStqw12+ForH+1wNdZ1Ll0E1UNkUx0GVxbyR2mAlzhj0QQzd9g66YUFslvVWNyCIOIOtndsrAq3+ZYKHltUwTFxYNMvvrfqbGcc2QgJIEmPBWBB0qr1D1ofCzL0cBDkhooLbDe4sH8XezaFKUkqGV0wTwoafEusHuoly56rU6xn32mFCZ8uK1ggOzi92lccm+0IQEC7DS3F1s4NAvo42WSwq819qgO5s7TESqqiWdBzVoAtUq9M8xYT5f6sN0LyPgUrd1+Js8fXhlEo4ZhGG78mRu68+zXcNFQ4+G8QL97jehK33vqEEtGDQJoG14Lf3cRGpirIhGOc6NClHL4eFF2Z8+LxWyCpHOXAxqpHwSOm9fRRBH/L5KtAXr1ZvhIXsnhfUfWwZnxPtpwoCylxkJ4fK4IFPvNHB+fsH/rZiWWiNIM3EjC1f9OCTIt9F/xu1D4gTV+6+d/KRHGp3dHMPjKf/6v95iCWwigAvJ8+vqRHdp1vPAi5b1aE7agyVeG+EzdXUPt7g7i2p1+xiHWkxFpU8Ul3zHPp3DrQn/XDPYu3p/s4Vig59umTgOPotSH/c+gHylfmQh3rt8vzBmOKeV/MRT0sSLk/PUMmhiOkigx74w0FHgxfSu///IgS24wjqsumN0XecK/sXjP697E1RqLdyx6Gh8UETjiwNa3txXC+s2HfkNgTE93SpxbKHWIH3Uqw9pBk2Mvzj8o5hn7F6MEg9tvju/C8thj8U5zdXhsdsgo7wgoYwhKa1rAlW68xI/hnjMqznQ6Sse8jmLokbDFbgNB8ejmZSKgqtZ9qPnQklu9v5d2AgR8UhAb5DUTho6rUqwWhKo2XYEHCvrSIsGBv2zyFnAYHurGnWlkp8FzA7tnRqAQfpDSKSAPEpRxfdqRq2rx1DwIS+bgVgfHR6yYQolFRyo9R/iXlYuAe7TrJAgccckvcNL0GGm/gwrHf4NyoLgff8RJhP+W/8a+SRW935F6gSUZrGcIWyoIWQyaEsVvuwVY0BxfVV4NvGTZeeB7UFT4fUm43mhLM73ZysYHLVy3BWdlVoneqc9xoPw3KYDL0M52zzGChYJX4AEBaEiP9g4kdWRu0nyMSaAsQQtXcmeXi8LR8h2ViWfzE3CZHB7g5eT64mYf3nl04ZSysj4dwwmEymeHJ/RxIN2KXHuHVpkutdDEf/8moidFn39/VxwY+LtwSAXG8GCapAiTBoidgz/sT9HFi/pN/QJoKdao0fvAAnbiA8P0d5sw0vyyYfFn1NXx3alqTdIczDK7Ub/+N0ldUbm5ziEdwPV7aFOgTTimHBIjUbq5d+2Ah3wfM380k0mw47XWnj+89ZzfEFl2aG6BabOMXfztVj2Wm81msKOocgeJ/5V8DLfc4HzBZFxwK8BL5W0g1h79OtyBduT8JSgu70sK8kKZ9+fxgQPHWxleAsfW/Druc5IJxUSwqR79OQDzT0PCflfRaPVU1CJSZZC7sC+SfKVX+X+n2O89vA0JyPgdLT3ZO1iZNa0Uoh9ap0nAs+bS+UyYXykpIEN97BzVsReYByT3+Qc8HJv88id5o6krjvyzJDbi2zMzb3Cx5MRsU9WEORV0rtm6UUeI6kfwOJLQaEx7y7VQNbBxDb1lrIpGdXrjNCwz1syAM37s/VKOxfPBmoV4QCQDQxFtjFH+jr7LqwU/3HikQ4twubvgVHclAszkKkm5rDQZ8I4Dim8KPs68mzSijMI8dUqnPNesb6XKUrwOBqgBtJpCzWWz5179+mDgSVIkl0nyNJzMCrLaW6mCZ2y267UWgwPjx6aYQqGQ867p3CDcEypE6wZg21XSEHH9kpDKjDH4Km/UEjOy8IZuElkRGZHi39uvPquoCSK4GfoPFQYJ+lnwL890fFExqBIC3O+LpbNZHjTAXYcngkHaQegBbq0J9Af4/1swJDxt1Xc+aXz+81jglAVf7o7OYyZ6Ku/C0N4eM1yhMKPVQb4b/fT/ANZyJbRVU00Qh3ftJCgSfDQxDcWW+QzbKO4hNdU1xJCbhZso53SA2oMssL6BTBgQtJUM8+X+KWlrufz90uKGO5aHICG8nrFg87gnc0jskPTJSgCQVFrVyF6pBVQB+isn0NXxEIblcRRmkGoTyBeFZE2V7WbcUvmToeDLnpYNFufZTlSoUtdigevZWntUyfbhyxgM6DUcEOaYzJnHZ0sMw0isQLvNagPM56RCbCl1uZwxBviX1uZXzxe0lwqDBcY+3YRh/AQXzpmPXpVfjJ0fFB/FdUIZ/Q8X72kLys9Ll+fGRfkNukLJcuFOXXeoVTp6bKIOMTpikviXisumV7uzp+Ina6VnFv2wyBWmAYOw9aNB8NyW3S7aeW5UobA6FqJ2M+jBy+UgLewHP+xq9U2K/8yp0uo1tA9H8Vq1IAOdr4ZZHVOpZJaM+GSOizlIsOKxD8kJdLa5xQ02VM7UbhRKU3eCXTaLJK5j99KbIlDVqDx13NaXOcW4Pmt6dcpxBhi4b/Wv5H+QQxDCKerSLybBIdAT/495b0JfLgI6Xp110ZXDmzQ1s0xf1qrOhsWn+jfc+EkySFxnTzpQnSmbHP8VfxPYVSj1nlNQN1XbI3xkVqWTUMwa5DXZJmlD02BD5+ljI3+OYE41ag2WRjHNHPHapOGEK33Q9+ixmOJbCpyyCOD4Cfiau+ttamjmC02ZFDesc9X1TBZN4/XgeMJ17dqAgBfY/zDfoKyqUdBHP+BYMGf2p2AtPbznQqJcOEvLUWeogTI9RM4hdKk76DpU12biEq5w0+33FMZWGpt/sDdTih6y3OcyvxYJhShQCSn8cR+oHLStfMsd++l8XIyUIECfGAJO5MXz9rF9Rz69HiMluCcFX1fYrN30BRWUqEkSQVcSK+X03pJtF6J5DEiRd2s1nSXt9cXOljnhvlwnCINDlLod+TRDZaP3uMM6VlT5Uf/9FhHsADUx1et37P1mEx4gHmALKmHlN2bCOo4D6rlrCAENaymQZ6qDkQRJAjjqxBF+eF3g0n8qraCjRPItKPopdC7OnViIeN3P0i86dHUfAwGU+Lwdm2Ca57NyGmaXXsRh/UQl/iObRqLDqqedVWyRDz3+vdcM/iL6nGQVie5D4Ab/2ewP83StHE1kepZ+25Ap+N+h/fi6Deg0hutJsVbMPQDQ0QCVJ5sNLT9TQl/DTYF/Xx3iznbmGZpkSIXT2880JXdZuo+vrSYBr776/9gKhKGg9axU8nsoS4GEJ74L/5jpg5WpC1nj/Wywnr+eNm1IfSWo3Go6uh1npXktRsDjIxKYqR/Oci5Ji5/SQKk1nl4/ftJxa2XyRLr7kxu0VKofHdqlBM96hIzi5M8wjHEZhvdWgcT1Dr7JBT4jOCnCus5UAsBWxcSn6RYdxdOTmf6cPU/lzCC/U5vHupkH4dUWV5vYvFIBJFl5kgwanLrx+vQDgOo4JunmOZcW2WdGom2R92xGAT8BzTSjlHIjbADHRiJNRMX+opY1vLNectNLrHKjrDTDfWWfxl9ilWlvkpOwpvJcv2SyP3HsTmN26l1HZ6+jkyXt+XnNJD3O9L88kZVmniePKjPfEqSgSgS4JRsO/NwwP0SNyXWBITC0L4A1tjJo6T81LPAw/OOD0Dji8Ff3ghXUQHi6zrdK0d+IusOM1RliWjfwKcgzArOk3H7xk5eXMmEe4z271z+KjlNINe/0LA7hdjO5PGzKXnvnCL6mJ2SDUc754aBeHQOysZ8CnJCziAxfGFrLggO7wmFn+GL2E7r6DSFfyozeHdsQf309nbBEMB0/UqBERazYToILTRr3SWOCYFfRSgL3MJMWIMMe7FM3RFqK7+xZgr4fwG6YOI/ySuXs97KK6K6BtCF1cUttBHnim8y+tFXvuM87yOuJOM/tRPVoypJ9PqOnrLv84nPYBd9KN/Ne7XrsryA3NpEJvbPUQ3Urypi9Bspl397/sbW3mTJ20TVUKO3g1WGXgNs6povzyUVZiYaC7EKXIf4ZRC2eIkpifawDq5UIbuRXpN2wzb4nxIDFBrKmSHFjiJeVLQEY8NrWupAEvBX2nqMsjaeb7NR1CA3bpoXhDkPpX2mFn298ZJjYCEaWCqPBBuOYJqOT8b9NuqkSUVCO8fi/aARFgbKTxkPsPcVzxGNm1XLvsCIc6smvrebRSb1MVp3see7BQE5hjIQKlJee+y71309DqAoZ5UWSduiumhvrOhx4dd6SoW+yDOsPz1uNtsY5vZczUMdjiKwjZ4qRcpUPUbFge/LxntmMNcxhMNZ+3ShLBjX+fK9NLp9v1RUuzw8qkd+FYT1fk3KoY3sSqZ9Kd52ee5k6S814K37MkYMKUsyGgndnUGFliVz5acuRX3YZJoB+dJdrWpzmX0vnRuKht1pKC7gSEY1evN+HvEgtWZ3o6zp/XKjo931aNv94lfwUF/2/jSJLYZSEE2WF1EZNGMA6T3cL9sitlKbM8EFN++zVkUuNoZIFmtCmoVweBVR28HFNLzHrakTpBTttbmd900qwfJeqTkjWIPb0/xowW+qhRSnLyvctod8iD0bHgRgvUyULjI70gQ/tEYU3LHH68aoiATmOEfQ2N8tRgDV/5WB8fRCCuzQ5ezrmMNmZmdSCfQIp287NE4dVtSCEInSatpbWmmTLBpDiQvPIFqSqegsO3QGbQ+Vj9UD8zl6u2XTBjpgZD0nNgASwfVrxvVOdc4eyFXD5K/15KPEWHzrK4wOs9tOcQSl3R+iz0QTnY3a1anNDX6yLC4pY4yqb3k8HdkWxgxqWCZr5r9EowTDo5TpiMRy5ljENgXR6OA4QNC75WNADHvAQTv0p7w4ypqpKEOxaKNytFeh6XeODn6UpNiAdvqP3gHiaQkfG4aFYtO4CARr2gBk+RHqiKJHkFPFoQKHn4Oo0PIc2MXg7e5s7rckdMs6qaHHHRDZ9hFWaAiwE2Crmo3syrJ/wF3vfXvSdlGnrGZANV/Lk6uCX+X3jzKEaTaPhpqcKw33kqpcBYIOxtwQ5x4dyFgvPB3xkvmY7drvkRsrT+KRb+oyWf0Lu0E9ha10k/Jg7PJTVNAb5xmlB+jZU4lFv9Y7RkjRGzb5yzrT3kopoEu7gBvyur7eS72UMkBsPDP7MvWRMBPoSvgmYDXTpywaWDIJi53sKjU7pwJBGvPacsYryATKzSgQLVHRDOYdMCe9wZnBXH/cwZhdDmTADS/tTOhXCHyfbjWznd5dL3fv9cVCE/22Hb17JmnZYvku5pd2LYPo9L49KUUwbB1JmuTSyzXnP5UKRdSvVz5oG3Zsk0M2/xcC2hJ4SRkLZr08Ycwi8nH5N/UZHOPvZHHpngudZ7aMg5kUdWVtMq+coBHEoin5qMDMiHatQq1NIWl/AFX9TyrUxn92lsrqATU9ljlyUsRI69cVjTjrvUnL+S7W34mgSLFHhO2gd7xr+SD/eali7vlss01a7ATmZUsKjuVSoOAJ6DJJKafxy2U6BVw4FfTSFsXVRFyanjhOTJob2S0QTh8h2xIjQS9j6OfzxAm71qZ7rS89PvtbgTIZf4uOsvKdFsm9M+CcqOEk7jzOqk73H0bC4srv7iZntUVii5NoHbepvyJNltj1hXEiKpr7C1qyn9pEjS6+LF7WYLiNFjxNWg7Pt57HLkv8C06yV9b2xN2I7PXstuu7+oH5I0yiH5D2gLAxqGnJjL2VE6SaXaUGJpRkrV9dc+OMCKz1UnRMEmZQxP/JHq5k2pQPRTsxs010ddRmbgULDs+KOHw8+IuhRwSa2aUXDGMSRe8UUxi7ZSHSAoFXMNJ/P3tCrooiooXgLmdyXVK18jOiOalGjP38C1wQIUqyPWSMFAMK5ajlCIoBJTmQDnTm0rSbdPml+fXX4Kdb75opL7xXwaGdwOhFUuzkScOEteYIwYVNhc4iPONH1ACMXX8PnHnecQmj/Rc6uhMwwiyelZ6M3+BQv7AzAYpdqN6vPHYJ2ZTxdN3QT0jzzhPeN+vfq76V6capzPNqVVaE7pSjI6K5YK9/20cBAL3IzYmA6DzUvartEWwwpC4GSdgO7ju4m5KdOSK37OZCc6oOeY+cPfMcGI5Wb716kKhPMPGM2efCl8lJVkzCMTlelHMEGP9Rw24B5+kY+onnarke+ZpY51MBQ7NL2gxQNorthEDom1u1yrJnmHUhqvsTqpFpJmZ+P2N3lws0xBDAY4mXn8HdsAUQ2q4SHOcCVIgG86/932+ArkKStGdtw10z8Gb/VkgqoQxx6X2BhteA9TZfKLvkqAHQBjSX3DOa+SGtodmfZWNm4Nz4VfB0kSWkDPw1se2FCzbyDVKZM1DfDSfe+ez/wARQDjlcWJKp8BdahzZ97pYZKx4xKa6omo3hGPaMuitokh+qdNjGXRpkxz22UXsQX/Kjg7lbtT+XaHNFCSoz4eX8yIfskhXGrwfil+vJLeKOpHCNZxF7QZisk5y8Xn0tZGEUFgjeGw6M7QYNK0EF9jJbvDydusAAGkBosSTwkk8f6lgvJR0ElS5/JkKUsg4aIjcTJcTPscSmIZfHJdCAp8eMM2Sn1RWCxcMf1HglN42QfIMOC4ANaJCG80HrOP0wWUxkVAG5KCzXZ16sTrtYm5CV/FziRH1gjE3/RDEUCJ8GjASiRfyT3MyClAK1HQIS44bO+MZ2mC7h4B1DQAQiUMMenSUHogDnMz3lwJWmAr3PhrhgZhOSyKGkaIffWgb1JDicKGcxrOu9XsYUTKaGqDZ+c8OLXYX2K6nGCC1OYkc4K6WC8yduyMiqPKmezuISIQud3ezKk150p0IwYDIxfPjoJ/3TfOaMg9xA3IOLb4uEzefg/5noaUWdWyUesUu7P0QefHNwWqUvSohqMeYmbjwyuctqHoXOMnaxzUNFTxKvak+Ns2A/3w2jJ37c9s+MvZaFeoi9mlpVHO6mCN/lq6kyacASiU0Wu154vsx7Xf8SnARhsvbu0DcpGiyaqphirPHsc6ubU654IxUv5BNyxeG6Yp97/mgGit+24EXirtwx8+kqEtxeLKzYINeE05Mso1EZgqWo05Vwe5n82nbuJLUfSvOs4fgedEY+sy6tSSrDJAxGzJYdua7vv1d94y6sutI6qARzX1ixxc64lOcchRNUhRslcsBaCHEAqp6ciNXmQJXYwKVKEhZnK43CyUNEZeyHGpLo7I1LdOxaOjDjzzOXvVorxuZ68S/H0oJW49U0Q8SBQycF3NpI6mnzJ3nFl6ze5dOppo2kbiSct+r7ygIJqZmlknUeUvZ+V8MjdlYMBwfAOkbtYS2XanjPsZ88QAIDyynPho1T9HK64QuMVZLue/E7hkSFGLPFC+nvSQrJ6rQKa3T8kItX3mIi5caMAx1JSz+ANWNxLfNolYXRVn4iQi5oDA/NuJbB/vaVtPe1t4QDUgoez5b4hPCNICOnVAaDlk26V1n89CX7S+u/7WatE3H+MlEW1JSNmCfRV4QMYdo0g4hy38xEjQ1pmesqgTJbNgYjIPue+pXim2JlzONNjAaJYLgvCyVYRIPEfc1zZOd41dz11oTI1JtudcXgjbarylCKQxN2G4ZN4aJMLjsgD8btLthleley2DIpvIEGX49HyF9287zg3vO5qBvr3TEb7Ta0iTzoLqRLmxGOtsEywXR9kp9sDg6jLqZ6C7x6wa6qdPlVvrG9nok5BCI621Uxls9BGOGfZBZa53Us42ITylRX4N+YvJFaE/h+BLt8jg3ECVktB0/hkcxd4Zvp3xuhLbCgiQKgoyfzHNGl12Lt47tfXMZGbT7sBYUQuSkw3P3rSJvWixFaBDgn96RcyiQCa6eD+3V73QKJhN7pFFWUR+1/cbpbJRi0X/yA99gnr/BmacF2VI7zZ2z5f0KpcFRPRsrO9v5+WkWKRrOFj3hAEYcxxOJ+7qGz4DwnhhBLglXyyGlqrYd/D74ZvEKwXPU/G5QrPItp2SwOxBGc7kfQ4hksBNagoUuS8/nx09/1fHMZXsjohGfUrHo6EtpWOMpAeJ5t1NuS97ciyx0jAEVm88UpBBxgEIoshHKSrgDIDfPH80vK5ynJ6aJeCTN8RmZM73TTTbw4YFroAUT0QtENyyfsymCQpS8izirzL9dyicPqsCOZISF7Uj7GIBTNLClTCDcoqKkrAFuLZ6+YrUCfjei8IYRRE7wxGVLA+uGcfySKFCIF2d/VEzePjLNYUeglmeTRjB3u7oJ37pzxS1hhjVK/UVdLs02F2/zkEAiVwEKKLw7K6qv63/hnvr0DMzddUbB2BE6ohC6LM88z86SNydP/KChm2fH7oNG9IYnUxdgZzY6dFMihdYRwPEyJB51Chb7nbzQXr4da2W8TdMEztC9olI5vFBNUPjdt10+ymTASmKgM3miXh8fug/8KXSkyFKEdbSI6ioRjRvF8s993CQ9qE4KSdG4bA//QxWlI+ezA6pq+sv6jIYpdxw03MNhOS2H0e3cWqYg5nddmaDy1XTKrG5XkHie6yfw4hVJMU7YqxxgCcBJp7OZXVCJj23PIsfMUEitrISvbKsdiAS97k1cYWZYFW7XVoy/fA2B5OML0lCiuu7e4aP6R4lfctWEqN80hgyrvYtLFfiuIAYDu36u+HWDaYPpbYFJjxWpAfISOsgo6ZgZ1CJniPvvVIgroKIMiqlQ3sN75N/fGMWkWYbzWMUMsOcAbcdGtXkChMWGcyXdTjtXcBKvVnSm1PXSHm2VtD07ew7idwlccgQ0ZJzmoMevmZNNosI0XaUQPjd6P60mXoM3hFEG/Vxk2EFmzjiB3VO2s5nME9bwvW1goJKCzuIaMrsO4l0T0+5gI+gpuZNP3pdht7pZVzayKQzfcyJX8kIAwTSNxqbj3yR0MU0UDHyCTvCrSRaSNjFHkklX5aBdftTuCoPh9Xig6TYIzkqsjSJivfSPBNHJALfOmsOH7tcEGsHK1nElfo0ykEegUF/GpgvO2jQtMIwZbnqUN0WpadhUVaNQ0DL2ZI0AnutpAogWoDeCcTslohlgvaNuBVlViP//BMWyHoCr4xzzO3f7oj0iUUJseQQkev3EoR1rVlJ4WUxZzZZzt/utaL9eVigWLYV0iKMXYEe1NSB9MFpw4rtCSlflxb01r+7p1W/1sH4MZ9SSmvBthifFVWcO/FFR2kPhQRjDiaZXoThen0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1h9D1Z5GDtPW+wuCTrU5cbsTyeRnoM7v2+KYfNB8pPDHY3/N/nQDLg73FVUjs5JX80ZEMdZ5aXYVE2SrM7ljDixtoKhF4R5tzsuuZUVsHAfnOUmJYoXbjyORMu0rBOLwSL/gouLRVPGLdb2g9vLWoN8GMV13PWPSnrHZ1xEkoSNykYDfDL1+jY7dTKRR2CEzaEPGYUT5ZMznzlQBU+aTFMFEVhnmaSieQ6IPfvCDY/2ePvBR/O1r8gCunmEDmNZQgKhcyMG1hOvwk+pSFEaDMCZFpX/w0ZMe/cgDgCb6Zd+G5gmCH1vX9rivDHLktAMHXsSIJuLQtO4xyhSpU3qTX1a1qK4oVlGD8HRD86GAMSATe4ZcKOvOlt/bNa4hdpVHG/3RVeeB4/LooqX7uu8aAFfjSgweoLZJDaseUi2wQnFUUm+5BDjCztGhSWhZU498K0JMG8snoX48ETRUcwjrP91FuGuzxZ/VUTao9ywuGcwtJU3o1Kfi0Yc4xgCz2G20APg22lrvQQdRhSZhpa5pdixpX5aV7J2rWiW8WUJ4+D0ouWJgLdFc9c+BcxLGoL9PAgUg/y5ykOZlODdfpmDkLvQ3gfN/VtfvFzLkEm+JKziZ1stvB+bLnkXYVyZ+8cA9380VWhFIIQqR9turHlXMeL/91nX/Jq+nv9Lg9KoilDrUALnjldnihcom6BcO5ogPqc8FM8fqzF+9CNr42mfPHRL9HVomo35UvehFNtZrrqZ/E0kFLNUp1Q+Mre5eWIioE5+2O29yx8FFXKaacXqVoglNTWQRZJ1QO9IxaCi/QZgpNQ7ueywWfpIHEBg16yuZrg2R+2RagtoPu6Lu0rdoqRSVI7vMOIVxGmb7t7StpUGPXSfqbFHEa6p4UjuFBLUN/Q2sHAtCfYq2kxLEmVCKRpBLavMB6sx8bJb/KBQm8grftD9gynUMYrLHMX3H4w4x7rnskkCmMhhM8fXIiERBW6WJvrVnWuPt21Wf7TpLUyUseWDpic0gM5Is1yhJ6Za+QuyhBS1B1AxQeQ/P389BEBkLpUyshQkNn5TE2w4qb7sUoyRrcBcsl7j+RcKPKDt0Cxfd375wPZ99Z9qqW23kyg4o3agqZ8/JCJ3hC7s08c3mzdEsBOHYh+uuAkMmOUtKxq5eUjMwjs/3eyidP6S8q/fEP4kDhmHawJ0wkP4fEsnm2emH8EyXNEC220gmp+rfRfuANSJZFrNpOBO+Q8+e/qU3eDfjcWdD+dzrLST9+10tl4z1zI/BBZ6GYRxctHLXJkE4lxgRQBCzgl/o++u4nueVP8cBEdKGZIWjTnGl3bzhWdb6tE0fn2dMb1qUmuN63hHC6HycdJvavig8Ivg0yowU3aL82HZQLuv11Ci1Nf8Spqh4CeMd0hRLCf4+/Rc6JBe/XmBrGWwFo6jXkH+6w4fmqZ8UOflVhdv3dsSZU7ahy4YLFkIx0pcgYpblvWEvvaP1MyQ0wRPlg/iLGIrVa/18F6sDGlVipgGZESxN1T2D69PHIRvaU5KJ0E1OpbPt4OqhWhG3vT2737ku7S4dfNKxL4xX9DvbNLIL5bUPxYlFVT71fChWpNDifatvseMS6DGFJ1N3WMMWpvE+CXIi2WXTk5VHy1mw0Box0MlfPMiMZ5WOZTIsJkDqXOXIOE0GnZdRR+IU2GqmMUExhea1kZ8ktb4mqGS6q0M7xfw0zaEb1AdHBv6RIA82Edk4yr57kUbvO84PZzkYGr8PBIqFyX4CC+hAFi/qXhyewNQOADrnqV/56b7p6cF3MjyQhVZh/AOGoeRhYH9oldwwWKH1GoC4/NxwnfoR6EettFKWiGIpsKuArscdLfoP1YoMvpy8DEV0WTG+TtUxoZBFmpcM8HieXCKH+IevvO/OXViV52uUPPf3lsgnD773WuNKBrNgkQSg543ez7Fh7aVqLsG+ZNkzLSxVGEW1zBIvslQsO22gLwu5tarMYQLqQ7DdsxveRF8m0q04Zj5ixu0FUQ2Kph4qaYSfL7zZUPvQEm3FwyoBbSDfvR6IlO5ursDKFOheEFI3PfHl+HPv3b6L4fWhHdtNK9d9mzm76fU0CqWusdNyMaEFlgD87MbicGswcivrrDIocoqWsP65W9DOJ8uvLzITOaJyTaoY3rYtg7Yi8bx8wGZRXIU+obyf9HYfx9am1rdVVTJUrOSOmVerngKTBa0YH4Ir/yXccetk1dBZnOleCDY5/oXWpw8eRdTbyuTn2tFVye3j/12ByjjXOrDaEZWINIxXeFGL70jFF5+/aq3WbAOjhLIna6zTKamVZY3s5zn4ukMJ2o89Aq5VBHYJkpP46Ge7fBNpMvwN3bNJBuVdadBJz6xq6iD8ZSKGd1RmXTzzD3SbA+KO+h7dwqiLc9imJywZFzT6D1m0DLHNbRI5Mdo8HqkS/t+9rERN0QmcAmK920hOHDtdVj3ajYLHRbDRgW6q+n/kXG+ohJ7uhN2VEi5od+L6M8n3Qerh8t+bahW0ox7b8xw1wrlfE987KtGR5mbXRLZ/zP8erA8TrHSlN1fgPn9VkTkDYjvXTZAkoY8HDcfhPFlOjWJ0ZpIaTk9s7BkF+MW9JxXXETW6Pb6GIlbI1joMiW3YuQ0noM0Ifc3SnYh4J7QGPO8Azm/NNUcrDUZBb6fcHrKAsxJ3OdtZbkcH+xlNrr331GkNMr1tBAy1T65twW4VcYAxCL56mgIk60a4wdZhwvTTke8Ziutr3om5xQV6+sGdXxAcuNG+YjAPhDROdD4TJhA8iMUEznGzdanYhUj3d60Q4bfBEuckC3jk1OzkaSBeqQYw9cMpDt3n5WzeqEmnNCKf5e3WrZ/A6g2gb7DLHlVVhMOG8q64KSRDtwwbapzcoYb67aA5zJB6LyNE6REYZlzHiZjOcrzT6ytU2HcqcTuqm6JEQsd3qZ+EhjTlXKC/K6u4CFctgK+kdwtsiWa684KEm9iKYmKa/+GqqrQGO/hFdBz0XXU9PlOJMxP4oze6uyizHlIhKJXDi6/cCCtXbsRI3PN08i0wwp/IOJ5xwNFFOKN1TWCNOjV+emRaz7+YnglokDG1ghwwTBS0hDuq72EATE7Tzr8fEBpyAaCp2wFRRhPErRYPZPnqvNJ8pPLK9PYFYHP5q8JFja1Zv6gjN80NB0sC/bmuUF+Q26filz+BjLxqq5GPJHnW8JTnA+kHBT5Y2XOSnU7/3Vq3+X35FFRx6mN/O7CrfT8Ath8AckkAR+sUFkNGQxpuW01+XKpBa4GfpAV79TqNCcSHob7bAsMGogQ5oWhtqY3pw4kWLRrHbZa94YjPADzobs0n6tKH6mUMSMsBqS2+uOaITY9nbAe8BOX5oCsb9M0jjnG64eMgXHnwc6eJAi3Q97wwzbG0kVlfBdqdkKK777jWduOHXkyZeYlLd7kAe4wCTw3UdqbKPyJGIDIYnckyBsCkR+TDyVtzIerch9jJJNgfJ+0SP/6nKRh2jHFXfKPKcwdAJqMcbFVISa3yhcv1qcQ9FG2kKZzYbwT8oU0+qR8hfzfQ89h9hAIldzQfC8NGVH1VGHzWleTDtunrTG6PIVFNgURste9iiKnxTrUULJ+vCV+ZrUekQ6pyTjqAY0zKyX02G3gAoB12TLKusQXKvKoZp9015DSxeBhH8hEzaBtvf4dtc/FkodKy/Wpw1d0ZK1msa2xNKOV9CWp4iFlNvoSRaGLeR2q5AobUR2uetGeZWACFVE22cOZOPESVW3Y52PVFvpdXmng+Gdt0Ux7Nd4ocaSwTTSnLwGhEmM6xC8cnVXe9v30IyS2C2DZxSrlA8pDlBNtFETP1+3RJtMJfT2CNKPiirDOnTA61quxmiahH7MejTuZKwzNXlrfmFYOqk1ln9ZTrXA1jgwdvXvXq5sUwLA3rKzfyFbxS8R50FxEqrcKWVpYJc2s47pTuCE1Pj1CtA/9Ad5S/G3kmHthvlYOtEWGNdnH3EIM1sFMiCA1SzF16YEBYEWC7quIxsz4ti+cuTz6UECDIHuh6iEXhzakuGEMDpl2SwMn1mN8vDremZFbmAfsZGAsz6CpP/mSv+vKFI2ctXTHmK2eZpY/Pm/9JYitvSccwu+wFPROkGnLR7gbCJbkpv0Rz5SkUdB4KJzN+kfrg8KaKGWD7xqzXXOGcG3cwo9lhPzZiF8cLJiKdfsKuuTej0A/+fr1ZdRtbkE2yvSzDsEM26RdTb/lWsoXpK5ekW/aemcP9prTAzVafu0Kk7Hw7fp3OojOQIEfXP+lrOQMwzyNltq4sElnitjysyslEYoBlD94IiJzhJ9Y5zlc9Zyn+TIo5tlNFgWypnFx2d8yMP50iOI07ljp6UGudyD2AXp9G53GgCW43fkGJE2YojQFc1olF8ZFMJienOzGFSe7m62c7qPavI8sMgEUIhtDmGGH6ETFtJ54rIXQ0fOcVCxqneQG5uU6ltDrNCfM1UUx/sFO0JcQ5KhNkRFKdMf0ie9Nz3ehvnu3Je73uZ5ORomICfGLeM2BpFms+zvCBFiL5OA5jF1V2m4oGAtGmcZLXf97kYgl7AVCq51Jqu29wJTs3yh/7Ng/2usAAQ/y5Xse0GlAt0jUoIr6sEEFfzmnKxnoe7G/6g4mVgc0Lw9Z5KH/TTdMcU42zK0zt8kO0rlmYvEgvcHRcqK89n0KHDRd1QsEXeuCLmfmPEMTfNVCi0OYCcIlM89Idu6whw8eXU4RKxEg/M/eAR8V8sNQq8gvsCnXMD0T4RAxVMdFGRMRJ2VmDTi/o7peAsKegSol/ggAJR+zwfxIYqRtQO9gUaikNhSMe0DWQFj4Vr93EKe0OscfoPmhadA7pw11WZGiCu+12GFDqsVzYSBy8wXaysCF/XdeD5hvQNfb60Qe/18IkvdT668ffKOqjKMtiD0yTKNPUx5D0B3FWDAHoYrvatlNvQS/wi97QnCqxNbi/tSMdlR+5M8s77nk3ZZXbB4nsOUdRrtLAVa4jf4aX0Aek9opLpA7mubhJFjnW1k8qq+TR/dY/sA7BMLlnp3O+Z2Jpw91FfPV5i11a9Ro9jMTdunVd6OjKTEOmNBkbmYFHJpz1h7UitqEaqtUE+v2J6Bh8ClB5c64kBacwAF+glDMJPUXWNEFIUx/51xB6f71iHq4SEsa5Sp3DS5Cmr7vAzJbSbbC7/8jesNvRPJt9wiRhsQesX7D96GPr73Rhl2IiwVNC1d0mfcHqP/V5cqNnAMpHe+ZbvJefBPF8IwXx0QQJUTM4vbpa9wnC55g2M1zukJF00EWyuOKNYoZKOjennHXxEVofNpSK8/ExA0rQhId/LRAKNUV6mI7rVSdBq05BGBZCgFG7XfBx+xi8WXGhZe/BYLrClhgwa7ee10BLT9pM21b8ZAoy7xZEfOWSnQXp7rtlrh9QedVoL8Hu0mymZ1vBOpmNJIQk1JqI3ZBAU06TwCoyPMJyvbm4NhKxnvmdWSxvZc6abIVjALpQtXC9Yr0MODnBQViTVTCc2u11vAoVfMyyLTYV5yL5MJnZ8nfytG8UgV2fV+IPdMsQKjsM+zguQ+TEYFDK5eNah0WnpsymJx2C8wUqlxr0QRLNyMUmpsfLKUCggacbg1EvSjw2IN/RXBnPqr2rBleY/0lyVxT+xntQuCN+S+d/RLAgUVA/RG2EkgCs2RTQMf+A9V/8ssI+7Nw+63nxyPcC0/htoE6aauZwWftZVkaJvNCczS5X4paGEkdlFAqHOKJNdpIMPQxORTiqYBT05lo8PyU2NepvlsdlkUJ8h6WXFO2XXEPWVWvOWxuAB3dK7BqSwMoKOxp/2dJgCYoQLK1+7ftiZ9akQPT/kvIkif8DRSi/5+e4FmsXV1bH3aqTEI9PL6vNXs42L2HOvhFOkhjKb0Ub93+y7opmJ1bweyegDCOgoHTUqY1USGQoPCZxa3NMBTtrroEmAq7IyLGCmJn2DMOGhFzHIZvc+Al7ruoHk9Y2S0o61HWMlVSNx1MnQOFMGRtJAHT9D36zRYO0vEzx1yT9g8Fd6ZiyTMehwIQhLmr7Ed8CoVXmAtdDJaQXOymdotS2v4PgcR18KzXIyipvgmg/d0aSe49OElNwtUtAVxZhRsb7TlrUA2bOuTaT6Shh5/lYsIRD94AHHvmVJ0FPyuwSlhsvJmwa0O427QaYtBGPJBCBSzsvK0YNyhWXuk+3llnvlu/EbEGIxtEAL3N1qI/4HxJP+xzbcj6YcjJnROJa24tGURAzmhSgFZ3foeqgWCUym/8zguZHAe0a3ZNdgM5aeAVF2Jyu0X5THCUCV8l9dzq5EApM9F2mmEfPZER54NeIUqQyF5LRC6jnsYrl5nps+F/k1PRKL37L7esvr+PEhAY5Z0NYvtsDMSDrjTiv40k/5ixX9reGDohY5OxUqI81ryUUlLakKCnzgV3PR6c+nu6MjI1Y99AyCr07eprF4JOPV3MkD7NMISjV3RrgFMtdZpzJufylfyfrEeFdIHQaf9J8zodT0vJgh3BcQcxcWJ7HLM8FdO1eZheiPrcH4nsvTHdyIK6p4tgt68TSwha1rhj5aIRUl+x1CQFemmfIRSWOg1Q4KDNktVKZUUMEcfTFzj69w8YoR9p7fqxnah+EIEPNBd1dgq0NX71dT9kIYxugMq+wfxLNnQyDoGoJgSHtKaI/3IbX4T2nuA4IvMpJPTCGXIxOesvPrOf4QH7HDozuM3u+Qsvo93xp31nBykpVRf0suz0sQ6KbX6qPyGr51ncpspdtToEJBNTW/04Wk/jbFgzaAvifo9nN/j1vPnWjmLPIVa9jo+BtzpemXLzquvAd1Wh21XPVw7H9cBMlx3+2frVUxR2XzLPqqZGN1ej6ntRxI8Qi0QOg2iNo2CcrIfvkF17YahKGBc4/U+9xp3U7Twskp2VnZSXIJ3/cJFjh5VY1RkpPaHQSfmdVIHohP9vQkHeIDpcVoSQRBzYivgUvTNZiQxxQepDtZzoR4K72+V8PEBCuVHc6fcuDCD+z1s+GbRVQdrrz4d+RRfzFVK1x2CmvAm6P2cbuH9MAwbvav3hJZYDr5bpji097PV6jRf1n76aqHqxHyZQ3AMo3a6k7ZKU/3cCjIAJk8/f8X50zyI6KEEtfxL29NDEWBqoMOp9k7kkUpiBEz6vxdBgS+njdOTehdtGV/jXvK5xKjxaXmT4JRuL87rav7K+cQpX/Xoqf8Fn1cp3CoFqKKomIAqnsvzp6HZwMps2OmxwmUpiugfJzKSIsF6j8NyCAtka5ntdQs/WVBS7DQ99P4EyLfGNfjDhLakufhdPF3W3ZVBIE5qGpxiSokaM0fTxFhm70ETnVplGVwEpv8c/e0IVUC89h9LMe2eD4h+XQ3b+dNB8Cz+JIfiYSYRU9i/kX/jdmBcedLqzku+sJZlToPRZGxjrJVqMjFHV8rjqgxRRzHz94F5TIeBDOydaJVCFVYQE6ZL1Bn2XW+kdN2PMCDkH+Lx1bRVFI1DIfM06V5RUWz9qBF/0yeEPeKh6rZJg3HpQMSzHZUz3J7WPCZcirAvBVIM+uwvuJRBAZk6AoGyQ9L/MNC7CWFN2Omxh8xyHwvwPt9reu8/Nk+VoKKCDA3Z2b+uClO0c4qvWNFs50jM9d+fukwPTKAl7+UrXLSwOXgE5+IpsLmCP65eynfzqP8ABogPl45lqmLO1sZeBX+2Cq59Rhe1PeCuUM5V1q/39zn4WzqzDhowsBRT5c6RyMGZHcu4SeLkhcTLm7fEar2eJqBYUhOQmOx3MgoBbyj0xo8SO+swRykaCDoa29VayU2aOLDN+3vLKQRXaWvc76pToZRIlXeoJrSeJ5r15O9JsYkz9NMaHkkO/Q3zS3XqwrLObBbV0SkaAhHNkVd/1dauVEShtPcWY3n2hLX/Uf5fWj20nnXhN6kWI1GqWPxWz9CK/ci7pRGN4bGiZ+82rey+8aecFIbs0ueBnuXtTNctGb9UGDmgd1QM9oYWwdek7wPQT6Xv12eowmJaJ3SdMCNKdAeqV/CBOb9aA9v98xIrBR7HDb3w2B+N55kVzdFoTh7bh2nfjDWqiVKuFox40UEmaU5KRdjlqab/Z33isi8qyGWljuqSBcZ9vdWF949aXEbmsks3Xktq5mISPWe6+f5gHApHSjfFjw9QO1iI065aCxbpwJigUNneI4/uiEb4ANnm3K7zD9MKtZ7HG+Jb5c8MogVR5c0eAaXQIidKesuX39kSni8vMo5xP6zWVapboKrR/U8QLqwp41SqPQHwqqoQApyYOmDc0VMEM+QPTIcAjo87PJ4eo5mjGrYZaD/d//ggsFiO6iBZFpN36CR9kBQRsTTuxiwBRYvrWDuMZEbvAAxnHRLOkL7vvxwmeTRER7q98SuMo4ZAajicrWrWeQP7B0/x4ZQbqHsfyOie7h4dsy3h+O5xKJ1vqIystIpkbCsPObMLA2disQCuVExB3fEjsxTheg2P2saFYQZTorCfF4EspcHCijkW4Z02I4ptehNr8kfHG7/LVcZvib8Dcvp7UgSfaJ2GRyFj496RK0YRUMjP26Z1PhBQ1j29AbXz/nrQBnz4M6hS+FUbjRUvDz4TfzMWomeXgYDx/Yv5gBJuDTaXF/2HHEj4g9ZrhCpoZ/96845Zz0pn/q/9siHixkVRccYlvD5o1Bpeb2n7qxC+z2RP87CRP2aYe/DLTb6DjEwuiyK5aZ3wduGjyNbXQM/oYXOOHqtRDPSBFvTDvw0ztDAkwAdstp38jo6ManBjgP8LW2Z4jRxcya2zHSOKLKYUFPcozpkKEBTUCleBTWg9dJORhdcDK52sgKxU0Mr16Q3BLKnZCOftKHAUEEIoqMGTw21FJvhypKkKbjjV06rzeDjAf3wvBIltn5PjHcSldbvoEfrf4k75aXmv7sabrvjNtLd/V31DJtg0ngxpDnS1aQ7DjAA49UuAwt+qkanKF1+1ywLARvJLAzmWNBhyyX+EQyB351/7Xbk3bWfZp+daaILRHUIq8pLQIC0Z3dP0BMwaetnzUtZs7X6MZOQ+855ix6eLYKz2o90BO6YFE4NLgPi2pVZUU15BiyXOz99TglUUcL/QYq5sA3I1xseexEg0fxg0AxOUEzkkejV3oXnbfzc2GVtBeUn1CvV/pV7gPNgzmDkiS2LOb6jU67pAXoJfhSFFbKyYMJ11/9+WVnlbbYsm1iwtdm87uTXp1gU1HOwmVuX58lfsUCT/J2rc3riz1yTFvcc3PJRNdytZfIx8aZvtcx0qAusBSebk3IWLsdcDlpofwMk2uBuG7SBO9zvmhTWGbpDB7ah+8dPyoKTNbCGsOZ/+jiFG0OuCVh0yw0CGfO+C/Z9/LeLyIFtK7aoCYtqHtSX7+6olp19VWrHelvfOzdvkvQtuDbmPgNXlGBuZmyXJp149zlv5m8XS+oz4gmlNQf6PANV+xKiHPPEyCEixsvk97QdEPoi6pTKsMmSD/Qp6qWfuzHWoDM2hI5KLM0IVtA/vaLtb/OxlNeERVK8CnUoiXxwiNmQwe1HB6KSb0oy4VplKsK9kpeggpWUMBmBDfqHGVr0YzFalr+3cS85J2mNuBhFCTOsLbJj3gQJO7DF4XWWikUYpcwKTAdfhKokK6FvqTK/IvcBU8ldY1iSeoEUuHKnolzyGDFNjbcUGcvu8Hf/i1ZWKC271geUwjjPsSWDIwUM1VHqODICDmjANeR724JmfxsgCp4zIByIweTQDfrmlMldTf6s23Z8pVj3Zmrp7JRMyyO103CQU3JksY/xD+XpTUH2SE6INcDpV3ibiPRlx78nwxYx1jgNgzMqMYY5MHTzVKZ2nZdUPGHSJgiARrQ051OCQLHuLAfnZmguET9D0gukK4JC4a+HXJznSrnO9ujSUnKUffQAcUKsQvHGGrua03YeLnfEqFfgg9nefDlLprdDmdlae92eWsIgpY54qNyYkCp7RtF6Ayn14Eey/OkqHk9tnt/5XSdm5gBqT4jiKRUmwnXZt14FDzyCoa2LTxhiRrbnPXT0y0qPOhxaUSzIVecukVt9tbfdY897m1rdPVyZ/bZzP6qoXpntcINS3T3rsi2fdnnTOZM/R7y3kQgfIEmyqtPaT+jpvxVAYEb0IIOtLwlm8B8m15fMQQLZMFgS3kQcKJdbawTI6DIbEmhPz3eB6/9vJqiccQt5M9j3rNIgcf9KloH5/2DRkio/XcVqGM7UgkUeri+GGmKaQYJKHRhGKv/obKypVEC80BGjb5V9PepQSnGP3Srp6YnfVocmJJrQEOYv3J7g12GQEvMMvrIDe1qMD62vlgI+owHllX0q92TGRKLYKxTgeZ0bQEAwRKhKNLwXgjPwk4M4Zzg24XeN1pQHchI08KsVucBjW6vPDafS2pORkbu1riLhQUse9tAFc3j0gjX0MoY42tG6sUBZ/TVvbVcdtL7FcqQXzsBWjznLikr3qL9mX53SpGVQw+RCozOl8/oLb0kQqFCfJFI0SU2ehbZUIcysoDWyuqWPXsjfdxZz94zjJm2ivuEWuKASbiiK2SZo3JP9XXpbQF7vwfYRV1bs7VHPY8miqQtsRyXk+BU52w7UDO/dpswq/yJCvSRTO7JeyTalH8KRHr0tKf3A9Q7CUmY2zzGcwAYLGFxI6L3pMnrz1mRLYdwjZDGDxMs7dYn0bxxDcjZm/jkvqrTnagv6HL5SQuV/dWlUvf0UxuRUrRrbOCHIRwy/Mq3ah6seJ5HwRD6wUWieLocIWeiQiRXDmmwTKki5bbtsiNhTAgDXNM9Mv1AT+tf+vC6Hf3psw1maYGFra7PwETebaywoONndrnpswape35hWi21XoS8M+vzZJomJyuOb0WF7ewdF6pEy48nY2czfb/mFYGxmglNkJIr5DdctbtKGnrIsaXvs6kl6JA8iE5LV5z90q1YWNTFyY3Rob/MeSXP1Qa7aJbOnjckdgw2qIXBPzbCwwN90N5k9R5e37dZx3S/AGBXMShDN7yy31V0U23du42nUP8L3XDDsoyvNo6vCVNdrbA7QSma0RKwYgn1/Z0gQNb3Nu9ntepGGjzks59o0PzptunUIwkTNoU3yBZx3YbJRsS7b+sfpck1DRA9MuPynTNwY8ueLkkmWdBANJuSnacQdmppNY+ZstwIQWOw79vKr4quXcevyPHkm0oZTucRduUYpsNT1/equj4eoUCM+mCooVhnhQzCqfy9b/LairrV/u47i7iUUMbg0codJJ+JfCrh4zuoJ+e0Cn8Ipso31FXbZMc88MFzMtG9a/7N0yyz9hWLICpcRrirndAm7T9b10tgB2XFjYzNksOJ1RR5bUeQw1/GFeGq6rUukmVyhsVhp8MeodC4R5HNUyLhnPAopwlhZKtkl48ySdsBJ6+YV519S+c0j//I6q7LZdpHcXeRpDnc3zvGb1usti6byc3PafjrY9SyAefSKSTPBEq2TSiQoYn6dihK2H4dAUbWAVDBfaoIPOexo6enUy+BESN/Tu7uUiZpD/6bwoeKVTjdBpB9LezCznJwkvnwNWKfa7Sp25rJ+H9zRPCzeAGO1O/tqmrgEXWvlFyIiZkQtdM2cYf7S7wjeKhPLiaXmT3bDPXsaQDnC+9kJX5R12XsrxUGh9cY83SpeUAU0XiEGVS+vvK0MBEdLFXHAZs78ey9MO7QApT/0ybpZlYQphlnPjZjsVp0d7aWXz6CJMIWEnq7ofACQDvNn6vMaYBIF7f1sACnpZx3I4EAcKyTQqO+CDfm1pxu5hKNXWnT8kEK3BW6SkW64J7ZTyUOaTTkK/TuuLPenRqiiBKzO6DCVwxvLAu36E7C/itioma/N3odd3Lg0UJQ3ZYOhOFMD2EmZfSjyByIY0j8Tst0/EsvNC93eobMrZX23aM9uJH4iq1hV4rdO4D++gfDOiiPGQQClhbnS4Fl3SAZKGgcdR0T2AFn69HwdOhit8gW78JCBd29MESynJs32+HHiSo2zGKhPlbmiaC3jRJ2/5t9zs/L0s7yYxVvJdPtaQqjh2nXuDbnr7B6gO1vrdll/BRxUntZYBjF5guklNHedVJFhpt63m55bywrlEOASmlJoTedWtjPA5+wN7nQhjBOvMILF6TFORwyNc4bS9jZWlVoVl2IkVawLrZ+Ez3PbcZ0aDhn0CFfZzbgz7HzV6XX8Z5wbn9KnNvCeNLx99Anfu+acYUiWL1W1fODUips94yB5JOorAIh3z0ZlNoGJJI6ww2Nv1FZW6tF/y68JiJnZfXf+O7b7GJaHjLVkHgv+M2SSjO+bsfqaqgzRhftddl7O4rPVQeEPFGtEeKPi9oFoEs/KM55cAorCTab76Zz7pxeDQ3f7a0tPmxrOLCM0Vt4R0yEmBIwiXTrUIdvFI2qhJxsPR/jKh+nKzrxcnH2Ul9m5yrZgyLhf2T/E0kH6JiRyYwwfxVGPG6u2xHDK6tZyHnq/qzg9deu7salbzpP9tS2clFsD/lurd6oBNNQPzBzQbu/X6QfZe369V7jwokLM7ifyGE9s9knfo07xdZNjsbxnW84n4a1//CF6PqVHNm7XERg0RaJXWjixuafxI3T4FSdmood4ky8hizSz+WXDZgNjF+S2X3X+6hFFMHOREHLl2b8CFL08rs7j/sSzygvJdXo5cKw98si+ie4DLLdmXLSaRg6AHALIZ9PPEVmDrENbole/oxXao19RvLNLGeSPv/cRVIn5RABozuN2RDOEmlwjC6dDGCcOWerTAW28EwGh5gdtn+f2RwynY56YeIjSgeqMfNLLT5inIXGj9Zt4+45U5HqLE2mRqxl59XlaFu1paWhLDw2Xfozi0fM80x1GwN7ORzuztNk1a1yFeLuljn9UfDaUDghiNOJjwWbgc7VSVf7z171JvAiwGhRo0tuS8Hn3Y8oCgCr0i3EJUAA68Si6HspCEcpYXii1UmeJ7xkivvb5iBfUqCkPG/ke6cHHfv0i0F/jFQCpiTKrTKRelohXF7XtETs8cF6gjUmOZIfgZf6y0vWapbTBV1rXgPH7HAEfw7V9DKXH2E1nyq/6mwBJDWezYPKaCbXUu5T3yXcOxmzvzLtWV6I7D/tuNM8Vw+GRpLy/gPg9jC+y+oanF6ZzVjCbAbHaeBsWbw9LVqI1UOgftULVMonMsZIm31T+zcSuHVLKv3M+3iuXvI18ZfkbfbJMkMbPEYIu4pacNARYnevTOYPx2N/ApBp8xRnwMZoYURt3qUpMllfq+sElasKFVZfQz2X6s0jeS3TFRWk9oXoJlEqAupFaa/+7r50QKT3wSSADFl5xuH0cy2+D+/COd6CdD3wJcXEqBkjP0gGOO2p3Jog3QJ1bq3CstZ7JSrtQwQGQkem5IGxIF5D9hbZwjqBxDNabwhzeJoyw75M+d+vmBI+eSaqQE2NJXOsiZNcIPNmM2IA73fJxuabCnDiKtZxpMm4GjS62z13LD8seQcR27jLmoLr7kXAJct4FeSr4kLoIu3dQKn7jzl4DD9ohZePkwHKjHhKapMuQEbeD0XbNyFq8zvVUBNcu0D/hgA/kvdGggKOylFXLKm5ryX9bjaTgkLIST5yF6T5RxPpzeLnmCJYf/MtgH3JzyguVnAL7vxak8cv2sAJwCy+rkP+VihbJS/YSQD1qKH/UsBkYH+VpixNWzgHOWTgR+ngQ0VI/E52eGiSf1VKvVx1yeOrwoigK4U/H7vw/HEMbzAGrLMVDpzLqFzZTo3xMO8SFBI32bDfmQgcwR63PDxyvKqfgtGMD1KIDmaMQ0szdrdg4XwJ0cLadQZNtJDLy5QbeSQsl6fXMgRjspcY2F61yhTO8Lu54Qbp/MTYZwzOfkDjMzeSjE6lYpCng+hsmfOEd/XUYkpDNsg1QNHFWli6IdY+2l79r7d8Ve4TbaUQuyJJgzrpvzcYxLQFKr32tmc0LJfvY9S455J/DTsBTig/7HGn04ejMNK48Q8xB1ph8dktZdUVkuzsDuVfuAmaDFODyjY9IoYqVf0+0JdJC0Xv9Nv0b/3QYFi+iUrLAXgUl5fXPqKHgXu1PK4bLNUTLMR2OjLSmkpYElkMv4SDftXhY8S1Ierkx+Zuf1P9ekgIxHOw1pTYf3Xk8cV2q10Z/E/dzCZDOiEUoTHv/pqr7NukbuRK8uCuqNswKMybRw7kpMWmFLWijjCTmSeXsyO5UieT/WjkkXSTN5NbWNr/AUX/T2gaipXRUjyOtwHf2phD+XNMd728vY+fTZ4MZxwAPxRE2vv2jJ15VirQUCqsPVMXWI1UibMp/un+r8wNaFDylAzzoXKx41qIw5MwdCmLBZgpM04RbhSvEFKzDD7ciAjfzdbtAOEvZ2yKxBryGN3SYCS9B/QslYa9kt7wst4j2kb2BIUgRR+phJAGM+pkqCI8+BCnWYncQOoaRuEAr2sEOU5di92CJdNt6WN7ys9SQZR6F4p82OFDiZjLxnEceVLEyd6rSiJNLvD0rOcaaur7OLv+ILccXyc9uN4Ug7+OdzuaHEy7zv2s9UXpzWblH+nOfKKAUR9Q82AyLBeCLNF/E5bO6gQfktmtcHz9kIByiYYv6/zwGF/36X2YqD9g13sMxXDNQdWsIMuxqwYa/i1AACrtKNrItWkP/yZRsdnfw4fSizUxQ9hC1kXiU9GGam/srFMKr3Jd4TLdwepJZr6WeObuPd/V5DsZ7n6xC/XRXhq0X2tFu32C1UUkuIJ+HPCsSnZF4OgMLCyMyCOcfmcPL46Hl861zAhn3X2QCGWqso3RthaPtexvOYJXJP94Gl/Nfd8d61R2n9jgrRyDie7z9yMTDagiPqFzNH1wyVdSGicgkEE3Qv6BZJzCLPL92Rwz+QXpBBtINiXC0hftpwFdAooixwvnvvR07VdsfLQJITS5Z+lpilV8WNsmG7YRqvWQIHDEMdHJodhUiJv3I5Y98v/WTUvSqnncHP/L+gQ5B3+pvNl/FIC7C9cEiaKc2h7nV0lfBZZKPr8mMqSISVaMACUGekcfyYdonUj6zDV+OwR5AG1McPXVcZWAoqIImu+qfI7ObBhjVxh6gDZxxQGhP3GXImVcibbFuIkZcxyrffbA/P3097YJbsEjh8Y20BzN5UkWXmJk2rp5o5D083g0sfQKwbEdMqifsU5kBiRyc2Szcy3A24baqalGfS+HODPfXn2MLb+9u86VrZf0flLjEOGff8p39QxqIjCM8cHaOJ7j4IL+kFVpXT28S5dBrCTUbHtQCr3UK/YftdUFHyLXVq1tXEFv2fg4Dcf27E6yQ/1lhQmPs8wDROXHam9MdVj7BXhySc/0X7GaGTT+LRw0l9y3NcQH2EVDxAtA4DtspP6De/3z/NPtcZ6FU2y/rDqq0VNi6OrLHFKmRZ7n6viF9Pw0ns6IUf+4YWvW3l3lzj2gOganCpMHpwVV1J7kXVe3Aa7F3Mnsu+nNdTnrGlul6sM+IQ5oW70FxelZYhytudHGC+QUtnid7IKcqzWSfkRywbRpi0YKMUEmMeDDqhOTRxtlGLAgBxIqwCpVYQIKgdDW3smncYahDcIoUNfZtv9rc4u+NAY1+ZiSqCft3vH5fKQ80f2vJuk2VOwT0EIAWJkhyW1FjLSfy9TFrOLfHuC3A+S5Dsm0h1j+qh374WzWUpHkD7lVlvnI/YOkM9jWTe+W806USXXNccFtN6Bc9aJLwXiiafFQeH7BJnyBODi6hfq52vVw/QzE2Id6K9a6Skma8B4LIbK2JECuJwoMEE2k7yEiJbinuf48xPgG4Gp1T4gAoSHEGa3ccp4d+YGAEkJ5WLluGXyACQ+1s7MKlH/eumR9L6AiCs4+T2A3hyjRMXR7YrR4l0KWEGfX+Uuj8ZST9yeruGxxpTCnTBOX1rXxXCpc2Kmv+FFxUk+umWPIJ8OFUmTpnzK3NNhdSFaceGgxq+g/SsEU3p1M1ekDR6ETrO4OwuVb26yhKFzgY4kDdzA1Jrw/tpbADIyzB5AdrJOhH0m0oLCpkDmxNrUS/4yMgjU6KrhHTuaS/WT5KXNDp3qr49T7EOOmbpfLcpdyaeumIL/ptb4Ve1fBjWyKqdg4/+AhWrbew6BGaPfVMWJTdHoEL5mVWGAXQ//791JDLfhKeUeaZA+V0jtFCiZGtwb909XfljFrk+2Shl4rZGW2J9Sqw3pPvfARk77dBTCUaSKTTQgGCVGDPdKznxZ9MJ/Zwis/Rf3Yw+kivPtvi+xRFIrQfG+eXp6CRNvI43GE2ZvPSBG5+HvKgeR+lAsIOke3GgGvZSHrWarMMy74XKQQFrosnQtjBYLU42Htv25272OG1awsVOG9o/56mugAowtaWtCL5gAC025YDto3HDoRk4fRVRf83Fo0zhj6qVXBETLNfLXLv1/tSY/WWwWOG6v1ff7by/yqf5SGrSvFNjLSXSUKuTcirOw3D+oIAYgG60Soe34B27v2Ie1/xJjQqCVYtI6FbYJPL8z919ISEskD+8G19ftOeYOwcHk1fR81OThWkJgqjrx/8fa5+VL+kgUsAFaUdQYTvnBkxNNVxw+01F/LJEBFhDkZWy3zQNHuXkmvnR/Sufc5GM9SplCCJ4OL9vBWs+tTfj6EOWUsMDH09Pjvw/fQCQRLlDbTpsyvkVN8q/h1gsMDUaUBI/qhHQpCcbcqrWMgcGu0DCmVvC5XLXt+Y8QWpw3PK3WNCvJCKU4aCqBZTtUJTjHQWxN83yOjW2Z+y2GWzBZyS87WDAhOn1orZ3C59LP3y5A0NiAKOILdf3dX6DOa4hin1qJsiv1mDOXaO5geiUVmOQPrvvS1Wh9zKuvNM6D0juIw+QNJ/3XYk46UOSl+zwQf1CsvIGYRRXh9nf9yn6cF/l5BhSbAKnqYv4CjUNAU9TzoJinO9y6nLzw+ZGfxF+RNgQlHnDwkgXenSHF9IcArBGNXhH2qcRLS42kPYbSLss2BAIjtxOLdmGrwwQfzUPn8x1qSZjHt0e1+UJYwzFJJK01Wj8jUK9ZJ4Jl9vM/YlywaC/pLvghnszPQKQ7eYIgwIXqCQrl3t55V+Dhy96cUB7NXXJenl107g9afT2yOwuGpZOXuRM+vchEBGN1vefSg9tUT8G3dWSXYzAgy9DPLyay6+sF+DpycVO0d0aEIW6J7u0NujHk3zbJx22xNv3KS7c3B7960Akh08MeJJnzxiX6NI4JRjXxPP+CyrcvdDEptKCQ9492YmG4nB3LHOSo8QkW6qa8ibLG9dyilIN73YBmFmPbzfei6upKm983/CV7/dDPkTEwj3PFV+lsHieW7nd4PhyDX7OUDZ0kIDLojpPfi8LGdNXf/06iv/DCRIrxpiv/VxcgmsNc3iTL9G1UJtCbNAOd1zGWJahtpcvWiXIQU1ZRuUYNC0zxuIby3XdiTkOF9c3ODHlMV7VTwTisLV8XqtpCcd/kkT87v7bwsLwh07+7knDot806UOKVovuwcoUsxYB0+gDx+Dtm9EmGttWMpJndruow/bQGLGp8P2u56MizYG9hPdLpi5e87z5rX3dzBeKhDdS0690CMFvGwG4IeOMmZ8+f0KIZ9TBR9tCsJYe8agtAmyXvy9xvHG5sQ+IK04bXtFVbw6hB1FbjG91ja1mWSOsORoU+q2V1XG63AB8w2QDBaHX2CGaDobXGP92VwYjlRB1DmcYw/w+q+GZSR1q9FTqsY1AShGT7ddpArIpfSTtRyioNFN/xXvSw2CWZRDbIKBcupLOq8DCJ7+mxlgRVmOEnx8rnRV4a9HTTyNXLqR3oE7lEaoZHHmupF8Bntfy3rIPBXCzElCNl53EZ4pyxUL5sGo9jCrRsVaXK5xVERTIWqqEpeS8sxSNH+Cr6M1Y6NmDtvz5a3jDJn/ndamJLNW5ecA5MrblQh+jozUs4sNxELV0DZQBYLfYZMm2j1JWU3QlIV+8knHBY8y06wmOTFR1cKcXyEuMFKQMNepwsBAT96zgLtxW6bPlm1arby0XLOkaKkPyQjdMIaj2I76UK0QCqbZgPPEzTiVGocl03CYUn7PdZTUXrsX8kmYzrkLPqsT1kEP2HQ0zQQ8/DWbMoC9ANx2jXmEAw5weszcNZcHmBvgpDEL9cWoqf8CwuNIjVyiEhldakViW/fyLGQbRTjjTtl6BKmXDG9kDdeR/ymJ3oYuYTqSq8P414ifl9fdoz8NHxfdQTyugCpdJQcWAgr4nwPMkBG2gGMzhVnzvZXCy10W4Bee8U1DFBH5A75QVGNCDgmQWOPBbZ9Cw4F1sKRHXSP+q48bXs395xl9Y7J1ObxlxMReua9LSBgPK0A4r9f3aHK1ZtbaSQrmMhzIj+TtzjaFImDGBFa5DJDXmlxlmhbXHYcW4ne9gWPSuSj1EgqHotaqdu4V4I+nH5SOK6N9xacwI72at9tPJkVpZkuBLj6i7tGUtBftGIlE6SmWVVIcTJml7iUCdBbR6u24QWa6HqJXCOaH7rYeKPKpDcgv5Q/NW66C2egI2ixuSjITTFITldb3K2/REpZKx0xGuxXQqvdIPnObaH6j/OulpywQf3P7EWJeCiTq7yFqNkCnmv817jTBfaPfDI2JwhmZTuC9nGZNutdj18sFRVhXEdpTM7/WEvGJpaOyIzsNcNFm1b0qPcfKRCv/ZpU0p2t42hvpxoIWwEM+rC1AY4X4S3V2gda9AaORZ2zZ/ZSLGnmnGhxoPHj8Js7lLZ8svbtiMFn+cTdxt750JfiOZhNHm+JzF14VIw1Eqpd1TbmQiaifckbJceJotMcEdIMMUtaAaT/TihTbGpD6IZGuq/ZEZCd+aSs4aZdcHHmQCmgMqvkMGLgX4UTUD4eNQb6jBehrlTKtXVgwjTN/FXbDCcPKzNdu2JVmOId0mr5zIO7KRIgvR3vZr3xPfv80QWMh1U6dTXqQaGEfCD5P4l9zQMm03K47cH2QMkO2z0H1k/0DLuP/Nq44e9+a1hcaYuzBic0CpK1qJ54kAGx/xD3naCwd86597zArEl4WzsxewKUkrm7GZ83Vbnm5xIFKVlj5IzIFbqNFVjwd5+gM70AF53OXXu+70baqxn+sY5xgfTD+1I+DkPoZq2z9dp6qLqra8ngMiknJnQMLEVjBEKItSfg10rk3/nhmruRQ0DjnkRuAvvPkMzF8AS36T35Z+Etzbda+O/cl2EYGRDHON6wcPyxhwo4NPkkLSB7/g29cnSVYor/tlmATuzYASVlz0IQKieWUJde8ZeqZ/lxM+X8M2cTHxs7Evt/p7AB6EbMwRpRFcD/zK7YEufsBbfKWO0dFRYgEo2R3OqxNwJb2Y8khLnDq1lkMNVPsuUCbFiNtut6gbpnJrwkhg1OCpmuq13xnBLxv20gnuwUS7rF2wTKxCSqPqPE2mCWmCuYsk3J7yjXnmCOuut0XsthTPPqDUCb2JDP+VTszPi5TEwi4BktsozX5MC65aSIOjSTm2ZrJdIE0IQeUMAWirLRugIHA62zwQGryS7NsWXDHTAaEtzrAZdXtGPcg3hPPCzNx+yKxHu7c/oHYJisOCJ8/n8RAEprBcEQ7tOyGo/qTLDEwfGH3xL5XmNpq4NdjNcq1Z9/27RwpJhoNfFvx/gVelJmeraaqVSxURx8WAU2pxNLL/dLw+AMpxBTwDEha2b8rSYSAQKlXd1avB1XhnYm3hXGw8Fni1ZkF4oAhKX1xd/VA0eYxYs4Qxk5xsnYDb/3or4pEiBsAhxoFUewDi6Alh95p+Dx62qI3+e7uJRYt2lGUNeJpqacxRPXC8rRFetuta9tnrGA4GQgBuzCk2Xrx58/gN5JPj2+aGCAVEZsY+4Va4BytdsUg5JWIEcdtB8QtUUj/RklGHyk1yLAnjiAh2Y70ipevcQ9T0AY0O7QIOCJLJx+dDt4AGF6X3ZyX+FgyE/CMf9jhQ/LX+goKRTrBWoOYpaCfzs4/Q6JtwX9OgaJLHdGTfZytRc9C5BEhBPSedkRCw5Q8G/5Zm3JZ+nYSK81k0Dc1TKcvBwEGKVCOu1S4KoTCnibU13WAO7Nx01h7yKOWUp3y20mWXl2ZImoSHO/4vCJe8iE523XoIDDTAPB9Yq4PBJ98LUIA3V2NabFXm8XLjhGFuQ218OvzZ3FS7zf5sUwsUM9mz5mxdcjDvMZMzjNTP7cTTM4G4sfjt4DqMW3SLZljlKe+wlXPNKgbjZb0yHKBALnrvwdHPiQ1Iu4ghwDkvQg16DoVP5Xst31FEqI1V4rFMzdE0/fERhwAYrrU0LfmOA2bCj6S7+9p32WUqF6rU+GNJ704cVoZ5UurFRr6paQOJ+h0Raijcb+Sfbj52LqsDglEg0ea/5mTMHcmQ3KzZY8CyulARfavd++7pUdp0fhdc98vL+ptcECwHuVr5OBydGXVlYwepJjj3ZKvl8tAsGPZyknEs0ibNloWduE6EdR5fqr0O0rUeiTIveSshXdEzfykjFKaA0gdoelsh8uuAd54nQp3ay1OzPGwrAk9ApKbnuO74YwqpBvT9xL+P86fGJCLwHvLmu3fWESY1Cfybx9hei57UF3MHMOA+RCPr9vHupLNELm72JWT7hzjBQJWl2odKmqYDhJVYvbVYIOoSGiv89mWombTnbnmhtw/3BAmA7cPltroCZ2koQgZDC92xfDwzSsyQVmFmCy5HJfLX5BZmKZir/9LoaWHyKE+WXfQGb2kEL/oNrhwoMY3ESqAEKEAeUDHdZymfl++ttZawS1eYqU/s3Mvop1CQrkjT4c74nDYJxMv64yR5OQByX/Gg1f/0sC8CHQMKGzWbDdDClZgapYVhq6JR+SXaIQnsaiW1FHXDBKlM+k4L0W6VlsN4ubMOk/R5mRYLZk/6lQC3fWx3Otcths2Xy3lEh1F24XTVkwgYfik+qfAgglqDjJ1FznDxlmNwKpDt1OKxZ5hLYWb+Qx/k1gzgm4e/Ln5uyvYWFJ71eI8h3OH8NyumoRnf8lw0AOnfqL9Rf4CA0slzaU3VfC/5Onc/ZzzWkTYm5RX5+7wA+a0z484l+1s3zTggriI5daIoE4a1Rtlx1dvBU1pFw/CAaDSHt5PhqkNcem/2W5UjCDaDxq9R8NJdbkbRUruvbaCarFwbkDLKE4oFrAAh/EAZj7gfcsg2/o09d0yR7ug+ue7BPN4QigKAuSlfxMvcDhiHGfM882RYmhW1RYjL/fLESzrtAAqudbi2eXmhuetVaXFmiDHfP9wkZqxSTO7Ax7A/i9QXfy7SgiWkxTfZhUAMPmnoaIbozZhA094g1wmdiL5ZvvKWJKnNB4x8UqvhtNa2wUTMp2e8qMvFrCFJyBkxH47eWg97LmKosnFJI6ICV8t9jceNYuGH3Q/i15XsGn8LlTrvRqNrWOZ3tX5weHkKWO0OI70qCAZxxCxUc5aAx5SfqM1VyNTB8+v5gfBx3EoPjaUnlYxmnr4eMz2Sgb/9pzYsNTBevwg60ohcUTA3jUgWTZbOHK1RYeeNAw8eWpTNd0T8WJAoAdIZqR2QqPO9t+tMgAZucxDb8FC1Zj2tkd2g0J17wWSS3cZ+JH87RP26Srg8DRcAjZM6lumHQy4zVZXQTtHUVelUrev4qCmRFUdOheSeSaVXDzwlaGdtVP3fWqSdU6KXjLfJV3fQ5NdN9qjSTTNyFpwOIJ66OAh2yed9ljS9J8u/MgPL1DFxHMqmedibiVNBkkMbCnYkGWmV9esMEH0TWWqS9qlcFcfk3wCK7dKsBRFazwXIB/8budxrsTzgkSJ76folX3Tpi1VkARBta4GT0ueMCCEXiwNATzArMl81awfrsSs874sKpk/VMVrulRKgILPi2mfv9jskSEVTO/h2hld+BB1kSF3FSouUgQnBZJm3ggMTcMpqm4etCIZFhFpr0mw1pSuUW6xKfXD3tOxwq2oBIDtQpknkVV33s961gOy2VA1xMqzdm51cOCbawboQZHZZ8N6ibTLUVB8/BY2v+uTYI/ijtFVchye+uOx3U4pqtMJLinktWbpbrDYEwMeExat6jJVnokOuLKRizDWHfw8FdVkGzIvhB/AkcYmFfhn+Y3ozBhuLXti8fqCKHOBhncUfbx36BEhLfCdubDBQMjP3puNu+HH9nQT32FjgdWcU5seopdIZseCezeesQiYhw23/e/DruGqFn0HdHzXgFvd7yWQ3INMYVq9M8wrxul5s4yRJ/L8yo4gJbRemTLGZbALsXhl28VlX11caiBbMHziL2KOZSO0ODg4lR251nYX+hDQW2GzRp7NU52nd0lDnMjTs/V3X1hILxnraddqG0Z9Ii+FZ+Yg8I3GcEE6X6p3cvZda25ieBjcLdYIzXhMqh72HXmlCXH37lokq22WoS6zZL8aj6+QnThilyCUDhiwHmQ4SrrrwErmUD7kPUd0foLSP9rAyrUOZ/89PGs3lZ1VxdyA0AT9FZbKxMYi628LEhB015F7INTkp1dAPLKQjxali5wcteOeS24xtOTI+T3OR5qzLxDvnJqens6Q+tZgkMKvJGmM0Hb221m/MbTshsF/923FiRicqdnf2oKwakfDKPsXFCx807/3EzIsTAy6Q9HRedZmFGIsVph6XAsCHaRc6hLVbH2JnV3XrFfi/0O/JlLBxj3VZX/+QfW7dJITylmPuZ5HQNJQr0VBmGT+P9M4pX07Qybr4Zz4EsOQq11mwslBfR6v6drnDh9EYvYWcf8p5bCPfH6Y6Qp10ePl0exqkPIWjsfvL3p6+LZ4MJwi0L3yL1kwiLmU9aCE+bpuiZYJcOiKHpK7txeYuU9WFwmQu1DoH6Irn6bsjJ/GExayOFy6IfcXYZkQXGT5iycbmhQ+7ktWurrbbk4ers+PoUYlvisKTlXFge2l/dEnK3iLFAv81nK9Khjo655H4ZZu6GSHJANHCKyZUs0G2Maj9R0Hr6JkZc91wnVL3UAvXHXuCnqSFBOOX/dnpaHiO10P1bNTr0LyAPv/kWRrhiwswb1EzzZDrNDu9oJadHCS/ImTsnZ3+NRhe1SCy+n7lqDsN7XVMi5A738TyaAu5CI7gWHCSb2DYGlbYfHoRajof7IzPdA83+Qt24o9e3Cgi0TJ3D78jmx22ZLH2AnU8VG0ZThFCBXtjpPpHMaKneHUt9/Zwoyg9bdiMJUq3lDHy83p2xUALlQYb/pTcj5xUPC4HBgnKfVP+A9wGvzDbNugri/U8AeSR5v6rvgHoQjyILQcK3vonCiQ8l83wCt33VKhIkKx4vvkUtcXlaGMX7WMc/bVfhLoffNvQ5t4hrzGca8WvvaDhKf/1JDr8a30VHLqag++oQmPD/aS4yJwLzUjoLDxII2MfCqP8yat5sH+VSTHjFBfcRhEvbJ59yzNRxTUo+BXZA3oUv1MhpiiunIeW1ozc0SIGfNAjmHQPOVEy4bEDg8ZhAdb5iO1fNzhQBjPE1OUGK5kHNwSXHtpXLWVdWaWvGq9qUzv7DOJgirHhlbGHSOJl5bke1rxThbXGmKhz7m5SMVVB11QSnkj7/mZzfiQejU0/kQdA7kxT2xQ3A3GLAjPspJqk5bO9UnVo71iQ9zGBw9VS/vwHvJqjfJ9VY++cvdshsrEzen2fNI1iFLW4HvPXr8FW8qRaTQbScQ+wGfttR/pq6/MO0b6O9kVhwx4FY6CRg4NzqEqw9XPTH1hAiuLiCF/nFPOKz274QA3t9SAnrfa9usPcHKYBc0cofaHRvF0K3Rik4WYq6qc1/DFyFuhXC1oWozMxIV6eLsUdGihczaD78onFdQst00DgX9XCZMtxqJuQlc6de2rMHEOkevdU0URNPr6VuBinD9PS6mtUSy6lmhfQKSQ4UXBUeEpQH2I6rPLxKzyMzB08GRTL3xDQGa7TQsZ6iaioY9I+l6KhenuV4i2GQRONnH6RZRq8hWGQdMGYHWsanLwZNlNZjyf3bBneXsUfWQOCxRhv5WhW1BOieiHZWy8P+HO7pJthu4HBvXVNTbTDLA9zEGA0tFs7qn5ni9TEEFqueC08calF6JYoYVAyqFr6eskChu++Bq7suJJ9yZmYytl1qDCpvN3EiQjq8SPHM18oYpqSv7crpVvLYoYAUUyzwWykncy01qHxUMy9oDjZclxhh/82QU6+B4x+d2F24e2LmaWdt4tH7TddaAujIFBGCzPIzgtutbwD0FpSXH20kQA0Ld4KssOArM3s3U4l0ZO7UWfFvIJ0Phk9faEoezfVTqStxhOXgptNsiHOKN9NJ8yz38kv5khIT8b8H+pMLuY0fOiwTbnC92l6tJNXUrm9DUOxewkFth7K4r/AX5m0yOorvF8pR79YPRK0XrLIKYoS+VKslaNwYbhEdNBvGC4J94i4NDZ+s0XIYlME5eqxhKTqd8gQ8C1Qz82BQC9iRtMM5rWfbJsKDeNeYhc8LwZSDrhYZni9/1uVy5lBhz6bUto7ezsOSp+XW0X0gywAP+c3Inf0yMFbaw44+An9Gx3oEgCOGA1W6tf+Yb1DfPxpkKcFrkhgQ9bKOKUhX1/ZQpk7Ao1B7Lq4Fdwe3QVGUC566Cucx8F0c9SkJCyYrClpKKGVqg6zBurAF/QAD5dFsK3JJRcrlFtqRdvCnTe0JHvDGFCMcabSgCF9SHHAXFKFvb/LAh5BcUhGBd4Egh3WQXmUR447m47GtvxJTygaDHDh+MrxHUGqY9qx/p/JBvA6L89n9orKKLK3SzFotAdB6bX0cNLInwpk2zb3+5hcIHOykEqRIdl75lCO/yzW18hhnSRvnhenG3D6lfXAdyXenvyrfa0cOBBt9UY/v51lIuxj3yeZ9/dex/+FV+AEOcgZxdOS0C1UVxO976w2crmIk/O+PqGNu8/TAEEdVYFESSr4ahb6CcRMlZRFLC84SQBscNv3Ea7tuuA0T2Lfebrzfa0thyL8jxJd/omIrOg0Wxurq5Kb+8uyxykZVfVHTLQlaCgh0wzXni7+9pEiAr9gS1ilbK1PhgU5r12D4hIQK9UT8HhmcmRl0tFON0PqiiX+ZXTcHmBGMwoGk/tZKndY6WVeSxz7iT4H/dDpuZydd/3NsTIqn/Hw0cOTRMy3iCZgtJMWkMQ88RIseKIk1gyeekLag4VEbXdlKL4z7+q7Z/AkgIHbj4e/U9qZFvGmZTi9To+KlnB6t/OvKtbdToo1jr53SOMYzvFbhgs0dt1iy+ciuasJMnonNNK54Q2xSgi5IkiXfyfnM1XlJmAFeYSMseWz/89r3F+vkR2YKF9em0JSD9o9fsmfjgAn9IKAwKnkSNUDWFAXO/m+ySFo1ffK8fKlIHvU9MkQo3/Dd3Lu3hAeP/hkOuQb9at86yP0Jh9/tfPeHziKXF6e9K+x68C4n4ZCcM89jcdhd2YIbSGkhnZfq88IM4Uo8VyXx74wjAWf/JdFZ6C99AI8aUeOFD50naRPzR0Ej2TvWrVFRaCxrV2k00VmBPLgH2fSI2bSS2Fs35w1s2WFgu2nXtpmn35YsvTuSCLaAOymvNOVBSp8YyFEWZaOe0zaflWPQ8ElfNlcNMi+yFI9jmDftVv0uFIlDloDYTVhTAt0z4mx7Xyw7MJu4TUlaijkpiM+Wd26SABzabRoQ5wuWcavwCjKE6m45oHQT+hfZQ+qYcnlvU0jxGruO4he37ArFcLPonMAlubSs8QdeFPXREj/Vwrfdlh/HCWi4EqSeZ1aaEXOtR6qFgHP9l6FU0wgkOrQBK1TZMV19LEafuq4wXFr3CNuCvBDaEKzRatY/8cMggiy7gT8Uh/wwhXb5J7xjb7b210tPyF8ivdzxSrLDNT7T5mRUYD0UyEH9bauOXQQGNTOWzSJMEBUXxwPTZOA2luwP1Ei98D4SAWwc0PydU0ZCXQYg0udjVol0vRTWcBAf1btwcVxaqsS0JUNwPDYNMHCl5P6hvikXcBZ3XKbY/SSYEMY4hFUDF2P8XQxcGuk05Xu3ivPt1PD6kryGDHX0xTNblLTE0Ga5Hbf4wEYJZcgXCh/n/OVSzfQOozuld2k5I/HnyYOFdUiH2XP6lr4Iwhj7qHkDre+MOu3Kldbso/huR0Yatqek6DQqMXq5w36ZMaNHbyqaWRISkpfynIf7nK6/X+8x2KbAHR8SE2MDfNml+Th2IwBIviUWQZ90tURAAsYs5nTPjoWXc8uyazu7rF6l5bNVFFd3TfBTXctunuX8VnYvM5aRwEjh7nXvZ/Z8oBO8TBJjQr9huPlfGgqt0vMzPerxxLgS8wcVIgnmskP0F9KuRC0wkeuHDTE4RVMvecughSts7PNKidbVroktEWp0mxhtky2RwZU1LCaYZkO0z9A/qQgkodtx1dwTb/ZMFC9u9JDtaIPrEFKHqfeWY3qiux9OSPu9jOMloH+GzDFx8PmYJYpP34nrDhv/G0nRcjfFsofg4OnfWiDvO9irS2bCTyEUE5BBHBcJs9pNj4DFlEO5uulHSW4WNCMjbqwN24gytjYMDN9tW48adgJJ8xaKXnBB0skG98xqLl7SWNUvvRG+a/pS5BG/NZ0m+HyE3VOiXDPxcrEuqhbVaGYbds9KTzejFdRR8o6vcJGPcZESFpZ0sTEDn8LSiMfZbV6WCmhFJXunzVt6o3AQ1mNmer4hNUYjTmHBzk8nsbCOXcTij9+KHUGuWNU+SvdWajvt+3AdFUI5vk5o/fgo/7LwmUat51Fpt3DXZLUpsuCxKJyO/ZxJUKjl/OQRXLofaMtka9de7XA75ijtbvYQ+y8cBt7ad5rmwCQ01hjUFvRPKtGjBnbroDc/O+9P/KsVRTWJ9OWmR5XtJuq9tI9ise7t67CQCDxKjOhsM4E87biYBGf03UVexxQk3zU5+GsXJOBS+cVKfh8lfQygRBanGwbHIxCXpoyc0C5W0R9Qg0v91SEx6hnyLybEGSZh9RQiyKPhGFF53LmvL+yX4Rst4/WkhVtXBkUg2VyGWj6V18+m45E6GowGyL08rmY5XPFIVzJ+ujlOaJp/Wu2BkWwl86yH9rugvd2P9NAmtyOwP8QoDhVf+Q+GtKheDX9sdMaxwYD0rD7y3cDrTyJZpyZ1b0liRm4eiWyrDbzRmGxqvkoh8fyOvW5rUgHu82V44FkZqkBgulJBAs0P1RzAEuShkKZGiS/MFPC9IW2PlFMx5n69KF6sPwID1KujWjGQxvDVPcoFLbFRCSn1vepZNvdNCIPwXYFrz69klY6SJrIz8OMxpw1ENLatA9hrGEi4ZY3EHk0hkeNU2lvwaG2BgjRse3+EckltbLK4eytm0wlX/hglvvn0LgqyMtOIAJ7LXdczr2x2XakuKKlpm4hgzEPkmB6qdFVD5QA3te9FhB2MNsxVhkyHtXKA2kWEZGRh7Xb+LmYOn6GYe/Qkg/WPYz5mwuODLj4XuLRzlOSKAeJUpUnFt9Eeuvjjetjug3+sYQc/fukJ6tpAzQSwmZNq4DQ/Mhx3+R8snQE1igZXPcUE+P3JbVc6ohCJ0i49Hf2MfhyjoCXTnXSgEsIJvXDu1eDFLD6h0AmzmCMco5asJmB8DPj9gUb56etrWiIwqKhwbK4+V2l0ZakRw7VTZYOXO9UnBw3//jojaoqvrKzWmVL63BDS/u39Ukmoex4XgkOjQfW+zGAWGfcyMnGCxkYVmvzCvMo35onMcTWc1G+TGv3Nqo+6f0qmHxgLVurN3T55naBM7xqya89ZXKaBiX6M50FscmXYxEnEiZ1EHuN6atYeEBNVJDhFPSNTFKzwBy4svvavNihp8vlbnhcqZzsJ29lxZdR6NkI+sXAzySWhkBT/QV14lVv0hlNaPPbVLZYHNPSNnfa9MeCv9wGcPRSvIYyWI/f7ZexGoTySeZLFMNZUFjRYu9/gHUCqpviPcTNioyxAeNkxee20tYaW2ZyEYMRM7y2+eVPkY2Af/T9MIRfi0EZjviF14IZifJYLPtxmdIjZg0jq0VRicoLKfcRdTlvA3x0Z9IEgWvZZSBiP1FPL3I5XHrU2c8oj0E8lFsl34ICNooQN//bN2nXElsPOo4UWqcgRYrqSMeu9D/7nLoKTSeg0fJBYZ3kZyGA3M7Tm9c5agySrIpkWtL5JzDN3ztXbaRx+zulKfNrD8BOUCsexrWEELUl4ZysYB5OUzfVBkI8NV0vGfe8USui+Crb528bzQ6bomqVTN/MYNTHfxmOgtMMR1Fuzvldbaii2VTjRT/+9gjGmGU8PN1WJ+esPCgtJ08tT2WAGX39KgQZg29gi4N57yM0CIbcZ3I3VeFr2jp6KuwUy4X9Fp4OoN24Ew3ckaZmjpjTets39/4ntQuliwVR2aAW8D73yfVGDMrfb4HGOuHLl/Xnpd9XE3ZZMmWrOdE4lPQaeBv7W41EPt3B9Q+OVNxK/OgYIEkypDrgQuyY4kuNh8ad2vR0WV9eJQj6zUDX3/AeP58RshvMMOailKEf86XAlZH4WHGbYnHE13eP33MsdQpbNFTaVvDC6fkbDQLCsDP8neJupNdWlsi4egq8o58prEbI67pOvqkvaecTynGjozQVW75Cki5gS77eqfLOokgIg9Rw//xTUtn/N7zMKJcNBqlrC+eWEk1Vva8f3lFnRXpNrg+i+6ZYmO5oV9OhPfOMVmFVcBxBS4gkrszAOCWN3x7I6GMrlEpu0Z/hCipFE7rBsOHyAewnJ+U3gGCW7GAz2fAFVJRW/RHv2uSME50qn7D3kvUZIMJCFc0VUN1hDHazF7Yc52aeiCbTOB2ab5V+m5/X8ZK3a5M9slqYjcNNMqtM2cn961H43Saq4KiSsxZp16btEomxWBEW6efwRMV/axZvxfY1GmVWHcYGGl9CFm5JI/gFnh/ETj4W5ArgkNyL5dz4xLuCqg0nPJA1KmAK9S4K+jsyzIW7+iXbci2+GRE1mhjEnJTrcsTotp4beONhW5DuGV8L5OxuwttpWfHBvilugOmchmcpsVx/Ai6Dr/e8A+5C5p+hQysQJQLI+laILfONYys3b0P49IEUjbCKS8J+TDnHbg6T4qJDMQezDRxTeOneuwZkNqw/HKX712M+YiI0k4YIpEodSYc4jIKdzHPNhJPBqEuMVDequBzYShWSeefSP5fu/CxpNFsVL6WvZSgzoUIp6a7sV/UigsS646kKfDE+nVMbViclGQye1Q1WgxenmuO/0i31yzEtNeynQBuMmlWt+CUH/WcSG4VcKdAGMgZ61mnkFmeLwk4Xdoiw0s9bKETT6y5Wp9yilfHVor3mRb4xD/qXbFXETMVET3uArgeCg4X+OaSvmaMJ2LA3UbMVjTemxxv9sVC20tPawbXryKtSNnMyNJgdIePqabz2oaIYCsRX8iy08vQ/TKUNIz3gMN/qndquEdPH7MuakbWGx1D/CuLBWnF8epqbJJLSmloVHzNzNldP3lJLM8m6+miloq+Vs3t/6lJbK9/D15KAv7EbX3kw+u1zAa6miG+J7Isr5jmY5PlXpDtzePomsm3uZbZ9nz/7ADvvY1V10EQi2esFjxTWfX0BdObWN5Syyo/q8HL5eOOYpUZAG+LoaHZR3um97EovmueOoy1dMqs1eSq8/j0ft8AwTDRyiO4mRIC0epirt6fez/h5W49CXox9fKe12btIo+nBrS4WOR2XTkpuxA2LF7mGPRQYBIG94oQwR1rsiY2w7umwGt5ChkplZJ0Z2hf4V4Xdpsek98aELvWLST34fDBFpOS7+y2jOgNWmOnPnUUHUtKNFzplZw+P88+d7Cw5QRTQSU1tX0jAB3tcURcGU7wHSVIRJw45fiNv/ZpZjY3nBdtWmSEIpYvCvd0eL+20jRKT2h+zJfIUq96g+sFQu/6C+GfjkimhMUgynDre0PdNSoAMhSxDdtIrF5rodP2e3Ho6olIRA/oNrFzo7I6aa3bYpNgpKkZrn2GkvUVUZ528pgcginSo3R0sFH5+MDq7S1UWdcPIKsSmlAfT2i7/nyGMbQQaR+Q/BDlCP9nIecFEcgHo3x9XK9kFHTIhQGB+2UrkSOc6ckqcZstZxagh2hGWXdoIlHUQLB7oViXTRBQhp795HI/jPvA85TQZoXWwFt1Ec6Ph6VD+EdzQNNFVgAXgECejoldNVL7qQjT7T41zpqap0I/ADHsMiD5NCBt5hoRxcy844KwGPiVHvaOUu0RTgscqzE5f8pHy9yF1yEvCM0cxWehXJUMwWas9ncmbX1dNrzDlZPHA+THB/WsmYTNVpo6EKXJ0+fdhN/shbNU9CkMXXRIgrb2zy+sYytjro3ODTa3ZA+R3tksdT/Sf1dJNKTTuvq1HSVXmXnwqaNjVdlms8DuKPnU6oKZ3JXNOU4bZX7KgE0mBzbPsF8zi5KPeV5XWqFNtkhZi9NsQhBIweQfwnF0bd/iwF8VkZJ+yIl7W1tLa3bsBs46UjXmBOtvBiYbEqikH7cpFmkRnq8jMU+tfS4lAOupLckOltHFF5557h+9XSZvII8ClnosSXGRyIiJFoHsdXHQCgMEeN+jrlWVWEaZle3B8BFSOPtlj2+nGdplI+Y99igoWH8AWyGsbew5x1OVRncbmfSDEnrAhnntwLqP5V7e8ZMgHCPlosg+kZfxubLYtAOqe78jVAHPMzLK6RC53vFqKxrcxDrXwe66NjfuO/5nR1IXlIdtd49gIvMwdKkekBMFEgod6vrnr1ElPkSqkvO24oMVN0eKaJ8gA2x2TLO3AQpkFGGJtAQPAmG8ZAT273nVgbNT2UInl5PUTTZX65Y3VoBBcRB+cewb+DCiPsjBcMbIy0d0uSdvObxTb7319uv/5UYOehjhg5xk5NnB+Zxm9bsjEtkro60I6oJQyGklJfyUAOxJBPuJ5DiwhXd4FayU8NbZ9C/c2eVYWm6D0Kqwz+tS8ILwl0ktSEbo1Xnlk40DTi/HvIs6iNSMMSShzHH1JoyU6d11T48H3elX8vUVhBLyxyl9udXrOeDfbrvpDRj88JNpFnj7kU5zGtVpX8og+mPoqcd4GH276KI9HBT6V0R5LZB3s2ZFl9nLgV/odkF+AlODhgvJ8QEHmrMt/ky/qYWARp2l6hcih1niMvbZr41KkvYn1xNyMWrg3clNWol353FBdJh2aqKLOpE35zgz+C1JWtC2pX504AY4gzHdosnXDC8DMBeVGQcgn36eVhb6Y4M7UUqUSAgZMJ5Zdioa08B6AFR37HwoLSQ/o6sjag00CA2F5QcTQQcgmbLtB0FS6W4xKc6QtabzMgF/vReQxSD8lrbHxhu3YJyEHfZ7gjPg2YbvpI7KNUxQYeYa24plMXEIuhNtYvfeTsesRUiYMAA/UHRiim4kGq11Ek6Cdpa+Ncm8LIQ0+yf48MVKIavPZ5K+75oCHEeotuj6bBCfre7ZNwTaGxAZMCd1dqDyND8eqyRSClaKaY9qo/izh2Yk+qDdthJuIEbASOeBL5MgN/pic9GbT2j6acF8ijqe8932xfXjZeVqBeb89jY3LF6xRaMB/TobVHTFqMHPNtVDoPhMx55IG5+NM3CS7fD7+NT9rtEDNh6eAfojzre2i5lhW3SKW+ABv0HS9+QbllE93qHTR3yKvRGmoTqbqBwU6+hgGkl9y2hOaZ6CG4ka8QS5++00bwqxJvQK80OZeU1jrYWrwpwgMsPH51vhWwAy+lZYQ2Y0EnVvfPYf1nPMbi2YNSAGpHMhJtyURMsPQ1rmXY2cyDK67sGbtOJzmmG7LRdniZbqRWcHX2kZRSsPaLysvF7RAO7r9cSwv3CU2LDisABHD7sc1hiofev5tR27nS1mXYyq6kkY4STAnbVvsS+tVXKab0quREWwjxkTcCDgmuiSha8oOAgcu7cd5QLRu2vOdinqEE46yXjVH2SOLic53XpcEo+rApzAK+oGkedpqordZ9RNiROzkCGXEW5QR2O8Kt7IDwZDg71TNBaUsBvaVEky3ey7gj2q+IHqEIx0kXfiE2qSytdI7Qq8XJdho9MsVmsf5oNDU1mMNMUJLoA9qgfczndXfvFUvjMhEGAEnfEpP9UBcolwLqY4c9+thDbg9RsjePnk0Yc+zJy6hqEKWcFh9k93qjIMXXgvcWOhavdmPndrtMeBNDro+0Wp/MlQH+KWVwM9V9wqFGJQhOwwITbuWNklivwXm9XhLyddbJ5gfN+i5v9+vIWgC4Itqlp4Q9g2zYdHQCdVavEtVqXFlfIdsOMMPiL+kEWMgtIYHPyJwbelbH2smE+73vO60QmdnLoKjHWn0TAmcWyE+a1cf4sCHtzHycBn1l8a8zM2tVX0rlYZiiLjjqhTw5dKBujAMt3BlHtxMlfkEZgpC43rk0r62ut5Zd6DBJECHhwF5PAsl5Wb9+Vb9qj1cWKtdpSBqHLPmmko9QtKpU367BIWJjl81l70fk5diDf8X7wftJx8j3/izOip1bbj/9pHhKg/X36xZG6cza6sXekyJDK33hMJimVGn17soceROoAmI2FVOAx1iL/YfVm/IBxbs3S8MAAytlOmwsGTIxgaMwyfbuaV71+gJSFBwUt9+KNZixp5uaiNdCs2NZHlfYPb9IfXE5MmEPGBPrU9ouN/YE12Ntcvm2mP1DlKH31w3/ut1bUGFtMrnER1f3JZ0z+Lbz1XCRTQotge2inFujBhqj3G+IoaySsGYcKJRHNFMaEh+ka6u4OXNkqsEgNAPPzHPv2qjcD/sXzZt0joyoI7wxlTDUrkecZ3WWldL+yN+Ydl6DHEIltZfjY4mykg2Y9pG00xycKeeeNob5SMrVKmr3Mo9KkJcDMD1V1JiFjcgxdJV6MKtzxc3Tdld122Ljg/YnPVjIDcC5eVCycsn9GxY4B2NVQK5ayWTDDAq3cDclD8Q8odo52zSEp6Qny/ZdKTaXGgf+rK7Uz5+PHaj/Qgxr3Ye/MqdHqp/8XznbPXVD0yDSuo4azlKOuVVlMIfKjVMvagwJhUb9sgP3FOuAFJC1+4DZKY27S2ipiDsuvi+gtDG2Qz16gvibxMwMA4kritn535xryeL34Ys3QKOYIly9AX+UGoJhZxMnbgf83D5uQiqYWPPb4NgjvRaaGQRxEYZflS5YY4L9bFll2/SErOgRh3gigSXrCtYLZa4WTtC0WHXHimi9jwanhVKHytQ74Us7LKwjo+bKuRtarUsvP48x1E5RguXtNc2k64QGdW7B4SsVAEtvlsc9pu7PScuQT262ZASFmc6Y54cuLnNL3lb1Bqc7VjRtCiGsf4oGJMGQVlOzbqh0jWWeMVsJGVHH3BcHtxSp11wuZKAHs71yeJLg8roDb2Kfy3vtCkZ2aAgKYXGr30DqadgvNe7/KQEVvs5RmygU4hAgaRhtMiDMkJXr5lo3wQTyFH6B8d/Uqhv7/8iFgJofwRRE1Th5kAGrUBIeKdlyLQZD79URyKPcgx8WXMqVHsmZqfNvmYXHqxJEEjW77Ip9EkdMiK9ODvtOA36sxhzaU5ksyfDgQVxBn/RbvA98oI1NyzTq0gtUi8KbAxKgPDL7iVMoV2aSI1XC+0N4c9coMKurbLoJg9vzJKNlHMmw6QSuSIJcWWVlsqOeO2knKYjRZFKJ5+7MwpvjQFrKZ+0IMgn6VToTxNL7b2EuhYUNj+az7MQQy/V78vsimbpXqxT4aZPsh+hk/mwrcZKyRpcczOlo3NGsLPVVCA2JtKsOfebH9D4jnbBTeWOCPQm0q/5+ibrSyZ565/lCaYSBg+Tw4RMP2FNhZKgoHhH65yQNu4Ug1AW6Vc+QIMr/w0TmXk1IFdAew7Q0qyRy2hc3+o0fYXfqK9FZff8bWnbbY5cBCcyjMklGUM6gBsCddg2HbwqCGlwM9Z7Gqb++stA1ts40OTC2p/JQ5f8msU8vySlei6UsDNMZHBNBGc8eOv3vyQbk7XzdGO8l0f6vwDbbZ8mFxRI/STsItsancADMajpHNU0y/hAOaSeIxL7GV7dlfN3msSF7T/+ilQH9jW5l+m7/H4u7qcmGU4s3gVl5AxQ9sjDXDPY/IGfU1XNTbrUtzrFe6q+a4AwxfKXZovSmCf0H/Ce4QiZ23DaxZcajx4gGzehEWLYIDSqi4/BLch9iUxGLDI6M0gmD//vnU2o+Sz7rUrq2RXUO1QwRGo1LSoFMhI5cwiavN5WbinRuEhhycHAZFLmb7vnlAzRpKF/zWfomOlF8W/U8VEZx3q+KSDsqY04mIFJ8ocK3rBXrQnfdGI9P2J/BM/j1x18C4MsqtaRQ3INVDw7OqbfjNQqs0FPW3A+ucbThV3KSG+t2Fo50XCCGNgkCa27YCCtwBZ20Uos8SjrSSgm5F8deQoYl/t7CQf4HdmCyRK4YtGc1cftyB0feThuBLdhz3AIWZC5v9wmpLTK5x4p/PS1BjmZy6D/NYsXT5WZEXHJT+eRL9/LcXheERtcZFvKd1y2xMv1nBe47fWBqy764o4sw7P5nnwbfrLZgfFFyhU22YjcTRQnPgaO46E3/mlsmxu9xsJkadTynI7KmOj0pF+7xDfPk1CMOqbuibsyxbzmIhVWpbaKhdMSkcwfaCyx+EY8HjPlxpR0XPlmQjno4JqKFfzk7g/3oN9S8mXbMucKkS6ZMHqUbY3gaSu0xOrUJubd5ceGDgKMfhxFt0lPZ+ta3R+wtIo7nMrz2dpTh/2PrG3lNYuIxgM71Vw/VQC5dBMb5lcTBxu1s8cMXQ1UKUZE3HxhkfdY+/Okzo1D8W+rDsaONIQ/Xw2LZQwjQTDf0ByD/EiQLhW0d50b3X9LxK9DPgacdr6bivc2wynLK0pd9bYTQE3MC84IxrwDvC9WYprFV+kP6gSB0oxxyY6gTx7GnC008qb4G38ixYqAXmFj3fV/FaeINva3mOWMjArcHDeKUbFRddfizpF6HoTbfATD+gkSlFN9pCRVIpHnIyto6Vn3jEN6DLvekBbdniQru201Qy0JK7I8sb8vVCC6/KEe4YSt6U5hNbKoabwq124DMeyFJLSIf2tYCuX8zYdYdKS+Ny7qZJSKj6/Iovq3F/xr/jmKKeykZDoIDuKtwlbPxcC9FtMULtDS9i++vW4k38kaYtnjEC2+QdyibNn3O+zhej50QPd3SCEFiObxY8aimXnharCuMKZNwcADRwfxT42YiXGXeivveiNNGIj+cCoqSpzfICiKmpILYN/F/3uNxQbBbrDP8NWC+AwgXuafNw06Be6k0tSKijbzmgz4fHZcrcMVo64jRjR8DjVMAW0L6v/Q/P6SaS9f28IM7wbK+Yjh/OCQA0p6JEIudwgJyxrLU3A65GZ0E3GqiL6CQe5BIC32lXbgZDfRMIJLwAP+XE25+aLhNI+Gq33UPtvILot4Qxn7axHl1K7hOQjHPVoXRlT3jpK2RCu8nGFdPe/Tkzj9FXzKqXJ8xN9pKb1wFTdXIGx2Zm5QuYx7Gxf5Zi+Ou9mMe8FY1Orp9w/ZqQGcqpn0/54iKZxpJqoGBZPxvZSiycSoi5grKdUtQXyM/ZHHl1K7G2xE/1GpPFF+BR05CdHumZwTonLNCxh9T9slTKH7UWqlhXwS4aJnrzdjr+4c1w+YU1o5AFkrOTTBlptA89+pJRT2R48+gB6msh6bj06df8vSsk06bxBVcwkmYBksO1MazSWzaOucdzEm8Uh6os8iBDSDeai017uVWbezq+C5ziPs/qQ44wUCHPlOt9dhtm4vOa4QE1LuJT/bIR96ySbqvpPByEHZ11OKQpuUwqxGzpbuQJBVqayhn7hqIW5FluqZrJnkHIRmr07wcAyWYat0aOyw8muGJvgAWM4+K0lSg1SVEz97NQg+0xOYLyYTfkL0YoEoiu40E6/2mOEO69W7i2itKxlokx7m8M2DwEQFTlSYsg7k1Lz91hiydgxp0YXKybKDfH0RNPzqgNOKMQMvtk73E3QWMH+SWOIKRxypLRyiea2p2r3aijqgjsrmYA38tfgC9zwpz6qW0E9+FiaxPAB4Kj6XTkDATE9NAwDflRjx9PLhOuVQYzZ8117lzovlNMYcCFEjbkiXsVdQCB08DtLPPWoxZVj9Ez3MqHViClG48yx4ds2v3D8enc4s6Get7vAnnA66EmT+2sa7Oa1MLLQ/X7UzEbFSDFDtUJQYhKz46fET4PJP68ubXMm9IjBdvWJUkrixj2NL/FKESS9xbzh4qYR9StMG0AGHQzjX0HxjmwkmoqlIynTWbbIwwp2ZIY1fw9EbNqiEQruY4wk2+lqpslzHh6ioTwNztuZR8cA+jtIvaUfCnVl3QLRTCoGG5OgTfwslJaP3AXWI8fOxvuxSzET7R/gMauefOkHxtpDlXYtvfHzV0YTTiWpOhkuymZRoVQzjpVRUj8ju7B0VcyMt5F0mNkYQ75dSHgIBq/SeUbO2DUyPqMzaO/I39iqi+BDWmk6nG1+MUseGT0eHV4RZLj89QnEnZ6hKT2LnHaH4jo/ljsIgrDkjuONssv7j8H6+680QFuDRVd6yuFzckfp+pL7lw+GiUsTuYWhvYRh3PHwii/Ty8M0kppL8qEndWW/xiytOerIMwdMOfmFxmMjEe9MeUaTtxzkSt35G4x9Rn7LJVQ8lhkYuV8TbjYnm/cl9TQ+jmP5Dv+/CfQDWagX/H+WoIQp6o/zkW+JOhDRQhn6JFW/RgODHNBeafJBxGf5ZXelxjH5sgUpou8KtNhTsoPssn0Ffe87/cOuL1P9r0CX09/x96B1ooHqZwuZggU5BXKkXBbzTBhmJQuv6gC/CGDmZKiAUrEX4R2aysUtHqYje7aXDAIHzkiTUR/KAo9Y7I7swqHCawSHiE3o/iM8JuJySHL90h2n2sYPm7kSVewJAvdE/vFGIvzi5dVRzcjEBNq+kKD7vTIKHCOIXXikJNffipSgifX9N5Uj0oPGYc41H43iwS7r6J4ae6AnysfWgw5ffZRQFv8P6rRNLHgv7+GUer/T1hQJ4qGzf+JBnp+Qi7i5oic2ZbSLXs9fnwPf6CvfRXqjAIQRdxg5o/gVVijq3KaoZkaP1xra21atkzjrtLbl1k01Wvy6Fr+mz+RzazbCWAhMFcLmDFcoBrwkwll7aUb1YXSZJX/mfxFa9vSPreyH9E+Yhk0CHEV/fuqYIq0theggboASjt/wGxUjItLzL9bohybxXMDOS8oVNM3hrIU2tM8oYnOWsmBC5zwbxhc+hyn/yo8D/invMBU2S/L0Y5JM6lsOdHGE2XCupVKfFzc+sMV+GfMQjoR2MWGs0vzcvGNJhFNXHIDC9A0wNMBvJKiMbjYYyzwlSNf1PCsVMDcfMGnW8ZcqLxFJWa9Br4iZhmjO7zPsxoVH3WiaJ9jzlYRVMwIUXxkLRHZHdm0taScG9g+MKKtnVwO8GzaJKjiHutuzcL7NPR5U6Xqe1oEq6FeCIHeyuZ2+vKaCoX3ale/638xqhZDtWplsx6YAESJnUj+Kxforsh5k4R9kKL1MZOtf5MsHctnAFFunHJkoB84aGx7Kmmr5aOAAhkxddPdjUa3x7eTpzJJdUPgVrj6+1Dsv109wlhEaWLdxo+iSZRxTFAN66W4RonQmE+wg7kuLCSEud68Mit6Qv1OjUela1Lld3kHh34YOyvstm7r5W0JJOJfZhhlzkfQXspOc4V+bl31cSMkfQi21ejCxz75IUldnVh9ZrWvyfD5HGvBROZF6nrh16DDLsGbYzqJ/b+VNxPZMJ1v2/NKkhkBT/VCnzqO3ml17hMdYSu0aSpzGpNCYghbJy3tA/ugElci1O6mjI9/k1wWWgc8cQ8ZedJDgN5LvgKgcCUWPiufrzdrXzd/Uo9wL9xurKfMSSlNTF8JgFgI1FcB5+m8h1jPKCXUdhuHzlaCPRFoSbaIpE3C0NIjEueh1NQDMzG+hdroapp3CrukE2I/IkpdCaeacQBqgyCcqxlpZkNOKXk23HpKkMBBiAm5luBIMU0Hpb+8uU+gRg5G7C8XgRR3jhOl8mo4o0AfxhxmDu8SE0PnOmkvTkpi9SSQJ2Acvoy9mH56xgvAlXBMUkaICmh0X5Oy3PLk0WaxMDQYnv7ruyun+Vmy/+M8h6UrFZud/7YtyINx2I0RRYZvV2VFBdy4PPsL9ZhcziCDSkqriaL8mtDlk6zbLKetRTul1AQUuzForno8/ygn3S7AUcGcaDoNy+95fcvxY45OsCvEhgO1In0gIkL4l9QzUaO8k3Ir2uiGQqFDquW2l3cwHNxKfetVV4aGzwaHg8jMtgPIYhDjK3aWFPw2x8DhkcTvTxPQ8ce6Lf34WKUram/wa7sPp0VUUoHqEC8O2gOir9SxIJItZzAj7RNN8xkPzurWD1kmFX/PypW5iCbxm9Tvcb5Gm0Hmsd880iNbDoPFdTv84Rap3QU4HAHWSXiNDxfREtO7C+jK6UxRzfFxbKfNzm5ZB32BB8zzTbIYKZDtuk6hoDQc5AwheayzXykp9H/OvQdKLN+O3dAUjzJs8LFhQDT/4q0K1URKuykgLNJs7luTmm+hlvLnm+AJIgfBbvnCR4miRBnGFOEWSy/QrR2aQRSkej/tvKtd9gVnRi2w0TGG9j5EsvJLZ1t01Enfp+n0AlXf+mbGrz8lyVPBBAGJ/mUAk3R9bjdrBjFYy80Oyjl46Lw2Kdt0dG3iTZVIqu1Sh+SOE0IKo09UUsiag1U+gR4Z4GgtmE4HmOzY7fb3lR2iYMqJXY9fYarCHyEh9b0QPUdi9l8uAeYYj4hlCVexG/Tra5vpORpnR2nfksCchEx14VspbYdpExp98m9fENUCuSTi5QJcMnVmD19Z68SyHBlgalIjdqXYqg6mx2q2twULQwbugMEQiSaVrN4SwcUnUZBPmasv75Hle4JapVufUSLDXQDHlEmeAwRMTeFtjgv92cmftE79/6jTRhaf4CSxPVPTpgEzZHPA9//Y7GEvaoRonF4VKASXzfViE8pr10DcpfGXXoVhbQAh111hw8PprbNMJSqJ8+adccEBjEKMcX1Kxq9DSvYH7mMhIoLJjzNB+XtWOgejCzoTOvx6h6EqEw2+LOis3YuD059RBafiuHg5bRJKtXhqcdbK9Y08aWxJNc8AEHikF7hK9+Z0jGlvS6uKHU3cfDVl3kJiUjG9onMW/RiCcaUgCMf8UfDcXrKaOcaEd/5MnhUuNk4tRJbvih4tnZslgwiU7QG/oKBi4swwFmwVJ+hFTMF0c+0oJIxRgBfh2yThpmFz80mMbQ783JbhTGpa/YiPE+P+cHPjuWrm+4y20f27x3v5DoUO44agkMskFqkTpDLTpiKE+EiXnAC3rosgztjAs5IbnBMru3PusLNEX6dcKCDW4vZ3DpGoC4c6VfYSu9i1lVnswIURrSz9PkiwbDAgjSQFFnvM9vGb2S8CXPpanfF7Ct6j4KMJ3z6bHLWvrn3MJIpif0rcRbLkC2B+FfpVM8myY86sqJOlgAVs0+yePpQ9wIYmdP7t0LXD0gI2H/j43ynFWj+GVtROufdqCJQtyjs/oit7J6FI9A7ezNgb6JFuNO2xa7fx4TXQZHTQiwNxvgilzeHtgWgHxPqTNB8inqvr2m0soBt4lzvfw9qb/1xH18bZ/X2T5nPHwmcuKFbQNIth5hHRgnCpVjmnIfh/rG/G9UsYHikft0J1bjXwHYDamwI+ypMm7p0NALyT2ciJ23XZnD2DjbWl7bTLgBYfp5aiZJco23KOTZNpM4SefrIiYj8YlooSsSByXn3553em0WhnN6gdIrmyNn5x5WC9GxaMIE+b6Tgj/XzIEB0N/jUWCYn0jYIfjwFCMfxS4fDMB3QwWXGh4COJeCpsbzSZgAGVowGGI7wmq8WDQ3XBTF7nexEcH7e1smxyG78IFJIi+vrny74ahnjxmjVFT80Y1mzk3u2/2Xida183DZe/NleDZtE20XqJakgaVFwR80UfWT1Jm9TlPTz5fKz/mXncmDJIeDbkj03cTYQz6L0Yv6Nkqs37TH5kqk8lVBjUrZ8jd+CTBLa6dukzzfMD/sPzmmLqlY65YszOGO9B0tlXnJaOqzJuDqPtqFglAmawZUHuC19DbJu6TfEbIucGZGkhDedhbuhHxjjXrV5fOr9jCLABCcc3wtDysvo2L3+SePFXrfw1wCapSsgAI/lWHXq6UyDSVHLljcB+RlWrWJdvOWsEhR2d2u8dSPofOrLvQ0ekEmcY/xd0eD7gUM4CqnJOI30ZTUBZow1eB2a64FO1HjTl/HGA6VvILO6eF9wpvSMdYIXc7KkS5T/RzgjGyHrjnvUZ3xhCecphXlB6pCUcS+wepbSXasP8yEJ5OtI843a7gJJoNQdynKyAWzSXt+ER2GTd2ne/WU78iOOEqOYbq2WWqYaiJUsSOmaU667NotB3F7IsRQG53Q8Z7gUrOz0/ZDMQLqJmHUpLCU+Q4JyJNc+tEWVjLnaQ3x7A+66/pPwPl5tKqsrt0PcgbS8db8cJUVXCuzItbxFxK8h4KWBIIzHzJ5vRRgI7Qq6S1rpWm2iHj2WAALtT96Fw+87pW1lj6x5WZcrq/ccJIGa3wdhy1pnEUzQjKbQHDSVixu1s8z0WsiIzT1Ov1WtzS1LXpLyitd/gWgCDcYMyIUnwoXnkhU5GtQ7uOFjrhfAcbqvDJtN2S0PmZp+ckISiv4HqBS9mUEJgkej6TO5EH1f2KssFL55C1Cn0X7DHoe/g3Oer1oH97dpYo1L9VB257vvcRb/ZRuN7z16kl3GLfgvn1GITVEBJ1t/PAjLXsRGxz1KBmM3hd4Fm00vvY+KLL3q4Oeg7LPVYIhx7OXQaIzH1CDcldoZjvcj0GflLZxduRPshDT1bFmsUAVOxNMC3ySWzvaxz4cjlGVUL7sVGQM3MAuD8PUFF8vnCKHwExdIKk5vkwYAO5y5PLGWa0aL50tA/qAXlnzhO5hcbbIx1OB8u/uK2JxvoSwJiCu6VIEkU/dVTaBk7n1/zPpGD12/LmtLMzc60dwrKJmpq12naIcYxswvMrTMAlhi1rh9Is54hejJYlNDX8QKempJPSqH/Zw8V3fmfWHD2OBNo3pjRapoQHeqzPqX6J7Cv76SoxZ2Dd5ItxAwcUVSBJ/68MWv+ykbOIqFjDV0ACxmTzZaEO+w+IovAwp5xv5gGCcfuIAAvo7I+t9lrTngFyyQCDgsMeUxwehOsi3rqAXULr9KvP/HrgIWNH+SjPGm/u1i7JfH51UJzMPPXW4r9TnF4nHlJtjMZ6779WzbEORZPDmlgiocWMb6gYhawqlvITXFboL2PUIl1sktgV192ChHi1F3CNA7OU/9jrnupKMrAlivl6Wgzb6tN2gNIeQw5VU53D6aokxtkbfn22AwT9WYiIDrsnN07iYuUGl37bFY+oaeCTEYYge34yinTjB65/z6Fu/AMa0xU9OprU1egejmFHkTUGvlztuj2YPAC2wFMNiY+VIQJWfsRcLqvDX4HGG6ILCwBvqkS05mUpPpo4tkT/718EFNn+sw7QdF+0DCa4LPUM9POX3xUSm/3kGgylQBgkWK9JBSvLtNTCZeY8C7P04yV/9BNnvfitHhbY3NTWYVDRXDcM1PVmzhnoJSh0AKhgEkz2wxnivqeLHQwTGcDVGMqHNgfxeAqXS3clboAbpLSxjZDnV++2/0aJQZFZwaYM1ghhzixk93MDE7N9HjwIWWu1NbSH2us0K20Xw3IZRiGZ77ncyiIYUOYrM85JQ/LGDdtg6lZRYgBsiWkkXjuqmmYDd5IUsrVnvKo55tApNDtleEz/Tm+eWr9EhWGkMsAg7Jp+IJHTTQn1FcdLwEKsQSyU75je5tZcfw/P/laVTIlrtGMNDPoyex3Li114gcjQWPTILbK03AorL8ScokgaW1ZvGYuTjjhhB1Msoih9TmL1XJIXVyshVZMgqs9BgD/iOY3MCqqP7dVsUEpxCrFvdtH3QhXi9jTskFbYMBs4hKniXJQXkQ7Bmx3IlMsLKa6Zp0Wq/i9T1fMHNqw7/2wE1gQjGQ3xPdPL65VdcWqgim9zMNposKA5SuRYKv6YJR4FHHFOaM7OE38z2laMuFNgP+7Oz2JUibatXFevoVxz+/3i4aPyIDOHLmpus4927yAxEV0Al3MWoXKDgnCEmhTgoIH1YDLSCAhHprr7adDp5LGZSMN1c427BAdFAupzk/xjPPJqgGLfHdGDJq2cxxrKlRhunvjZNowUbA74zjhyYVQVaHYeTcF4MOMpGyB0qARMkGAm/ByiaDrFZu84UmDJg44KgJvtOakOk2jSSfJS1+wDzNt4yn3GDEslxieam05KeNrLwu3jKnFaAEuHU92357CCTCEJYjiwEj6pc3c5QGCvyee963Po/mFeY+HkgeuCmXQzB6RpXAB4mGbWM1b8RcUPjw08C09xx7+9NGzhCA+qdQphX4P2Gi0s+VsuDNPh8LA3vOwzg4ZdQuR1S39LiAbqSKgspcLA4dScH1BQVFCm2en5IV7qIFlxBr8oZ7j2LTSb+qiTEa3526fzy+uZAmJh+O2ov+wAJbC3eLgrZdwm0jH2K0u9IY2O0GSrBsc5HGHmSfj0IzAhTwqVbLHvy/bUpujHthsxX/Jd/TrVEzilINbd9PyW3/5vSCM9z+PGdnQNb7wKzds1vMcohmfZKssOB2qE2PIsTr0nTFw5zuJzHC0d6SlUNHaXo0kb8QTur397rIfn7uZW1MpIC2LJsJAJ8UvLiqnEwDS/0CRx3N8h+MePBIm2EKli2En/CJQy4fdR6CQq7jgxwFki6cKDrLd9Yoy9xVN4x+l3KD0HAwArjkOJJWm+/VSGHE8c//GKn/VCzl0HrLQB3izBaf5SOlJtXBwfbEQmoscXdcdbSZuz50XHsMZVdlBmt5ronGkKKV67u0uwY1QJTlkwD70rw7StCZ4dR+6bHO7iZagYmIcngNplZx+YYXgpwALe/up7PsgU2AGalCuqRAE4bnygOvEN/At0CdYyGey4SY8Exa8KMibbqQ7bhL/WgMpZzFWbWJAKwjZR7J1hq++51yWTRYiA2jkp46hMjlUZDKTr8nsgJiZPM8sOO+KKHsjroqbqsenwrp7YfwPANGAQoiOItDC6eq8nbSd/5MPJL4GIgf4r6Zajn4iRPvQQ9INWeNShoQf8tOq3XWqAA4Ymm2p3YeFRl2DMvWttLOqjTjBntW8KeJ5+UzHM3/LEyZoVOuEvs5K2bd1SVVXkV6ZZcaoFR3QozT93ND+rbxGrb7NwyTCrn9P9cFSC5fWXQ1S3MoXi5Ovvrh2XURDIDcb3sYyQHHxorYPR4NyhmajRAe+evpSJOtPmT0RSpVoEtqANSTwBuVZBLZ+HDCutfu/Q6cKZp0V1XzMkqNyKMkwMGgSc+xkBC+IK6TLj5t7LLhHCluPDS2Ksgzedgr8M7yNq1q5tOomxZj2tMGPoloJk3Dffr+LGk65c3b9rWYYf+EVQDs6+t2cGiXw9X3hxg7wqyalr5DdHYvLO3bRRHCz+PjplBEgGLyIpvld3KrkwyrnbAVgG3FE2mRB/9NJtKaJls2g5+XqYuB28H2Nc4KFbmC5R0WlaXg4G61+Z+bSFxrTXQPWF76HkX09eMmZ3GBndizgnMgzWv3o/rmEdI+NqOawnJDYMVnCAed7Sh30KkSewQGzCCiSgTroBxxJVnrXfSiubUc6v/zaNgl81xf57tqVFlXkFIAJqeGlqPlTbVUeSjDaDNzTyxqjL1RAW/BKgcWu2yE737h93U3JF1KYIxt8DnKyAuZyvOrD4uLpTiv/GVuSriweA1QrWpgsr7tUS/xYH1J3fYIfAjEP5KLetI9b1HC2RRdiGdBPGwpU+U/S1S4cezAIC3Gn0HZ933jgF12S4URsY70xeyIJZHt9kaq3fwBvUUo3Ix9IFydhgAdM+OchAXxhtaHTDkaKMGTPiJbiXMY9tvc34crawlFC3cv/sdlU5veU11eAFHEBXyO7gSWhhNZcZ6+aaM6hMH+bC+s6clPP0jck/h2YPBiFII5MGNSRbpC4EuCh0Zi/v2+U1sYrcGMHTkw0MtV36QLxSLXoqDeKCyxSWk82RYUk0pGMfL2aHlJVoBHyBYXfNJbXRC4yWhuvAwOxbkXhJXhK5Iw7PuIznb/3OWICgF7Ckta/z5MQ3rHeXozDXJxBtusssniOefmIz0EOIFiNb26k6B8hHtwNUy6RzGFlBdSnJFGiQL7UL3Hpc0GZUzdLKKYusCNnV+bEj+6sp/FdRUQy3LeApUPGFVXW3h9+6g/VW/ojp9pBIdEHy2a57YeOUQMjNPHEzRDmZXLnIcNgeVHG69FAb16cUqDhU/4hMtkkp9jRD2tzPbxEm/8P/fyLl5NYlCbAUVRQYHQ9Z3yCkHD8Ua8GviXxykoFCi7kli3wXyyCWLrVI91BegFROGHxi1lS4pQEsYHbG24+YWNVMdLJ6C6HPh3/GEFAUiiWsVS9znAvvyw/MbEe17Q2XNV21xfBG+aYszlznEfiAAtv/ombLiXzHnmbB3xdX6khX8qlItCm9IdMUVA4uY7KZiErCYROLXRH6FsbDUOfMQ2R4rAvpmW6565n4/VXhMnHnWzacLj4LTtq3YYZMPXlCLlum9+J4RPgx2UZWgOeqcRRrDD1SmlX/UA7bLZ1uY97cLJSoup5mcPKfr5YFpA5plciCx6OIg6pKmQBJis2d7K2+g8LFInpnv3ByN72+yrgXYrxVpGrfM29ng821hcj7LBrKFWRzmHLOyIZQ0JtNflkqjKJRVyX9cM66RiJccSEIbqcOzfUss8VeNhtZ6DmRu17coWOpqaeE8zH8wGgrpfmHvqmYwHhjl8j9k2N6lcms1Ceh+Eoh8Ll9rsdF90gZMijPondaYMVom2NoXeh5wJ+AlFuGof9tiCiyo6qEQZAekY9SF8mvyt7gLHhGCoAgoR8tqqrtkW9K3inthD9UrEmcTCOe02MUd3f6xfw4QccjtBdknVGdODzMLPv7lMq7H++09JfJbFxWE+wJw15+NEGyoZjD5arH+aZfxfw8+wbFh6NT2xLpOaasr4TSQPUbK5u+ckhSjiwQHL6hUdIlO5wbGqY0e0bjpnZM9QPRnzfXoe2W5dVc1LCVjUGr22IYiXSCXbKnQEhMnD4lEPaSRIyhnPGDScyzHwgxiNaMEIysmiaj4piwVDxDW6hHAzU3jUe7OMGCJeJmUk+rHoHUz7NkBqbSerCMZQo9hHda6/VJxUDE6B9UzMcbsV/zc+WRIkzajp+CRcugniLW9qTIcLHadJN/3iKPDViiUbNy1Kcd8cqHlalp1CK3966eeIgATU/yPGEuDHazEJGvunJHFLWUwyk72cztG5B7Y5gkl+G3GWHTw5SqUEL5fmR3BbMcRUEJNVvknGVpa3mJTj9bXsmmtv+0CkDez71WyiynmIkVpuuoo8EWnRKROc7pehOOpEBq4VjpZ4A/mgR1bgiVBln4nJDa/0hHmh/dXPkJzvvgvYVJJSwbnaA/JzWRp2hqR5qn3KyaIIuIO1Vbdx06K1eNfzeixQJrKAengDMimBpURp2e6HwQioIfyexKm4NuT7OrGpbMn3FqJ4kpk2JKtJXr0PMCHozAAGJNT6lB29As5XDVeunlIndLDzyrXchdA2ZSZJNxjlUv5z8YhrLtXcmoVaA8oZk+yhNBL8+y1HcQspsit/E0JSQB4Yvx0gmC/e3ED2tPPzye6qA5kKoX7jY00Ma7rzkoSb6kFwq2N4jPlygluA935Y35HkprGcsyHUgp0/0xK5VoTbjCLlENAjo+QxI6tFo4ubDD8+jqsbiKIUtYRC5zRhKYpjgM4k+fqw2tYChPnxuBvOcnKkpXn2ojdbFQ0WcDm28TWJsG9MwMRZL3frL1FI4+4HMtip11+tFpz0Tt/VvMZEqBOveF+yTaChdKnKrcbHNDmUhZX4iiLob7qn5bQOjSclalgF6HsJyxgzWcpkCSrGQqXuXKIk3vrcg2yTAguicpJ61eNSXib5M/kqiZO3YJLhHU59jiwNNZbD3guMJFvr7r1Y5lNtxDVmR2gRJsK3HdlvfzuQGh8EvWN4djCC1wZDKycIUI7O1Xu58Q4AvzikeJhUC1BpgdVnzqlV8fAq81DQfUh8okAgBVUp3eCBZ30oRuRq6qD8X7qrI+SnGOHxNdcEXrMLzeze6FJocnwHIhpNOiuTeUdr4zYRhsnx3+jHhiwDOcxr/s4mfKphhdJ9I+94egUSvy262ZIugMUy8yutLDI+sNv+j9QX8ksxoCqo1vfFoo+Ij9aCKPob7Ey28WHjGyDoP82KkHrjvvl21qtVPGBP9fRG8kdc8sllLqMInaLdl2cv8KIxfHUbA7EZ3Iwq5R5ecpexeogOViS82PAcHtJiAj5zcrvciYaWfL6V6ZemjyKtPPWvL9iW/dJwEbGC3YKemU7LyBWec20UyhMfuViwsVv4ciHN385E3cLdUz3Cb1ycNIQq4iAhEIs34H2OzF5CPjLi0rRP6QXXe8SX0oYsF+UIneiQO3pZEIjVzO35ciIzMhPSFfHDnO8ahW4TOL4gtwMj+2JILdQCJxshPKEwCsrwuBRYZgHz2b7Y2yS7fOyWi3JBFG5sZil+NUuGu4qOAo26khNQCb5zoY9DCIn2W27Cu0oJ7/w5qI/Ee7OkEOhJKWLi8FQoQ4SVgbvkVGJ0eMNRpri53GB/CKSq/UAOvYjYG/EvLVdldOaJiwGX981dFu9QVLFy21r5XYySqq7p261y27DL+8ETNNsot4gqWbKxW3dMkFTly0y7TnUiLNqZ/PdFW1dTVD7EeOwFYXIVZeJ0d2Hqyl9aAAAoP9lhzM6keikVR637PYg1wdV5v6ncPoO51jZzmFIgwtedN5xo0XDe9SntXYMkclPJ3yBixK9E6QmPcYfJf3nbt1oWb2AdUkyXsDgXLrgNOksDnkG8i6xpaVj3ZdipKwMPQwvySzdgRQKCBRHwgGXsxQxmXtLGpDepaMgi7/7hNbOYB/y6hg5uDvx5v4eaNtcrUG29XSzX7gSVLTdS8uKzUqtifOct3XVi62Zcewau3cGOmlP8eTe4nvIzcv5nludzgCn01EKD+yvoGH4Bt9iwpiQlY9UO1G6cSdx8T9Bg1nOPqezH+gR/8DuQMS3qQskKO3ZQ8R/rzhxd449dkyNwqd6UDJDAD4HFfVeSqmgfORLywiLLgBelBnwnqMt2gRvGtQd/KrGow//5aua6eHMRUrXrUCzbaQ/ZAGGbpfcwoTbm7NGhbTyEGpxdPVOz5U0+nXDrBGUmtkNEEQwCL31P7e5oyVcG3QMqBvAxFMx8hu3vkbg7dvF+1oWz87JQgTu/4DLnj/EdBno00vm97vLsetZudPYJZABvdOsBbuyWeqfAhk5HjQrKqBfKfuEysRpMNxzgvTuKM39Ksy3iunmSClTfrStaUQiVmNSKC7e0UfCdiiilf6ORK59mq1J+l/kPSycR91OV39ihjvIy0WwIFopEVQo8WdHy5aHGUX+b60MzTL+1W33+VWW7WImeeBbhGca88uA8W8aCSA7wIHn9vXsHin9HvLrBoNAUxAR0rpzS889RL6uKkfKbADHsJRICVMgKiL9atDXFrNY90wxM2O8UoEm1t6U3eFChxqygR9g0wRAXdH4X/3fIiJCElQLujHUriMbm3ZWY+ooOchIpjPWbDf5ghdISazxae4DIvs5Yijtk+AW62GCnAHn9widnSa3xQyYnQLOkhUvT7pEOae7y+XTeMT4YgeEiHDa6a1WDipEplz+gLp4c675tDFO8hRHKDmTZCQDFi0k8Q3nNJZ2myaQtlT2HEtVPsTipux6hX4+J6915z/0RlxHal4SUrAf5xbOtmJG7VVjXDUckzXf4DQEl9cdE7xv/zXgexSG7tFN4xL+diyS3juHqg/NCw8g5nwLjojImxn+UdAHfbmGw0iNIDX5JFTa5de9NqpoShu8TuczbutOcL9WnEgc/Di6xCV8t4pX9FP4G2jvdpqfxctuRKItUd/Oayo0yiMGBu8lF4kJKZTVuQQbWxvCI3Wpp1nqIm+Vee4h6K1BS3WYejeva0KtjO/TA4GmdCmS1SBCbhjlBa5YV8MtEpN+KBCWNp5o/GB7TBqlxAtURkaPA5mk0DKFYDtVspgkSw7DEzM5jt3PY784Q1fGgjGupE3aLizuxGTmFq0Je2SeMoune1InjzY8h9xcIPlEfXAwmG12lvCCWc93R+Mmk6KuNguL2nQgOESw7gxCKxaSdG/UclCdwQL61UM4h2f6XgTkrgoxER4wYYbpO18sqAakx+027IkAfY4cTYwE9tEAzz8tQYpOLG6JpGJkZFXAS6WmFeqJCFXTHNhqA6+cuJe0tlcupDvrI1/EURYE6/0CTt4hqTstk1bgp2vs/R2TV5A42eFznNSHPKo9zFNun1vEEgVrZgxAA9YyfBUz85VpqB8zXYvHknYSFwWYAvID8azmHrXrXKhr8b+hw7SkQ+mJSnxYiqZxX097hQZ3P/vglHH3boqhaFEVhAmQn6Pzb3sUzt/4moJMkBLoJtHg+dYniuR1WtNrOhXcU0jeAlSj7bPLBEPkR/ajl5+KcEIn5oT1t+NA3I="/>
  <p:tag name="MEKKOXMLTAG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1h9D1Z5GDtPW+wuCTrU5cbsTyeRnoM7v2+KYfNB8pPDHY3/N/nQDLg73FVUjs5JX80ZEMdZ5aXYVE2SrM7ljDixtoKhF4R5tzsuuZUVsHAWdLKh7xm5uWG1f4TmokDB7NTYv/hKLbtlWHEDUK6hVwxy1YK/ZVMFsiXt2hcJBz38TzJSfxKkS7On0E+G69NwSOATQjyWk0joYwNzcQr+KO6UC7kbJKmYiuIx2yc8x3dbAmH2waFWKpziT6mJTg3SiGRdh3mnRL+w3KbAxEsUDjDVIDWsd0xy5Y0rg8Dw5YRZ9zbnHY1Lb60exjHggukKU7z7YR6Wt5+X5r+RD513sbj5XYtIAFBFXKe5pqybPQsWvL8ja+QenU5kfvYk25afgV5pBlXKAsLy5pfAPkNNn1XcfXQV1MZzq4iHvTSH/W35ICBtMrdJ0CE9pHE0XbLj/5jrUTJLi4b4PVB3yoVbDWrPtlQOiATuaI/n/KvZu/awsU2C5VOaHm/9f5nUDARsdE4JTwibRsk1yCx1F1TehoK+dMrFfm+fWRodZn464HpQ3yR3ekPj9huKIRtUq4n5DgfjZZXKNRRAARbFhRfJB8fXHu6UmUhPvsP4IHZTaA3o4jutqDpo7c1Pg6hFqsLSykBQlfqPSX2WmWWTBNVuImXPBjhEl2zV8CqKcknsnnyPLSU9rc2zbvTiwaQFOEvGbQQdnfJvlVk874TV0Q/YybIjrDSayvRlYqxazqPUPkUUep8EmyvNtK7uCFlTB+ux9639Pm7GRqDNBXCpgyNUZM2UwuSC5oS8JWE0vL4s8h3aZF7CgiOEcVXFpZHSn3Sl5bk5RdHVSXXXZI+z5v9icSMfJMy+gb5hQKbXOtbcCRu/6oXK1whfA8MxDdqRxqUO86j7ztKbLfoIefwOEgRU5jWURHAG0Kohd5tNs4iBmuaWT5Xungdc6m6RjrgIuWz3S8AfGPLFNocG0uxheUqUWs41JyDjsAPHibdjv6f3p8qXUHfhOf9Znj6WusAH2kImFeTM8dnl5ziNcN4fV+jXPJJaazYOy8KEAHoZP6YGiY19V/TjRfiKoTi8tFB1cHR1BxAIiWrhtw8CPYKqDznP6TPQX5p+zdFJcXomYQl2QSA57GKSVegCu2Cv3UHlwg3dfa6/LKUbymheUMxdnxX+BwyRtsg3isI0ltEimJSUEdWjzIzDYO6cxUc5pzrDntAM+2+PrxsLMVs8I1/QFVdWaFXb1G6E6M5Z/ejaAVGu4OwRyZws4AmFm3ffZ2upQzB+MyhxtjiJHuiUU3aDaCBjZGnRthRvocq3zt64x0vJ9p2Kl+QOVBkIiK8iwNDNkiLhFUSEw4X+vC4JJTvgMehGmOhmCk4Skd/cH+V/akmDdyPz5N7vqpHDApHVoBdzUtFTeeJdnHBvmfYQS0VAujx/8boRZjCjCPLeTBvL/tyQzSHwDXOI8gdlVbz+wdZxCSCfXYVHdhCjGxTSTsISaecoQJK2wgI4vXmBMQrF3FLyd0GMGNDIQg4KXGSvy7x1+Jr3g2qeI23KlU99/rPqXXrNIxJdnHWqD1MkBU+P5Dtgrp50Ijcr1JLQpe1J4XyRTnl26ahPYcbQwjku3BROcB7F7Og3GYoqrsdjU658crLVICnYHdwf7CEXLU0z7aKIEiPIW248OmsI/SLVTP2dYXFPi6GvkvYAeO0TBpobAyjL1j7AEo4UpsJ1+fIawLtGpdi4oQm35InOnwjqNs+4Fo7ME/1TWvvE5qJKXDrzma3/X7S4hCG7jTHvcidPT8yJUioZxL3ESHDqRKz+b4IjdtwBXN4dK3RANwGEnCmjsPSu/TN2h2dSQ6a+mPsWJWAEDl2F7x53Me4005XGrfuJgPnkw17DrJy3KZSSQ9wtoFGtps7plGda9aTsIBAUcnb29vjTCDxqActeV8qS4PVkZ1f/XV9fqaMK0/L1vMQBQH58ngZvrbYn47txpRTgipoTKmkxPqtSJCeEldef126Ul6ElCVUaSHR4UeXnFrDh++/QwUa+MInc+Mihb86iz/U/cvNwCCQYAakz81YYBd8IKpjdjPsDSvE0RuqXj29mb7k5ko8ZgHPpEzjrZTY02Bho5RUrOTCj3gm2CgRfwPwEAtOrB17FLyGd2HJ7AZsXoahnyhhaT94xPn0aL6y5q0ViMWtvqfMgj7IvcE8LdNmBzS4oMbuUBJpp0HGRj5WE3xO6Btb5liFl0nut7+CWUCfnfB6wODscz47fz2aSpQpHrpzjW9Nnvo4m6mk29NZxJ/dFWIBjsRAaDzHKRXwLsdpkXKRx8VcagftXrgNe6CN2wv5R1KOyBS3CuwIy8M/Pntfsq3DdOqcpTLz5UZwvZxreCw1SBYUUy6M5DKzcPyCltTs84uar4St8Bns32rD15qydYNw0sFK4nd7hIIGvCaurkI/LzQIbCahVlRROqJoy3/WcRriMIy3LA92lrL4g71IzRuC9IsqUI66fF21ff+an1TqWs6bu8e8mKzxqZ4cXX66BVZm1Y/X1mheTn8CCOFSWagQC2wn4pZ5921x/ESB6lOJv5j0aDa7MxtZXHLoih55o83LZrO/3hWp9oJ81j6g0DqeH1RsWombM1lG+yLBzuNHjhAFf8Qm+eeQl6f0j+VF5Z4JJ3IHrCuz5YF8HbjYUETx56Cw6nyTwClC6y87DaDBxNewCfBSN3BDSqvc5ChgXhMJOfRnGUuv5wJI/MqFWMdmv2cGdhQgOnC6owPlO+28jaM2bQ2RO3OSj9/h4ax1NQCbi7XXWBrA2H0fVxbBl4hVpqPAwRWpbaZLWZYYOVO5BPJtaIsE+thhCnYAkRH5GYiSz99OuQdtIB1jphZKQLzuS02AEyCN8g7CDxaCb7aeG2opxewgPYNygkUS/Iqws2sGzFR8irXAjzhv+7FP/LBJzboCf5dXi1CNfK3aOkbCbXMscay1oXhNvE6vPT5NdgIwIpNLqSok885VSiU/9JqAXlpQHPwUmI7GCXSXrs6mLEAPy3aEq1TLBPvqWWOy33VdHMNYhcjQJF+gbqpAc8zIEJp7Uu2PhY6dD/DpFyVaKx8ggW4ibBhupx3q6G8TlwhYq884+GpzZ9i9tf/WEjVr310LyZQXL6X0cjkqhT/rjSq3dVw2tvRLNo38ZRkIN6dF7hkv9Z7NBMInNxRRuF9+Fgvcbrc9KhudDH0gpwdXd+NEXaWVBU49L9dSQ5w4yrvhEsocw2WB9THuf1EfPNdB5qA1Nd1x788WL5R7JzNxBj7eGNtYyzFCIwCT+dfR2iggu/8NhoaFEuL7vmqK/tmR/sLy5RPJOtTvw9H7aBOihkJyiqKFoeE00R9plJ5xxySH5TPheHtXj0Ti/p3SxPD7npx+WUQjYQyyfYjruyihdGv0pl19DoSbnCnmC28A8NBRQMU21lBh3PKRkZ0/gs0IQAb5XDBvL+RyUD5LNTiSRtxcNxfGXfPwq4wM5bEutu2d6k+V/o1Y2MKEdhhP+Uz205vN5ZrAMlXqqhYNroURnpzKWMRtJkHPW8mXBkHkty/w/v2sddReVjPP8So/kQVjD0DJbzDbm3n5lCdyPnS4ezScrCQyGjz1q/Ff1R/u+anyWjGzO4scKejksTNqKkueYFU38IZFjE/gZBcf7irQp0nTL9wC9EQT2yiFqzYAW9S8yCEPSFbSMiJ18X8U6w3BlofYaCX+Ks0/Wqx8nHKmRLqudo0rslhebMO9pUKqwTjbtcpd4I3YPZnCcINtsqmdNJxYWfAuZra0DIj6NdZpghdN7/ua4InR1BhSlpfTvojFWfzYbSMhUXxZM0+7cU2N/4HHJIfUqWSbldmR9VwVJTa87ye3oeePu8jk/mn6B6Mn+JMJockW2ubkPBDl7lFHBsGWBSROxxDUnxjb6sDIFwrzFaOy+3OMlNYkhSn6KEN2tL8C5SSiCtO9ZgzdankhnLjHYv/VTN1gtMzzu11LTF01hCcnKoyVurFBMO6nIk+G7eklUdsSuj/u0ZdojgmsalCA12b38GIREU4zSSuAsT2QgLW4Gug64O0nTgz2/Sjv+OqucygFWbjoG8wMKVxAPMfm8I3ZP32ibsNermntn9klKf+qGJ6oiKb4l0cDODY3rrwN30lx6+ji4ZLNYFJja/dsXy3dE1OvRRz/n0AhQXvpPQT1t3DTcg0N3UL8UawNvZ2iol5WkyoEwSnQHfcIUYg7q0XtydANt0pErrZUGAm4k5oBdme6Zujr5Y7LFg95sSrKbrObLJK/j9rdC64/la42CoR1T3KnFIa0nkg5+eyfLIhdhY1NucD/GxUawxO9fMMVUX6FPZVcbl8v+au3r5zRRzi5j7XE/cNieHg73HIF6Fae6LFH2dKGQx2K7jknMukNDJwuSKmB3D3UHrpHaRghGdig3J3Pb+b4sOpJAcnhoW21JBjDfqfHOBQA58n035El0sBhKYt6OA1447XtEVc+SzXzGlfrRRTXJV828nsoX5ubh4HjfXuVyIIjdkWIi0TM78DAyyzM2Cy+r+Yt11uj1p+u5PyADSs9kApzkUEcmgJHaiX34lw3DAwq/eRrn7+rLmD1JUCaAoogNjkNmRdvz6KyXbShX4kpLSIDh22n6d4GssPDzz3xiQ53HBsfItMi67Q91qCFSYelELaIxF3K1LBQFQeOpnTX9/CYcEq9AMgMUHdldSrQunnIGZswpSACk1qdVfqkjfELl+F89KXOX96RPn0Q1r+wuKvdDdiSRb4klrY5D4PSvx7HjXkCjIA+7PpKTwqDsfOmqrTk+tFcCiRVqraH5zNJ3CNtM6htx1fghEK8rVQSJ3xXjPuVmNPxJ4kfMAk8YzDq7rUABlwDgB8fZi5t7BZq0MD43AVZnzEQZ16lPeiNulM9Q9jKVGMYdBYvYZbOCYC14a7zHpveL8IhA2tXekn0Fs/ziMPQqEMn7nFwDxEfcTY8N5klAQ2IXw70VwKjDc1pFkVMlX9esH7wcv5vORX1jgA8BMcCGBkRBHWb8QNl9VxyitTZQw//fSIXWCZjw/ka5uWACdj4noHiBmcT4QnYxmYOQ5Wz0QwrOaAVRaUhOUhRCh0GnjNZLYHqNd2nZtxbNFdBFECYhwDnDf/jR7rcnFc/WoJSeHDKGTQlIG7W51OmQq12aR2/YqOHEdOFk4zfkHkqsAGHq8/RslJaLn2ZcBNF/tdwiMAeZsn7U26/bLP8TfB5DSFsp8bqTs4Qay8VTMgWMIWn1fkOYzySVIuyC/nDrzoEzNozxSGRKEcdyaHcBid+h035GzSESsJsjPwn0hHlpe3hAg+IuBj6xzaPMSaHZQYnb0eZb9v/skOmJlacKXVafx/jv82hjzx1AUk+RPk+JfWGSVwcz0dNK3B+Km0rIt8zSbIq1jURYSsDUvCaarNsF24TZYxLnO6paQHnoPkfJKcUOAeovimuL3n7bU5MFhx9neUKxYri45ZS6LCEId9eJ91DOtFdBhG6lArcMwwmo1askUkmSRknzFsFf+om1nKKwkKdyLLekbrkzrs+kVJWgrSo+TmVkMzBl/KpEHDamIkH551rIyhtYHpP/C1lI4ByIdDVmfihu9xoJGip4lBAPaZPVxcC8QO4NQeXQPSanUv41sOUPglj3tMLf5xpyoWdYSKE/olc9uQf9nuKwsUabk9WGbru2TlpOAEY/QMig4ET1tg3rgPGJa4fpB5OMTBEs66WNKMJkOPxKWTaD+OsloSNgQ802RpTklBKEVgGB+B+bdXS5kEboaTgqsD6o27+ryyzsndxpRnWZ9WKPk33y/hOsHuJSlIJQAzC32iozf1vhIC/A9fKP0gERu1qrR57sAE8CGUqZPSdwI4m5mQtEBIp/HxMtbMJDKOWIn5SvujZg/HXXxjfxvLbFoGho+QL+xGWq3n0NK1YUBk92yHdjGjPB8IF8ccgZLqQ8LxtcKmXAWeHZk9Dzd+eRVD9T8em1pOg+5KIv74BFScMc11swjpxQGfF6UyQ9c8kzz+a1649K09H3g0qpu020d+3srBS1m9OF8sdoxfa5AlTN+3ZvE4op2n01rBfv00JGMH/PBv6g2YibmO/4Er8Ck5Ax4z54T52aMd+r3qQHtaPPLBA+9U2HkHGurYti0a5RE9zyFDB0q3rRtDKMu+DvpFHZXGgfbjZ6l1OZLxkpruoVdBHtuIpOHlXR+5qKvjRwEO0s709Z9/Nc5Pp+hZh561XLkFe8aeFrS/KcTIWc3+uP8gsXTQV1yK8ikfFUAuJApEs+W4TWw2GeAhavwhGhlZaxJmJlyp7BzMAHcZoNsy4rwDuDTvVbTHYiwphlXgdCDuR5EuFUwZFC9nH6iqaOmRBl15Xo43MBKPxww7otYcIGEitEUhRE7TktZzmmdFefHoX3CvH2QOW2jQgJrY4H96j0I3TAlUFCfItJPZyn/xbo9WnjTnK9FHf9EFweel3ZbNEiAzWBamKTDb64EaoDrOTDJHdUlOGFrN02W+V5TvBDO4sYNa/LWlMZZIIVUpyEf41v1XkpC24Gb/xHYL2PR90J98mGoVEgQ+T1jlO2c5Jo/pfa9K70WqNbZxqSJtVrsgdS96eqXDkXMjWfDYEMKIEZMACL3CTxBq2FQjjopgWmKZTAOuRVhzAgXro+dw/5YHCM4S6HS1u8mglMhvs/6vCnl1VRSMHw7Tx5DIAloMqqAqse8SNHKGlFLZ/L6d+SUfbK7euvlKe74JVaA6wj/edhYEx5EE7IhePoENi+OVS1eNY/XIrmG1f99cZr8Tj6W00q8hZjXyU2B6dXvURw+tZFRpmbpjfk0vC+FIM6Cls1v3cH8iqVJYO5kCCWz7HMiRLECJoEb2dBTJ9wm/ctW3V6TXF1lk8VMtbnxcJ6QJ+KtsnWaPkMmzkU4B4Bul4Q6pXcMO+5GslT3RG0Z8Z7Yqt4rnKgp/fgp3ZbqtRzN+RHXc0Nh3M3eQptda+WUpEugTbc4r5C3b6h/i+XDdB7fu98EDHf2exJ67BZL9ijS3lOACEEkQ7otM3bRsae77M8lghE/mbc2ROGTqXk4kN8zHjRWn7IyH/xoW+GL+t6NQBW1TL7XQU4vlPZd4D52MUnxyyiUjfFc5XEcBCPYKd57hkP4w13XKHe+zDWJuhV7nPhD0y8eQOmt8emGizgzBbPlOj3pXwaTKmqY7hOY6LtljNXopQDXaX4CNbkFW69TuyEnlHwmLN8f66XJnFICGip52hTuk0qwwzu5HHyt7XyVY0HyXO9el5fVSOW3ngytCDWYQq08nhqv9pV7I8lSRAeFwmaIMzocoZ+SV/Txi+BUWA2kBeKW+Trt1KpMv+dGAfdOsSVJsWr6aPpIqUdsx0JR0yEuB5bk2zUozFCK5bEOISEdmiFoRI/+btLkdIqXzw2a8uszngAP1pu+VpPGG1kj6bNqTe0BBrZhQG9zohjC6rWENKUWMZjCYF2cVE+yOYOJUjhymAOF6eyRoTUVTSzmQHDEaf9cYLmgel7+ywsQjJfSPh4Wa81sZHGeIIJni76kqNgeYDU9HGbWhcw2t6BcgjjzlIZUAmGzLOHJsj86VaGMpU1KcazkNIDdU5yThLtWnYoK4FuFtkGVXRaiYoTVOvffn1A4yqjp2mGHISbWMSS3n/1lem73jIQuiuZqTZmOXt9QJqxSw8+bflMY2GwKKttXujyTvamHoztWqJmLcuAjUQchb9w1D9mm5kLmxz1vL8f4CSBf1QrW4/s8Und44KU6bdZ88WkMsgtWeKXkJpA5Ha+3qmVXsFJOmuiHip23d1TSxDwY45AFS7T6Hs24vMtMwaSq5KrZZtB+7hW6SBWbPPGnQ/yeQwzbuG+cvLIm+JSjddRKYIpkwj/4EbC0Uc0ev0igQvpl01cNTBjjdtMNobs6amoDjBbsEPSfP8W4aXEiKyQqhmrovsFDiPxXcmAsOduAV52GK9qAEAWIOnweJ/pONxGYyzfjFYKQq7OApRUf2s6hTngxdzqp7SHNrvBZWftUHUYORfvt3JkrGgSpcrbU+IlbYShmvoZMfyDc62UYF1HE/5xVsQN1AjtxcSwQqn8ycaAoeDTv2X8gOj1+0FNnKM7+6qj6JXPwMMrKWcZ0pVNqH7ypnYI+wAiX4FHMz5IrhEkPw0ThVBUXxgpoN+tExtVedhYcugE6lZn8ZclIbOxaVL/9LTBh8j9+wcuaJj66TfXwnkdHXB4pddI8qJnt0loJgwS5fJaLsYJTPrBsNLTQuJZFfAfQQ1CUJQ73jGJCCIcbMrDlRv/MxDCuk8KBQTXAZoj22xYgPZ+W0ZAh2H/Pa6+Itb0yxBmhOSRAvLnl4uE3BywnwoPIvoY5xNS7oUA2nLuFAwxCzhnHH6X4fIh6gJRacFi32rg+vWoDgOCTi1AzZsspsnmJNjLHmIUt/Zf6ENkspy1gOM1jsUtGLlfiyb4SWiU79YnOki5vYswTkDezNmKI68NNPW+3KrixD/pQ/IjBnXpXR8gd3SPFR2LAo+711ek24VZciVDtyORCcpKLW3iokFUmlJ+L3U1jz0h99z1qkCR4oByrMXmIovT0WonnAmFGE6JMm9TaeRjMXcxiJP1gGZ7Rp+oDEP9nHqhGnIwJhKMPHF1qs36Ci5mY1yCouDKyzsiTvdOaqRWKGRR/7WKmWKA+4oq32DMG2e1zJgMU+cIx/3tA7hrOKyaNkPoTCql2uOkQmU53WhjXeNJ/Go+OyeuLpxWWfk73WwqE62HrfjnMTQzqV6KQyif5swuK5B6yqqenCL0lCvG2thKVMSjdoPlehXf8pd7zO6RbiJ6sdcaDxfcKxowpN0cy2J/YVHonPv9IWbnimhFf8OGoZrjR2FhgFvge2YnaocVhf0/B5LuFASsUJs2KbX9YOPeqYroDnZHSzOopWyWwP6Sk4Gpc431ook9KoDrTM8sS1Gbqj0J9ljN8hjAyuRgimDFImcVl+lDnbi+2CbWTmqaG9pEfHnNdzJbGwsIhlOv38k+TYa5OYsgRYm9CXjsvOAxc4B6xa5ddkcU+y7d20mCbp0yhLBDYu0Qzhzdz+9LoP0OzXxHY69Hdtx1AvSCO8Jf397rcVr/Z2b7GJNv4TzU9ZTm+2FBPd/F0PFdly9vJcy86xj/D0O20tkpLfntbYznNRDCWKGO2+cLQqCvYYEyuuORsD5iIg890jKGNBn7yL9rFLufYj0E7xLK3kYZZL/FFv/dB7S0V+icLvnrQCCAcAZQSCDbFiPWHp6jXMTyOyHNT8UQNkCyHNTtKMyPweDPFi8wiU6IGUK3f0rPlCkWmmfSj11vf33zzOnftPRrN4hXxRnH8tn3/Seh9E9ofssY8Rhk6xqaLlq0GqlMN/uxPn1kqA2ejiGb/1vrNBnesF0B+7O6UpAHxxWi59tsMSjnacFNQwBld8OZ4RK5VKZaP8tHt01OJUBhBXPFtuwVrXsCQjLgcxqrN8CnKzsN+fyK9G7mPjznrRTfLb5fMtOPVwA6yhFEez71NlYuhzPjgIhzro+MkDxzylX7qWB5bEy4XiqAXgLUato9+gALqEOXQvxTqp0pJUlW0WhOsg4jjOAq1KrXZqlHkLoKnIw1CsQ9vzgJJKcCQeo3qHcFDpii/MWlcliMcSpoARWnrSWOpLH+nptMik+ArxkPhYl0+7eUmbkCCi8M1aJxsZqUYldNLsfVxpkdZ7nkNKkS+4QVBQqrKnD30TzG2yOcCytlfi+7l16LztHwRBwq/4zlzlRup6tRS5NitaORs8vf5NOx5YTo2YMSLMymyDiBpqJKxOzrYLgFS4w0nX77Pdhm5G+IACJZ7kg2HSFqD3HJ0JSHnGSuGBPpyA5ZDRgzCRp0PpwVd6dyvi9KXRNoZQv+XUDSAQBULyT1Bd6YwzD/2Qols5s8Kin+LWgXCnijWIWIJSO/FbnH/G/6BD6CnXzPwoqj1XI9TB4V0/r3jCzdUfzQN+CqoaGQWcw0XhzrUO17w85YQftPQNrNTvoopqMPAYWjIB0rSR7Y8BzB9aOGxLvOFJO6XOGhkhSpylQFj8DDtYRL9z69K6hPes7JuA7gI22KW9A3mciHUhBp01als3LXIOOIZkR5L8OqPwYHrGK4hZ3llAWiCXjTMGrfYoiLVIhT2Hte2zUTBHHzbitfiX7CXvZqsf8obf4+e/eh0cFFyeE4doEy8/f9VvvH50ACLXqDWhxNy3bCL7dUOvNXSO3JLMQhrK2QtuT32zgNNZnV/7WC64dONsuItDIVDHh3aMR9A1uqlMiaf50O5+gQy6LHsJA4/idq+dkIjh3DmtOmiyoMwkHLpXNdDNk5XqR0hdT4BInyAvAFAWItWzpZiTFw6knzmq6VduZhm1SNHuJGpLOuocZagb0D/c479FEQgOP4W3ZAvuGIAn0CV0I2CJyF+I9oHTI9QwENscVhWDA4JoLwTOgRe5aYu1LHzF8XiGbHVGLGDViVm01igK3XWYxEk4nRnT4hS5ZiufhCBfiCKapbPPMYLazR3BHWSiFi3m5JPHdxrpvb5MN82wTK8oBqJwwcjXUlNg37R/R/itYDodrDrZiadDmlzpIfamQzVvZU90l0fl7zf2zvhB+s2Htdw2fS7WDTPattIhxkd4z9Pq2mrqGp6HhCTj31foPcw/s6dALH24k00g3RUZ4Bl0/dUI7HcgI61s5Eihw/hZiT5BB+DR1+n1K6ENuwssZjAZllV7EIS5LoIRGTb5ztkcHdhVIufoQqR/SrnPMIBBqgDhPZ6ov4t//hkIMs5hhPUqMefv9Hx2LqHpF/eHxdidPNjENJC0CRn9bv4CqMfEDk78gcpYcAEQAFYfos15cOKMFHAxnSB8Uzbw5iMvh9rgYT7ClZKAMnareFJ3aa3209aDAY7uJsu65oWHhrMnE8k2Jdp6C1h9a1TvSYykL7Gp6nmKOriu76NaQ6bbuoBCzCt7h28NrWXEZG817JzSGp3V3j7IotSI+ZFHxF0Nfu0o8WNleSDdniR32/Xx69uxJj8uVER9gyXr3kFnh6/jEodBOTCaimYQfvIlFdNrQX9XGkLevlolP9Jba9+eg5DhZKRvTSaIwm9dj3CJLmv9sLzuionfAjlfOB02hVYK12MXCdtyqLbu1mCZaKAeqgqZ6I+1KJbO3wulNDSlmzgiuxWE7kPwkGuJC1KHGnbz6bQQrcKCWKSJIzU6U0h3k2SLuINWcsFMGjfqXZTkw2lb9igT4/Xd3E/NAP3wGWwnnlmME+IX+cItfy2Aq40dHEoEXXlmjDnSC4EgToAvR1C4fSfbXGzgQe+nVlc+nwOz294clWsIvnuW6SwL/hj8K0KkQF9b5ufZdWV0UI3OTKi4LYlk59B2nRdpRdETVn0ih2UdNNWnXEwbA++BgSOxtI8RbuG7laDp+jy+U1nWTJOmCJic307+iD4Irosw1LEzHFbOj8lvOYkCp549yq+lSryXl1ArocsYpnXcV9zpmkZWCz0a4UXEAICrLQXFl21jcR7sWa4woHfjDWDfl2nJAXtdfLjXlW6AMX7EDoFYp7GN8yoymHw3ccx4BFtXyxRtjrpzwFMMibDiqcu/QVcDroWefu4pgA6JFnp/iylzbHRqszvpsZ8mh1peg29f5JgF8H0d7Gia7uYCs0uAAv9xkpPptlmJy8uJPBdpRqinGIV/TG0SGkmPambJLCPg+6iO1eTq2/CfXC8Cium0K7dn2aKxiU5YFpmhgmTm7crSZu5HobnUCA+bfllB9FnBsmlHCy8vnKOZWiOOHNmm6Rn9/rlybR+/L9WBS5PM3SWJCGVCzE6nG2CPGfuU1xndgDlW1IMup14L2dqsVJwfXFkaDcDE207GB0hkoM6kfhMj8YFwGD/iw9vEeaPjw2sSkMX9fNOaP+RvnPXHuNI4Ww8Dv0IkRiYLFqhPyAXYK7U1ACHs8NL/56LlsRaW5wBJmEwiEjNd/+J3lFfVBvyzduJQLrHbENK9qPGlSjgV5xBScg62Bx6g4d3jI6LFVIrwBjP2wl0F9kMPbgB9bidVMTqBIkGwUGruGDySk4DeSeJ/PxnErDikETIp60t8Gn0PrDstDZsMScL1sxLQnDRQ4jZAWnQ9W39X0MUc8b9BAjEc3nTdMVGcGQOPLCUIdXN/MUeyRcSZs2nmdeDiexKjKrV7MBkpxCIkhKHx7Suwq6UvjScyRmnXvbRNSb7AGPTFwtl4pqQaifuyRf0fFXCCfoLdmttzAzn5no8m9tmQlRmT55n9Hb/GbRl3rmm00izuB5mYqqE8fjsKqax74Rr23hnmgc63zBGJGm8oZtgSA6CI6DZpxvLYkHXWPYoXON6znY3dlNAjKL/x/6q2VFV/bngNtNWDDFJYy84x9qv0DC9QbJ0EcMcLNh99XBsv2EMvCRuMFdtt3Yqsr2v2NR2G1qbD9SauWKopzCk/mN8q9ls6vvowoVYA4Al2Q/3Il763iNWr08upqcMj5hOq5E0rx6pda6lr5aDRl01TvMzyA6vdDZYYXXduox8+XTVCGqpYqk29wmNP2CqCfRRykoDUy7+13a5A7IA/MBy4yRgfMQXXj2xvSgPQQGnquia6vnnD2E6CfzetWX+a40kpJYm2Sm8Nj1oUAcO7f7iKL06wiW4fmwEU29w9weGykbBKN44rDhmq+UwOITlh0LGaCLwBjT2zg6+lwIojxy35kwcHL+ShhgU/RUxV1SIbnoojJpLrdfOchjgLc7dsC77OlPkjA+FQq1SmlucaXDuriGNFv3IYx0F0D8VwTP0BtSSf5PhfnKMFMR4h+TrVBUQI2HUgMU5pajWN64Aa31gBgp6/7EkMBtfMI+2O6n9BN0yxaTWZgQ/khkfA85aNOJzmmUHPqlCpR2AdpKDB4UspP61Wqylc/PZTvk7OthOqNhapsjqoYxWRepgZz2HWWSwb5ynoxxL+grIBESj/yJwYZgz+awcU7cAHBSm51VWgA3H8/fkPJ+EMyEfdopr6d3A6/1TAn6IGM1jI6JVeEiRtPB6FT9/RwZ2EttAgVdXzs9rm0VTHyWVuNsu8hF7o/tWq23Pt31N2ae6JXkC8fj7GK9Vlvhisrcleo8/6OiTbMwetJD8QFEIPCydlMzVDwKcmLXcy1hDbHjVX+mUlrgWwZMnVi1iK1hfklCvMjhRQ8EcRHj3i8C+OCUHgzY0gxCfclidca9p/YCqhbMMk2rJreJpNis43iyoUrGMl7H4p32ma45WyY31kNaDi3Epz9mQUBWbf7YC1XzA76NycFB1hqUwNO3kOgxcBSUKENb/G7ZVyujmfAv8fiAjRzrduXzIvEOiyJaTuZYRb4e7ZIQD9cDWCxUQJcSQnMXt7gER9L84NbDCWJPRt+F/RS+wgmeDXhYji94qwlsHmzVXARu9zTOZtrIieRO+tFG9p9c7pRjvytLaxVSR6xh3e/wTeJwcQ5xJ77BywRUARh8gmbWByk7USyEYMCagJobPsyX5mJDNSocsh1cmpHB6iY0Tuq7K93yabEEoCM2fDjc5IbKBy0z+EIQ/M2mwR5Yfp3EXYXXfZsqRYFSFY3aRUuBVmSXvDYL9qM+n81zRZ778p1OF5HlRg9/FYQ7vKlYCVjIp6cWGpaDG1xqcw8KFmTRTVakGAxgb5UJ7keAlUTSL5G9Yrx2YrEPVGuwLY4m6b06VZfRNvscq/R3ieNKUy8H0ZrwXWGTRPhEIuWpLsRmiN2MRlamgS/CYrNgUrw5YfvijMAhrOm/PxHP1p/bGO2Fu2ikicTBxT0W6/L/fHNQihfUdvmnrwryiFAsDASx6p63/33zlkPACHeIyHCcQjdUcf5SpelQcynkp7MtB9/q1W8kQy5ZNqPsLlW8CQ3bS/a9mCX9WhyJMGCBS+z3RzEieUBnjnOgHr+ekMChN5oO4Cij6fweujYeIByMIRZg/gyl9zeGM+DbLEsdmiuQMjchaR/yav0Vhsx7U9OWAQpBk5mpaJ0yKtyF5TViYwS5NBCOVcfX/+p7Eo5HCLMDmuh83I+7mOSf5nl35DEezGEYUPRlfkq04pTgUow7fyc0K3Vqj6H5hjlv8WYiaeHvQCRwmpsioSe6aBqh61Q2Q28MqWMej19eohHUZwIM1C4MeBHZqo+SIr5mgQkmkWvLud5F77GjCYVlgEicyC6G8wsgvxrHHSYqB6f97e6RSs0i1u2NnZWm1NEMqLYVjgsJEi8PMth+XjfueqdJxJCrs25mcngr/Vz9ZLaZoz+VAkPVMpFQ7Ik6d8aPBBbgFXzNWuoDVEtk0u6HGK1wSsNn9192pqLwBI0L1dNgbm6lh/RNKL/8n671NwD+S7Z8PZeqLTox+e0pb3rlbAHd+KUVzmPJafRDQJ4qkr6t8SEfzUjJhksAvtYOisGiebn34AvMeDuu/InZfQOii1KcUSrLHuP/WeLFpeWlOCU3BMLT6OqHzaa73GIXCSMZwDQR/3xoZhBKEuLWgXOEVsnY7RK7Sg57fKcEit3/dxbm75v8lbpmJvtYiAPHJileeJaZwLlm0gr1N14MKi0ZLbn0KLUOnU5YTQuN28YISupoZAqXyRKg9PPzmgS119TApvh+Gkb6Ao2x2hVZsrMH+g6mUO1kH8VPEaDPnH8wNjvrwrgqT7bGpGKEbD1itbMUEVYkELV7ofVNFJNiukiCZsENnACTxFxF7x2T285MymXTWzu9uucArVjs5W8Y89JzYXnpPWd1tLaKAJSKOAiGIKbXnTpzfwvFGBlr4rfuNIRXm58Q3A3s9vli1WEWgo/vfy6pDJHq7L8jmOxSv7BJYdspmykN+k/AWaV59Yiy0RtnPKdUS5jWcYi+zMHXVB08IUe44VHfz//EEJ4fjQJlMrCTQiEZyZCy3jtoQIuT+6d9X0Jnrx1qGzAqWoe1yoh0nRXrpZWXIcrCnQ+uRHmfLyVSqBvlBH2TGDyw275IpH1eqwYbSuAjk4uDluLQiFazyruXXm7K2iwc5v98CzHczIttK8POqMY34Th0M+/u5gGBBM3B9M+sK70scuxnTFodbKFxafCP8dhqt/40aHf/1mLqUoB/ihufBEDS4YgB+Z81ETGPC0v8HbbitlEVaIgvRDHgEVbW/OLDbq19qW4zopNZ3dGZxYgYXkm9cBJttWtYCKEZvP3bI5VVxRDWb6Dkd3GE4hMJjs7lNlwIQRczszEwrVZ8TKbq3VCOK6vwdM8LqIehYdLvwW4uz09CJyYUjMYeQdGRSu7gyDLDt5hDm+KPumwTU1/nL9BcstgSc6uogF7XTtWpC3xlvFDcV83K4jOAg73TEAwpNqQfSr4sxoTsBYZD5MO0Xy+fzWp9luzvjjuU1Vq3xaVP1DofrLWGNGeoTIihB9frj156snJQ2RNXSU1kWRki6BOWPVvNEWRhPp9M+s6SZsqNXDUQjhIvwMto2qfVU16mMPLtUbJ+bUBTIu//T8f2rRHGst05eOSdp+ZAJeQZtoNfYXQxzM8fbfyryNO1htY4/YgzY93lCXroYt0NCrM8oDiclU7VHKh0hg08Lb4OMYEyeRitDLPE4lHNUl2ug0ug7vZe6LexFo5ZrLwE7NnGIE6w2rxbpbufFU8X4JiUebsktERkTDhKSWmVXyDAY1xmux2zV/tJw69RO3Ieca6hCfAASGCT0O6X4bcTFfhb/eCxtuNsX5tPWLEWSmAiTrjzCCnsnheM1upauIn9DIYd0dghYHWL8pJvRecQJ7n95rAjweNWx06CxgLnVW3nbTnGgSdR7Bpc9GQ0z8zkuiQN6Kjux8AAMdPMCS0oaw9IR3s0vKkv0gDn1mt+LwGMqRuMbHsZQl8Q+nVqDHqQ3NBm8qDcso75zg+ZhNA1YcvVrokocWPhwc75QdiW3bMO9su2+3Gzth73dJslScEcY23LAtmlFvkP49nKrpgiZuUIQHr2faXcAwKEyYj0TVaCQbA9y+zlWF7puABs5PwIjz1vPsXMLZN5mrluZCg1cbBLdCUu8HdcZ54XwdlL7xI7ZeLxqghkK8tM5dzZ3p1gcvhOgXuPJhmIYvI2PTTdu4lWyJOxZ7glkG25vDPtrqdxXXwbNcnEc9LKYQgDowi48Aord3BdpjkUNQIGQbVIgm41f/cOsJO9fyXO3hlvLLlQh8Dk40fm/migbM6hJSItkgL7XJ8ZJocgpGiwnZ0HcoTtck/fLpXwtkTS2dxwKMta4IgJAcELw2fQ5yWAMI/flkjhcfy0HguM+0pwUFOJlbfu1D3+4vk76CL8fQIMU+8Rit4XeOxdNDsIHJFu0mhs1t4xVX2dOgNhFpqCQNwskDmqTzflceQyogUJ3cc9HmQMFEtslDBPzEgIbn6uIZp37KMH/vYLjkOBM56uEO816U1UkgIt8pKTht0iz6h62+pOUBSDyOun1PRlj/HXaSMNpntYBAP4ydAcXS1vI/nYVGqSRuRxSsyf7FZ7mZiNYL+PGkm1TFssTw+iT85Tv354xCmRjdByRiW9uaAHQXprzCJNfe8OmslR5jDI86g+c5RB9DNim3xZQC2WI9zQpp/AV60Oa+1rc8QqRSErKXc5RofR302PW7uvFoG25roO472o8MT5LR3rT6tNGl72y2aSno7peqnzAslIWDQ8B9KS3aGeJRHtbxDpJMNSVdAIMuTUBD/58OREyMVLEhoNo3NBHcc7WdwE0BMjozHp/jELW4fDNybH9rATPamVzIhDXRRYrwDCPVjX/fzBzmktqQlrP1vx9g53vEozwPkMgXgJoik3z1xuC0eoonDvapQnSSWd2g0TUXGUFeE3QiiGyaKKLQXDkrPIEC5C4C8V2HSSH5QcAJNry5OpY06pwuhF5nbHN6+JsnyS/HMFSJASpJjnAluQECUOTdWsvRBDY2EvOKDlYBrqCE1KXg2KNe1rfI4Bc7HuERVIHmhNjUHqNWuUvnn2m9x5OBzgFO8mms9hQG7Mt1FLZqLKSerJyBQ/pvU1ArWpTiXj52cWsVrnv5eIvev4mjl5rG1ePD8Zztp5JMPcr+IFWd63rAWVqrXU50aqDRB5k2Yvedn6bXzWiuSAAJF7vtxrnx7yZDDmYWktpECsFW3+G7cYuVJMwfUhueEot9KetlccLCWSozwSRkxFmtlkes75nG0rugbDS7UGlGSkDWhwFfin46jLXUBhVKnM64rosuDDxUQRxUEVd/TfQCKPVZthHS1yEmR0iWQBpBEtDlenilVwS2LUDhlw/4B6gRtzUD6/8otHPPtfrHWsTlCiNd7hpyrdOG/GoxiMbeZjcUTFVbmU1aiP7G+H+kHPwOOxDK4irGJUWy/rlUYi86hVSv+XEzgZGQfhEfJhTNrR2t82g6FPIt3wf5WtN5SPwM0faMmc8iSlLbt6xM7elKrM4olR/DNXKK/xIZvzTU8S/OGuemtCYZMHJaHkGVzNxbAOVfsdd1SctA4pAM1U3QpEwrZx0qe2MOBzvm81dyG7+iZTHvzJczIfCjRRrRgs3cH1rZI/z09Ole7BXaJyFsCJDV9qPDwMGPKPG5F4r0lga/PsWelIebHCl49WE+jfPbt3zelDhuNu7CEefUYCWPrQkf8hrlIDyq96uO7m0mfBVjpR19xWZ1K9K8/YOo2qozlfFAthcVqX/gHLnFvRPaX3RKmD96lGv1P+EeUscE0Ri+yo6IKLEToWJCe9lJf1YJR+OcSEsoVqmnL3FaXcVso5tcLTSTx427Fpl1pmPL5mNkl3WTaOZUK5jm5HLEN7vkHatEoQbKjt+yrdCoXuJjiF7qJyRYejRLWZNo0Yt7ikG75WgMjbMMYZPK0YxsVS+czz7i9GpE2/0qYJdSwysXTQ9d5M0VnhDSOQm8kIr891TbYVZ2XUhz6uClWiq/uppE156qBaJKr7Tb9mlqu5XK2t+s9G53Eub87v4enjD4mXz/GEtaoeZuDUdY3YiZlrKRnM16Scdrc5cUE1emzdlh8ICxyC2VQ/H0MG1XRSNvJ3YQbcSBTCy0kKFLz0iRyQHrlHiYEvDo5qfTq/Cmr39t6cmv8t8lfVyuB0ACHm6hMhzs8ZTdYdxmXNP7joxWU+3x8wKPeFLHp5BwYmjpoJA11tL+qtv2qCbQVBK4w86TplDIjqITgg1f3HKXhYi15s5122cy9p9uFM1wpjsteSH+V7P4MAA/BsvcQaGtcusxkYnPrd3j+/JktCA+5pqmqw4zLk/nH7R76axOYUfA0flIhCw0Kv+WCVmOEO4Ja6eKy5N4SA3brXGV8b3fL85Xu9hquGFxsZv82OtJp+cLGIC1FfdYt/qs/GjSBGu9ga6HGpS4tCg/5pzKFDGVkm8orNDfKSq67SA8KVw2FgK0P1TNRJrFfxMtLnunf/RUaSxcy0u+pE8786mx/z8S5e2GEZf2iF36jMO/NenhYrAi4wwNtI4nH6/FCS/35jGNE2S1rBzxh6dLp7yvL00l1s0aXWRw3PZZ7iHIcIvKQqXXVjqryF08momNSbcuB3UXrozBA5pCSDmc5Qv4OC+LbsIk5KWcvqllGhf1UapbcQfpO2YLYf4wxEPKqL+icql6fBbE8DBVsNUtSBKE04MOT20BeiiKK4/0IvwTgCiy2dcCxtX/RV3EqQM7iQeUj4LxMUGBod5Npa3cC6aGZx+tid2O/UPHdGJaG1gey1WU+8gVw1B6QhbCVZLbpYueW7ewIP6DtUXtytO0Hh6ot0/F/lyoWiSdgJrp42aLcEjLRVEW3yHOILcHMThRyBgDLSGEhthGPtNgRece3IRYwwJMik/GjNCafEraVXA9cwdUAtZt1MnmLNhgWlUhK4ybjsfR+Cgj9eHyZfCqGUV+/eCxSld2ykjop2YF2Am3emjywQtFOfj/dWcbr7NnfDBFl5OPNsgeH74Vv1XeI4I4YuBinBZJIB6T1ssM9UA1QWLO2atUXOHZDtf52VU4M+5yAitAefN0r2/yu5JKd9r/wuYpptyknKEfwAl/ENMCK4rvxk78tm3MRPLO+yBnAwwznmtpBq64w8qpnrYLXpmfyFuhsgMU1M/wT6azfcUuWfXf4i1FhanW0rnovVCtdxJUlGPmAc6PQuSKnk7Kg+Gz2b9FGE1hP4e8qrGHKRhueSpWtUmI/mPMGqI796wsWL0Xte7G31ZFQHcGpIqPkYyDS72iF8WPdp+Wf39KwZV0Hz3sIO0bhlyrtxmpYavqIXIsCSp9U8NksG9Qmu4P+4aZR9Ny50DuE5QxUCOQuJYLtQSTyYeHNIUlBEcVMp30H6tYSGsL4lNN1/ipED8OxCUF3cKNVdUse+MGH9se5CvZ/8dWXrOBQ/Ozs0Wx6NK/zVB6xpXcf5mMOjXveNu4n5SwqV7PStbkl3t2MGVF4yrpTq91Dj1HBcS1Mk1u08zd4+P0ooFfeKOLk/zAwu3sHpXLqlrKXxeXNLyoSy1cW0qDxP/BQwzm4PLksfv02r8uI0L9qfnpgz2Jls0TGqcA8qNOMYVZjszgtKF2WYKR4Gl+C7cXffxjJaz7BVyG251UiqrXZArAt9cUr7bkDqvirXiJrhPuERvjjavG96EIxtKZYcpYCi4MDzvtj4O1XvMQGYzRPDzjHoMFxUH3mx1Leh2hdsaMWuAcPKbiKoWYt8dYgBeOeKvo5p+PFh98fo15HABFL0HKFCAzyTjuV/rVc/03NzRdljXlAfECFgY1o4HB5wXbHnPmiW2W76JWmqT/hF6meKXZPoNLwVTmHWpHyYS30k9K7Y9HgWmrub+SackLZPN3uB5+JhH7TidPSArKkYqM6gpWAJGWtsPxHNE9jCa1Aa4hlCoErWgovhnXQbLUL49lpL1Vmjvo79OoYC6sfyqRrjRq3c8K5nFihSfjZ/AlsfmaMMJMBx2ELOzvTBKesHwJzmGtpTQ7qjuqnYW8jLyYiIn1VcuDq7VGiQ5LWkhOUg/EnHYq1YiNkQ9y2JBGXEkjcewqPIFAdSM2PwsO0iu+E4gro/nDb8O9pVkX/VBDcRrLSAxsK/pRgRFl6pZGx/L96TQfOEKZUG4Z9Z84CoFaDenuPLF+c6ikhV6L86nM+ghKVJ7gBVpEKp4BBi2cb/nZgq+lWI2hm8dTZ811KKIqnCJTtiH+h+xq3SrND7Rb5gqfP3wM768XflAs4gDwYeSbowyVSAYFJOkBhJu2oOQusbw2KK9s3YJ3y0OvBL6UGs6lPmbIa1e7ZZ8bXwXTVNEWX5LBug6z3lwhNBaseW0qmmaiiOr0E10YmVDM6PZsk0PQGbkt4dlwWGkPatBlHK7uEruWml5XH3hXUDDXa8r/vu0qzOmjN08kbcX2N+sdmA7AnYHQs4vqDIKoGvyhxDlBuskbyuENHJTi9/G1ci8tsJVK6XKjZWYYb+5jpPahggBmCWbZCxhOeJ9JLJn1sMXhXp2FCyJiNxndM3SWexOBI4MLusB3T46inZ3YlEM1iYGwP2zrsDO1Yr5N/uErD8tLGnv5kTZExNuZJt40rA/6nSya9RSLcAkwKIgWRT4tYoFtHaR50pHfW3kmHCn/SrVHDwnrIQvwoBXxVAuCcUouEny6VXe7nCzSZIX0dKSZmHQm3l/UQYkyEDs6MOQpK8L8QgTWlG2/yG/sEobHOxV6YQGUl6DK4GxxZ0fpQ+y7ovY2e1Mj1xf1eCtJC/UhOvOGIa83ixEavrLvLx0HN3zQgOr63hQyJyEws7Jg5PULMbjSSqJnow7uvxLmqr2q6Q+LdTRus2XGy/9hFnOHVwpcshEmB645hSi/U/jyZUXI+z7DFBLuplWsXCCoBVkq5bYjuRmwj6LvFgq810TMYV6uHMlq0mxQDtCOn5CfK8AQN2qcp4rcMYlFv0aV9jccVFC6r+a59tnsBIBDmHlGQac4jkM40h6z0Rb4xgFLAYiM/Ywq2cAyjEsnt7hYvaJJAjSttqSnlixngG4/4y6TE/0yYdy205DuZM638yPXuHGg3sEzdfxfycqVPj1EvGJS3D/nyhSZVdGVNp89dvXkEDWjQHs47cnoXXE0Bci4HQ07tQazilex2mQNofelz/Lli8XcQAWeVW8BiHu34rFoQU5lU8DC9Js6BuDxi78hDFRRwXOyrOX+NT9HybF7LT6Ze1x06I2SPPeR5LjxNeoQeuMtdxfQcCSvtT54fcgvEBKfnXIHo2GKN673tN+tBlei1j7IaSP8pxzEKyXCctJUGIgrKQu7uRmwHZuImsWGQnTLk5lRcWHPRAAJ9HZ/SFcItlotSJ0ePxPVGJ2jxmkyoZC7JT16O0jRb42fsPphbV6085YhLKOf6Ltbl30Kf6gO0oNwR4/uHUP++X3XN4UzjaM3MFwzQfBENnCEX2JFiziDeby7Oezgtoo4VG55VGP2SmFdNU8Q2ByF+4WIuPfr0Qdmpu++fOK2iSpgto/UbwSM1E3lPvQ225V+Peonuk+2/VvVEhBzgr4i9HP3mFOeRBgMEchUStonSPGcnnBmLI+Ti1W+lsAIVoORjD8Qj55KgPHS6es1vPoh8bhrc+J8FhjGGikFNb/FJPnAtmyPn+Qv2+HgGIMuA85/GlEFe9KfOvEF87KeHjh2onICaJnWzHO2q64rvIzNWvzg86DHosZ6LCNc+7ppN7KzzcxwIV3wE+/3tIEGQCeLsJzgefoanBz3JdOqlxRiKc7XMhvXq21gT2LZOCdBrHawD+d++bkzwHBucDL01KtWI2ARJUm30Axf2yktRIXkKJItf1uG5utfA4EgDu5chEDm3OQTD7W016B6NK7as1ZmWT0FwyXpOw3K9HGUxN3P3czclXgBcWn1/lAalw/7AbbN3+XJ4G5gKA9gBVlTSIbk/LHyE/k5ElVGek6PU7p50Dq/wUNWrbLjjFU+8yv3a5qerIkSSlLK/EDs6ZPVvlTB/vO7LzGgFuqm9KTvU8oxs7RlXJ1eQ8R83V8kak0ZA48lFoAjTmtfm8ITYbxcdnPsJo672U0mQNM/asuar38EutgNUDdK8c29nbCQ8+qPglcUhFc/Cec/BZvMUZ+T/o5E9FCyuhfuwduSJzT0ZX8yvGS3a8tto9fwi1NggA3ehe0qQrRoyRjKHl8cQGqj7aPn6BnWvfTqLcXcSgdzVcOGOo1F0MmuJKnORsqu5H7s7Gvc9KhlgDY2euaSgKFWkIpQGsNt8U+k/6f7SDI8vVJCtYGZth5tUP3s78jV5epX63++BKQZPvwdxvoibGbc/gS2IXH/9nZZCqkZ4CSvzRBw9468PGOXvBhkyb5hsyU//lnyfiR36yfANRdr+UaxYiu3VCiL6jyP6CWqFRVyNqWT5vFdgo88wO7vYOso3epOyCEZ/md2EX+5b2hrkQctNXGSBj2j9dBjgGql+q5NI7P5A4Fpv+UQeRiMjju12ljte6I6LvHVkibroal/DJlO8fOCx5BZOpQEhuSEiWLeVqkgAKRHm7slNnPWzgSAu/Gc0bal0F3yq0qfXk8eCbdQEn0ktK+zbCGN1xQz765y29Jr0C+ASs0KhHT9h6TN6IzaHAHYf/zTz2f7DmxZgp0vYURiuOLCVUNFMwWIew+DjLeRz9YNi5ssg3PZhKwzdkYtrFQ5mo0tI7FQbsXbIR2h8ODHe3gIBjuEGLhxUUmOFSRsxuXpH5sy83GIFC5WFUdLtSroINwuAKlzKGAXbJQWwg96CyjlYHiKN4/ESx8g2Y1ziTeiZjSwGA8IdVhGKU9CNCgewYAVRvh284kVgPJfLweUMo3S0Wh1dhY5z6aQNteQxRb1Te5pZmGIwIBz6+tlbgtafATY9cKsI2csDXgETLT9+NvJtnsPhyqOWftCe+P1hqrPkVARevoR7T/RZ/nwrkaccPl8iYYEq8FOWhsepVJ4JNkXVFiXP3ZnBjVW01SLXFMQ/L42nCBs4b2WC0XPMBe9oXOLnO2OmZmGyNMrx60YkYbJIy76KDGuKk9OCeTHc9rTKJOW3OzWT5Ot5OCpnpkDv/+q9zzVxb19ik7Xz8mrzoay1dqItPPRsIvJHpN96mvsrn0afpI96z5ae8xcjW8iA5XnT725QIlNRPnTYBIURJiAoqwyV2ksbLVtcGgPSlCSVyjcvlfpBSLdKQ8xbSuikCSQ390OQQuUy4GfsMYRGOquH/0xTl9LM4/Bu0rl46ReeDiq8DXvlrxgYpBvsJflgUyBVy3Ty4V5blRX2EF2HAftbhJ71un3GOVpF5RwXyZ9/sQ53KA8ezchoVndxDI6cCNoqlO6YUZy7zf1MM/0Y6TtxV8QExdMLJDL8WG4qqkDWaS+YnPPyao0HfQ1xJgXXslVusZ92TOYe3i4MV2JGnGQpOZAgpKDMvBKrXftKzGpmEs36Hpp0UL01WjjFz3jbv/QkNqAaaQqItpUJw6eP4/TjVl50XMliuXFS5MyeNXKy3sUo/TqY56mcPXbU6A8gCoZBkqHMqIJXlixy4VN/OhVW1xRKIEQjFMtA5KkdyuYPQ+jS342x43pbkiXYtVM/kdkMEwyyDc44rm2lPZvF1Bv9AmX10uYZPsvxuYkQrep11YwIPOBYKJ4oKh2HkPN1A4qI+T1waTHA+Evr+gutTGfcOgz000pEOlUyznceepag3GRVWKXjwaQ/QlotG8iYD0NHnUF8b93MjFeWYOnEncrKgtayceIVaXS52HTxD5lfFLl3TNnzPogMBeDlHJSWXai4esmz7wV6i68OOoxCJEZJKj45rWBwG4E2W2qhpqkCmdskKctLKx1xfTshIs0/Jy4qCQIUvOcXEYVMRyaNCVhsfSQI3IB2yaVyxASAp0P+VQztVxmAkdFRULVdiRPR7IpRzQW5BgvZU7pgKAAJDRBj8u8PLs1jBgCsH7bp5SOLVqhZ5MyIj7mchESP8dIGqkP13wUqN1gJuV6kw/wWb7dgaZfNaWYjfKf3afLFspzO184B//mY2jCXlIs9+BrdyDjSTxWdmcfJ54N7+uvA5Mi2R1EVDNP0QlB+ZIwczwmgcT6HSWc6nANqY5nRi3KOkcxBEK+InY3TJv3fJyLISfYq1oHJ1FlPKTG4Tx6azy5AkkNjOz1uT7jNowjwcG32U9x5voOKaT7nV7sDY15R3vkTySX10qjAaS7vRXPAohcGgs+xyl9P6gP+TRpvjnlPDvUHjtcna1g6S1BgN9luO7iU0QCEYR2wLBpAbj6j0OM0RKCsZNgpyfE8NtuGu8FdhWxI8sNLh0zrIu7LAaVfyfkFsUOPFqqLfJWPfS0kl7shYhZB2+cmv7wl1PNFv7Ep2bnEQgln2aEuprLwsXa9don4tUWchhfJBH7GBr+7CWkjELr7aEYcgUrgqAjBx+ChJX+Bx+t/Ao1/okqwW0YJ9msebFgCa0YOhLlSCMIWEBPHjmUPH1pGJ7QUA7mke17SQTAzxpHLrubAYybIpjtpmSO7LA7/vrJLueuIMfv1Vr8Q4A+9W/+lBYIbBXRUcJdA48wJmPNmGuGFHL03gytxN4/RafS/uijTkqpHiOUGDxG35zSAbju4AcM5rkQ+WWR04uifv1OCornOLA8culnlgTrx7rdJJhlKn5uXh9hIHnxrGwsMaLxGwkBYK64s+aezyEI6RK6fDV+Le8r2BNWrfq/YlfffJ9bC8g0juYOjVdTyOQekOwPMmO15KviXU3e2c97QF8Dpyhczytd4LR3/i8p9MNjIbGMvfEQbAUd/rCn0sw4iGfc+xnhEtvQPKWJUhjJECFheEQwpf51246J5b4CuaN3BYbd6m14MXmGPpCtGc7uPH2IY618TDSFR2ZL0tPo1I06eeZCpup1RjlSucH814moKWE9YCkVDeVEMet5C1vdlQWX/JmJS6FXBYKEfuiE6k5RjtFW4RmA8jBF7N2HaMSjUwq7mZqkIS71kWMYkWv+5jMurTpdmuA7hUhGtUlXaceM7Yp6tIGfPGktSMAhJrH2sIsZJhJXiVgGNYTDkg2kdCBht3sMcqTEPw/6hCodr/oUe45PRvTH47KXFmFCNelcCsWgeGefcoyyEa6yS9PCqoHvRj8GhxCqQNiGOUk/2f6Dkyfg6pxcOX68rw8JpLsKyy5jF8IBD3AmXQtboIUDH/jOIZ+C6R5lod4kyYB11KcTu4EL2dCfhPuLpJJbr5EOrGt9ILS5TAeVtnLy6ZiOevIWkBddzSjA2ZW6YGJ/Fr6HBwI6LJGlUXoiaMUn5MWGnh+r7BEOuKD55IERcSZFpKKgX7oYf0SvoP1KFNkutmZbimqYLj+q+gnbVoW/VCvJsk74fN/RJndrNpYsaoWSQxtY/xDcbWM4hvm23zmj26YFGCN8fAKOS4xLKgU6n/jiu6fn42MCuKgwtXoderSmRvQsjuImKG1PXij+gsBpUDEYXj8ieVw09be4YwoAdGUHIU7ytjhH0nZb69hqc4UQRL5tex53F4FEznWhuMnkjmrWRgw4h6di09umfH9NuOqmeTJrleXl6ikWmnBy16bQnLsgsIQGTCTkOZxQiHl6kJLa42gzgI5ZdLqm1LW6TWExGyFBOQkYAX6UApbHV4fs8Eg0M7EGQtiJ3wYL4BGlXSJdLHU2EI9E7WS0RxhcPnnXJEPiOWUhaEs8L7YfGd6Xg3Kforu+NiXhrwq7cxlOyl81zgq9F9GI4u3D4uPIAanwvWS3irstFEEnUyCXtBhK4lIpb/eg9wte3MGHZB3orkNc2IyxWkAyYMBpTYMNNnj9hiV0FejsQ5KmutjPnEI0/S8AIJ7Cx6jtGfR+s2JJzrPYLurWOfLWQGNbzgpzEkpxX595BYOZ18VgAiNktsfRWWKaEdwtY1SqEb+cDa8zGaLQkDckOxgbyYjkoUzQzMefTt899WsjY/NMmNbgHNdRvqOBd85xMSLGPEQJ7mEdXDTytxpa9Hmal8b7LyxAK/s/yADweSh+n3bbaHG1qOEVUmCgLhzQiTNF6ApgRn/Y1IjvVfMNdFLQx+VySg4X4unZ20R9y3KH/+h7VNjZnlSMrbqWhxmxJvPOUOzHM5VBpbecf5fqwe7GkUlVFnOdjkaNbitTLu04AvvqBNjcXuo9BTl6SzsUu8xpdbsGMZyFt4THmisiDkIB25vbjSk6gynRurD5MbaDHYpD4t0fy6m2lTSZ3wutYF4XvFW0gwf57KJjjPqx95M7JmFd8ccbpnF1yfGzJaaHdqhMgq7/kEF3Ma5+tLyFONjWbtV1c2yKVAf+q38tDqRTCjcEwMj5klxBAf7bODjGYlNVxLNTvGXYKfqHTt1AHw3cfW3I4shGWrXdvCMGVe6WUy3Za8/TcSSi4wWw/7P0oYNvHvRV59XLsbNQgDpDS5AsqpYb8M+IpZiSDwYD7txgOSpLRivAI5gn4yoygK6/lcD2+J8lowntWXkJMwChTc4MJUxwJnUfArn/sT7Jvj+8jT+lRkeie3SKZ3ScJofjZqJgchz0dWHRCVmDfdqkgTepenOygmFeOxEIy9nhTjBjv9sym2dLUq8bqefir4r9rCVQPAmVdYkkpQLh81d1pPuvHJfmrpYqtIjnCjMa7Cl6gOhLIURJxkL5UcIQS2vTKA8N4y0UF9T+ijy8KxEZcgieQSQ9Ex1a7aAtnsu00YSSrv/lYDQ2wX13DXB/+Dp5arC+5LM+zmzt4X0HtN4Nks99B0RUNL73qaTO2GdYroJJMNX7piwULpA9uCIxWNc8eKaV5vuh55WvIpLCDKl1slpY22abbkpm7Lv/t3hFMjR9EXQ2FAwznhmmQwmUtHVE+PiLsaJNp0iido0mi6ruZinh4ZtgCZJ6bfUnIJNztm67MCjzv/2p1DQr3VinjWsb+rFXrYrnaLUQBAaYzu88LSiqAnx0NYs2+g2QIdUpvPcaLOmk4wve1sLBB5qjLHJJs4NAUWW48H3FZDyUpIioicdXciPZ8FSWyQST0P133LnL7aqNHZ4g9iN6WPU7BYFWqFpQABZ5nbKCcNXebz1TyF1yEOhrFD88NmS+cLE1mZgIPfgtMI0qnXF81Aom8i1ukWzWdRYSGbPu4QF8nb2y4dcV5eTgQ1D2Mr6rtBEhkPDlVmIknpx1oe+TJqqKk6HsJ/FSX07yw4O1JnK6tZ0x7VxuV+za62EDAuw75u6vQcg8jrBHqSLX4TaSBVe/cospFwS1l+yx1Rpazj6AOmPuGK56COLhwPkMAK6LpPViOepHUHBEHny0CYMBsmPsHflCg65azU6zwu7Oy1ZW9idiraba4gAAIO2CUozeo+ChVLO0skXtoIqsCFnhjnH2OK2/FM1u+hKjQVje5AP/B2JxbDPW6zbpxZazRuwMcsAOiyNTFBy7oaNo1+i8UEcAnOVhrhESDc+1zRfcQ0tTp0nuZu01uSRItg+kIYNfgQIy4UoiFh3csRoupzwI+ZrrpXQJef/jJmjQisiKTx7UlR7N3WwclRIC5tcr/U3ysC1rIgptOAg4eozRdHFc3rm2X3KlqzerB7P42VuJ+AIc/R/POGXlvfiGcyqKNtTNcgp62hONaFcNBD6eYH1TVVjHZ9bBtCdjFgwCPqqMIxFDTY9x8hcfe6cAxeMsBijlxvzs7l2SFoxEBIeOt6fCJcK/1UmNcBETIRDULjiXiJXQd1/bDjcI+sOyGwfVBOoZ1u0h7ZbrlzzSrdEdBhLWt3+DXl3K5plHmrdcp9SUf5OeEQMZdvbQjR6db5Xi+Wlx4Y0RfCqIYMJKRilqy35ktRbv6Ep4/3vixrThQ2OdLhqOzE00TkCne9o9ha0owW+5CzXn1NpXXCzx0E+rrKsxm0nAl8b9YLvqXm55tEVivs8SFqptAYizE8U8cCapfMxN/Zig+USPX3iArUw7VKRWJttC0rQ2zZ0Rl/qXWZ+DhPUPpinv5KeSHtpirteMNpY6kRv9A8a1/PwoI8gB4aGnTtjVE2fN351Ep5hAR18Nvn3HEyYvCM5+mvhUG03yMNNUkbHpnCOTn4mlF34sk6ehov+lVuq5JzrL8WeUDe+D/0aqZRR1DkGf2jnjppAnNadG7dxGLL0FzX0Fhv6JHQxtta8R3wX1XGGFqOTNabyuf6IAbvFThaAPDZ5Os0eIwP5jkS2UawiQiFJBdxgRpb5thrXR2GAuKwMBR9BAhui7RMwD+ZDhzeTxzHAGNW3utzMXJIcTx0rwUnN1o0GVnFYCW6HH3McQK++ohnpadp6rj1GqHYpJD5ky0qamc9ap7VF08mGJ8Mj9B0PX/oE99r+rh4cffecF5Agle2SAMCCEzSMErMFSO2EqJRCQQ34jc10MFbyxToKj84wmfuB2z59vhqYJy6hp+XdjO190irclo7EnAGXoyA62RshppozRwzGnLJmHki/9w9qSfvjPj9PKQR4gtdgeVu1YR8vqkHTOXai2Ze0+EduwaEPuPJluUeSGY0j2h+of1jNbhWYksdWdy4pnmXeBEX7T8lZxE9IJ1s3+IFMlzAe+ADXK2Z7W60Kcv8yWdHBTwJyW+LpyXdJvZAzpEyGkLetnp6hWaoM9XvzokK3eyPbZfHQbRaY84EgmqM5P7Dt0cCNiRUbgkuPJs/fbtjWEimu9ZiRDObQjqeyIWkU3DiSAkqcDrdQYU5Q9Iz/g+WvmQ6Z8A+zjUTfS42QHSJdlpmM3B3FyBotvSEMa8JpKxUf8nDpP18MvwVDNC9JJSn3bLtGgrjsPFppWD0bI4UfTRo20PNClMhM1ZoLNaFhZLes5C1mcfZS+q1lY6CO5dDVbCqdlO10pZangzHXbzSAIvmOVUtQswoI2n8GxjuDs3XCI9uMDvEEl4+awXxxLsvg9MgzZjQ5lU5Sle1Ip+/Sj6FnBNzznGOSl/ZptqStO8bXpr5MMJSYqf1PoVgBqf7VYkZEdxbffKrXhbRRwn2YnNVaCBR0QkKqvaOOR33e8gsmRwu8dTIuaGlyTBERePInFG52xLNuVBnAQVS5Pu65QZEd1UHzRRFaKqttECmXefqX6iOx/ZmDJaU9I6nMZQm1UlmlUdjc2I1GDENnms2dlpjk1tsid/0QGnBxnvHTNNW3b4bWvzYqnpwcYdzshcBXX854sfhmjtm84scAI5QMKkMrS9p0XkDHsH0c+rlb9dGQSyihfrbWZDZBNccP3rtbDUPLIHqipBEku+ttG8xLr6m9ah65r5svwr3aZ6sVVAEj976IK5InQkKz0QKLv/PYMU945tdq9eWOqwPZJNGWbparpJoa98Su4Ng1EhjBVBLKfQY/eaII8kL1n6Cnh4qwRy5zpltKPahIUwRDFbiNKkk+btixZV8+SYIgkeD/A5/m/bWvgfwAV6AMqnIk1txPRsy4x7Rah9W0368V5Cu3hflHVhhP/5gHihRaEvZQf7QtwZLDBhCVFocpCHOOsxL/9y9Bwg7DpOu00m6J+yyPJDt3KVFIQfHpKTCWatT1FWNiBT3pcOSIDw7T0itQCfpEZyMuJaapZA81QDEgdi4Ny1Gr/qSp1aoEUxp5t2qhg88drEd+GBphyD6BFQq4GCA1U2Awui1VhX7hcv2ytSPZx+7dtuRxnrJ84aOLvyRfu+E52rDOXmKbMTlqtL/rV3zqwOzLiIIwvRotm5AwAo1H11FhFDhArnBqL65Ybj7PeNsKnZqWyvrQiuPma+/r/xbfoWALXU7yuwXOf9tXK4cY4Ty1kmYcN4G4omG96xLy+9HQUPUdXkS+QnYF8aBnUmaDUwXYHVL30nmRGnLBKQlU5mXsFrFJfR8aGVU49Vn8hKMFXFMat6UPWs98nHCzciqckc/ailKYCGAWQls9IaOC8g8VhKrFHHLqfeBqahGG0IXIrqTQTw4Z5p6u4Jj28UkdAryqfV/kmMrVOGwNjZQ/zpc43kB7F9FRRB4H8U8uSm/rgONxHr/enRPL2qGvKAcUCfNyUQxg174OjfFAHcaEpwxVZw9n4YhV8IKLSF3avqkZ/Q0AQ05GBO9HVnckGLD27Qq6Oi1mRRapWe2USYGB8/jXzFXhu9AZLNzCu5QSIqG1omyyS90/7tvk2Vwot5vCNJ0WEAwS4dOpkuVbP85SdOi0kFzPE+kHVdIHaYCD23uN1uJZkcVOO4Hfb2SPx+mhL3+WMThugdD5iFCvNQWbMISBtVNbtrEOP2uT7Y149k3X93KCgq2YVJ4Yf9ciBxhUT5oyKGVsJXGzU+8O3QuKZemqJ5JiGzXcn9ZQ13GHPS53jqTZ1lPdCnChPc+sck2uHcJ6Bq8EsE1ILKK5Z4oE55JTMjhZj0ket1RnfaDwex6YPyUcE89oxU6gSpq/6FkxVH/jhFjabztrPaMQuYVHSRzxgu7PK/cy4YvTLf54+BYTCKCH7IYRSUKTq8TeXF2DNI8rNBBQKI2q86T4nxadKYkPRMSGH/RhEyoIVhJkIHJ0WnvImeFmDDiupXjpwR+qrDuLgnl8/ltS2D3bJ+xIxbu+//zNe9mVB+/vJHGqxoZawJ8e7C+AoCxPODbKKNcebnDsCdwHYge8XGeZADJW9TCZszRNSEO8W/jmrl9ujuEUJPhYd+Jdgq8hd+lKSbunrcd9rY9lFivbZYh+R4DpNU7CBwIhIe359xU+shvFhic/zocJY+G9wTnM8Z5CU5gSPoZKKypJj2U8qCSRI3RJXojgFc4RDa325MWI508juaZSAg2I9Koh5E6MdcC5vJ2Bm3ioc2OtrhgefRWYaFUBvXkA5FQSGtxe612veXn6hmSmzXbRPWLJxQYvGP2Auo19PVGmSPn5VgJ+MAzAyfO8KF7BBLECL1slgUZTykl9RshHZ64sG7W6+K9L7pdvkdON0xGR3E63FzXwsuJJ6XHlOAEk4lI1fjqL0BwPGfh0WsaN0XR5UGm+nwfSdLidhEQYzR0cxNjxtRrGEKug0raVEdJnFIYSxp1fFYUAr4Risc5FhVfCUUBv/JMJkRL4pGh28GYYZ4r/C3BrmmM7sOb6Dc9KznMkD5ZpXhCwhgFnP664jqZwtA/Nt4gFDUXu+E2EnLTdCj3JFfP5kJmEwoPUW1RtwzpGU0WTSdPPqaASXycK+luDh7ojbF8H5ol++T69IOQA3gkICv+GttfAfAeVz2gOTsFoamrRFkiPkK4H/Y5tS3wg+627N+7KSrrtKSXr0JZi4xLp8pWO3h/GNl4EA0YDo9hYmld3moLB8WwiGuaaWzcibwptmTAqvYuICufV97TbhgsXS7WhXAiHZuFcDGSL/tflqgBQGBNlHOavuW5Hu2ZUr+2T609Bb+QI7R11+73yn2f6mSP3ircSXxgHRklWF1R2Qnk0Wh8qP8ESLqRL5cTIlLfOBTtNWG1d3/zpewgVSjDXNd5ln3ABzf/OmwGHhkEGAak2fsnwUrlr3OZFBevssewSmCVaCx+VGqaYm/1ILX9eckHdFcdtSHYg+0EPpXIbloX2SDMR6LjZoGMPGdVQfVHDnsuFklplC+XsNR5OsAKij0Gs8SkuTHsCw1NICuXNWwEZYmcF/2pCdIjlfD6aq6+sfgLWYDbQOIhJvjEAFnX4b6VwEv7dgsuxmCTHT9EUqaU12VN939GQzHU/13ocLFzln1kfARCNu7Tj3I73xXyMmKwNodaLcDle1IBzGVu2/W58VJanqCfoBi1d8lzFLf81aj8u3L4dJKA0IxXkpcZUMW/a2nsQhHKf0PMhmLSkLf9GO8I1XQjzlv0cN50bjiUhaIvZlPFxU7mOm6DBzT0t5tbas34+qCohbI2zRS7pVnznK00BSowRfpK10VvVWXT7DvjPNd7juNQ/kNNtlrlsTp+dSk6FXsw8j0WYmXZlWPnmCyQCSikKNPEUOZ3kK/FZPo1u8PPkDWDv/+C3+m/WoEeClm8HQXhIP97rs4xFaekrsj2AQ0KzGYGi/AtsL+tr/C8qaGHpG2el9o/r8dDqJLk8pntPSD0A94mvLCqsypRqjFLLzZLQfvYQAVJAvLcvqmASpLO0CleePxMTgkb4Yur7sv4duq3iZPCak84ouk56cJVvfYiBQMXoT78J+q2t2WXgnU8xHfgdmA7diA77cI4aEyKL7FrjI++VeByuMJ8Y6n16b65tNPsEAqg4vSg8fuDeGbO85szBFBIDhYD9StsiMdrHv6x18v4aRC3Nx8ABaG5g0PygX862zbrV2ZpAY/NHRpJu4zcYTpzxzHzT2uw93buWFad4lMJ6NAQw4AHpPtMASuTMD8S3EmR+JcuhTGzR5lbG6m2+SkokDV2IJB25YeU4wKRHwASUoGBZgNGrFHlD+zZ1lz8dXh2OKAKcJvB1WJ9kfdAx2vaYtvGunFExUaBJwf2UH/8V+P1VeuIeYO/OVBDw3bok7pNPDlBvgv7kqLXtr0E9zQQWdcVfJokb0BkaDUgNUAB6iqw9jZBbF3cU1mJakxEBFN3FLSebkRTZ9nlkobc2LZ/dQTNg4wVxnHXC7WpPG/A5n6rdQ5CLLB+9KOBFqwdlgjwlgTxP9FVZQ7fxJd4dpxukk/5RVM1mNJNdyqzFEQHvxftpQb+a82EKYHOPVy2yBUTXIwjNE+x12ylOA+iqemPk/Dy20A3Kvc1SqG+CDLk/uvVBmoq5NrRJIEj0wYw9rld82Xm4SUNXnJWbh53Qa7bza+GfeiLmvkTYnkeavbn3SWLfY+EPCdmvKqSRSlgJnKMyFFWunY1lp/CDDMM6Efqr8+ulrUOKBXQSy9Zi7/5/aL5uxPkiaeMNvIiDtPzAquZ/HW8zm564ig7yPl87LQLLbN0t6fkET9l2wajqcp7gxCXD1HUY3UYLxhWedSgds5c+2OvgAjDtt3MbLxniVHklvktdoqvnG/91fqFHJViDnZdLsx7hPtjI/OoNcW4VvH+S2UijQwy84n7XM4rKm1DsEYxOnrIc2y3qau88dqvADMFtrNZFr/jJn2blE17DBF1okiEL0uiwNa4Yhz9NumFncLNQJW0GBjJMYCQIBSSnpha0DTKX6T0S5KvS3t6Oa3jUDU9mzDS+fa5mfxsptDav2Tyk9+3WrKkHF95m0bs+/YPeZOu4m6Y2sUofpVnQZXmyOk3FZKYwAj9i+qN6Y4APgxp7jmKhPW7qKTIGWuVI2/YzxGuLJDeL0j+l8s6CbnBdCesowNgbDuMNo+1gOkgZNvjeL8AEcKj+Oh8o7tvhb8CZKmV1hsChgphZqZhhBQ53ZHBI+4JLw4mBg4W3SH5r+jNgX/gsCcOVFPkxpE+g9xr/M9hFAl+uaGyDW9kaZ4BJsBnz+Dm6LBP4TU3ms6AdgRnhoKVa3hl7G8sHj2h1vxFT9hq9DlgfuPNM/1wqloPnW9PMH30fqt6Pom6wvxpalgop2qWuMTVHeUOmjkqf9cBUPP5XXCAv0S6fa8dCddyjmSmYM7h5BsBm543msWPhUmw6kOTHrZgaPIyBngHbZEqC3RqECqNkz5vMsBNUGJdleqBAgHQ2REYPF0886BHDjmZ5iFjuvBnKraNJ10JkAUePVs6kFUPYAeIYDrY5BDQQFIpfMXEqrtjfbrqPe5STImJRZsLhKDKtRKDYDg5/TV2kB0WR3WC5bALnTFQfiG1boWy+I3wEHmOKfLJRZ3xVePWej69fn/DBgAzcLCK5sSZ3L2n/NtGbWQYVuHtNZ//mUUb/4RN8AxJEh3UCTnwejjfTttk9r2R7HAwdebuXXxKpT7a4cuJk+H6nsKx77Z/VWxWszL3NEBDBh7eytfFO7X5YA50V3X4RXM+/eLDhZiMeqOJ2Sleu3KgWzWLLZgYiUO2Q6fq1hp1H4pREBhWCIV5ICcyRTM3ayGjWq3SBaiht8k6DAa/L2RlzNeH/88uup04mp3Aq9TQTA0rmJyrOKUrVVGDjfwrtuJBW5BixKskPpsiTCn0RI/P24cO/OLmGuujnA3HP4A8nSmnXXhOiIVWzvgdwrrVhCP4m+41mMB08bJHfpNNiOgyrNbX6mB8aXhSA7oaFzQKV0rMlOFDfmR4vJO338CWY1WMMxKY+ZE3ZW9nLd9NHJaKmT/dcK/Oj3u0K++wVYEcwYdVECWOeG+ZKuazqTtiwfSv3MvLYFpCMIkqczJB1KlGLgMuMEA9TDE11bV/cxQo1XiPI5FwkDvY6dV7q/qv3axrLqQg7SfbFqW7BGukq8QryYbzW/lWF/TcvsH3Y1elur6WYslH/KLlUS1h4yMs1tH821AQxN7nGHWmpOo5cwfaGx/6RuwL58qwVWSubR+8ox+j4iBFe/4JmERDULpKLnQuQ/iCDA2+dsx+1kMBeIJlWRimMV0TSFdz2SSelWpI3tmgSLLoIhG1yyye4M1yfGD+BFAXFcrs/0f4jsxrp1bB6o8Jj4WCrtXttu58KbAGZ7ydRuFOAtg2odz4hE+nSKTAjUoIKci8lDPDy70/SqQDf2hPG2HiCKZWS1hJacTMSUXFlvjvh7tM6qyv0xRbZVLHIfgAozxZbxmYRDt9O+sGiYbfY6VemQAKfv0tgnBXMtHnhADTnuA+upX0PWCX8UEWb2ys+yJMrtRTg/XIc0VR0IBOIiQozypy89BYC8zWK3w3rsSRgUs0YWawbflIupX71cc2gYjO+BIxzQAra4Z1H+t/fAENds+UJ3Sw9hlGQBShtzpreFS1ycNo1LsWm2FjGpcS/ovtK35YsZanSGxMZW5FVUqdcDZmTutCwqGG1L2DnA5s29U0TuhIiJogSYalmyupAqzg+1NJLHWizRBUntn/wUMRo+uIwIpINYw12r7w0dOoV+n3+xqm2kUQrDL5qXlvfMYIgcwXyMvG1rhQJmoiypLpYg0fTuvFQfGp/uafQAx86i7EquvqwWTV9jR0NF6sVmsDsLgw0jXKRzJwCK5dev+s8C06rojMAJTl6qieh7JuuRwwmvhLILZQFpMkerTpt0yk1JwkkYYQwOj9atx9n6AdVAnt7ncVGYsdffcKcdkR9Ikeopz6uHRCOn9Vrd3iF7zRC1WbhtXAciiGmf0m2bQCKxi+nI4WBXIFdSZMctwBsRrqrerREBctdM1nZhOv4w0SxzBEV17C7KNgSGiBZKUGcjky/HJ4lzvNAkJ837jHUb20DLkXu7n/hFF/Y+Dt5CzStdCMvIAvNheRtx+Bj9YTLf9FMGTMAM1luZPX2Ua+B9pMsbpXFiTHeSeQnv9KbJYtTGX4+xT0oq+lyr/A3szX90kTftizUH8mkjL18Rb1pUIjUbqYr16SCeLLc290DWM3uQ09O26w1ioZ/2mJh/L3e1vJ+8NoPf2O2tVLs+CJNXYlsFTA+ZWBD0NzCFqsP3NKOy0GFA+0TC7RvT7Ex8c8ZVy7oVVkKEAm1UoD0OtZmFhYg6XxJ4UzEs8AG03UjQJxTJuerenJB/wHQPZ9kI63SEceXotKZbfey1aT+5Vzwv48zettYEW6otGJJyiD9iysNJxuVJHVxc1h8CWpG8VA/KuOB8cLx6RmH//pJCAPZofhbBqstlE/SAE6CqrZW4OkloV6EHkTEmBYBnIHCPEmR9gg8KMg86u7EEsCy0pfmPUpKPrG4E0AKDLFmWesfKHSLUf6pLJRbTSkECMuXIUbUrJnBt3/0Fr2kE6iHSg10LhNNEzEd1fT4rEf+kakYJJHCZw1XdX0A2CMYEyIA8XsesJyM852Q5FysnCp3Ne1z8IxJP190ANkwNx4jIkWL3yI8XTBMZqOe+E4tTw0h2EhqZ+fiei21jSxTxZlDPcJZevQBbqB3BrlUWdS9b3s92UulBOOrWivBpH4WD5xd4dsqB1C164r0AReh/rkXolP9wvrEDXbhEWQjCsBIXYbBTNqxBEKax++OSxY1iaUU0KUvzRbY2QVT0iT1SdaqbAhKRqqVfBO8omgw7npdJn0fuLuzIssWH6BxZQT8kOvpAlM8VG+3spxrJ52dqc5Y+kVqeEWprgTzQDWV4b5mW55EjpTM1piTvUFLncIDnQrZG2NJCKoT/v6xW0HlJJXGx/d21YpL4ey1axzR9LXkwbL31sMrRwxbgHZv23QzlRKLlIBXpG1sdq1kgR912t1pmFqkZegFoii3RkGwj1oS1mwzx8yCp7Ks58f5nBhDJzr5CE1ze4NH51tOeg5V+lueaegj8FMAAqzmB7x8CIVaBlD7bAKH5Dj5NN3fTm+nW/zgze+ui+UHtubjWmMtGeWVnVzrgPQfcJsGljWx+gW1hnTqUE80FBYnS9+bQsSGYWi5iNA8naLVFh7jtIskUBljN3jHGAVfyJMc6x7nbhws+LHpgby0lkzIA1pltaqL3Lq3KTv2M4m7EX6xafv2jFtQsPfNcMdBA82LPPafjwzH+X+qHfSOFiYBOhXk5EAMqvQeI6zMuhUIv3vQM9k5vwOh7xodna5k0HZ7weC2lrKOZQJ1cbV/34gg91OEykPig+g594b0y8GljUHcZsfkiotrgu4QWqeiisJ9BwUlb1Y4C4ZyKSn9uwZ83UiNwjN1Hr0ayFH4a0BQd5IaegUyNYFo2YzgR+BJulnvoynqCLKViBfdVl43TGsMek+zqduqA40rjWhGhJVgsXedijkR8BlvC6eodnUqjsOY2xWuy/TodzGmpG7P1GphOV8Uzb7Q45Q17flSrO3PbLI+Mlfom0np5S9Leb9KdO/XV3Irv1XQYhqZ/0Z1jhfO/cFGQ0x97PNKITOtB6BJa1XaOw8vDe+XOkumWuLBt6LvWSqPntaqQpLzobJmE6d0xO3kHe831x97nMrdeW/jwiwZO68mPvEblkAK3eWhCppO8RUHc0i29rWUwzrxD24HZcP1efRqh/KvF2sXlLgeGvYEq3rllxQuiSrGocGNxWfIaVhm2S6Z1dztwQ4JoRBx7EVDHKhlwHfjwHKWNJkiUF5GEGeGZm6O5TTFFgYd1Wk4dyVJrCY2R4Sh2dYcRMS6DYviXw1ED4HyTqxWf1JOnHlra9rKr21A9SBZ93qVBYEzAe2/3008eDBEvRESzVqmUzSm9uY82G3VgawzY8N2tbJWAJvcep55IFu4PSmawSY7Sgy3rLjr934pp1SWgrDUraLNen3WExB34REPNrXWu3rvQrLtsJK8DsjBJDIuuYBt8GGOv/8/wt5ZosH73u0KgV39lq4PRC3XzydCXyeO1ppdKmD5zqzD8zrAepNHvoe8GW/QJa5KIqhCG2Q/fjayW5NmkZtBADYGSGx23YC6USWQ3V9m3O2s5193JiqjOT7OjSSUipoxqCMB0zv7XFXdgiQw1IlLmMO1v8wqq9i2UD6khnwQNqEIJB9FMj0SQg4RxyMg+PD7xav/QThooRQnbEmLJIO3kvWdT65UuG+hMK8pRhKx12Fig14WseQP7oDMIgvcAO6u9l+2EAhnSSE0J4Hvx8r6+GAsNJI5Bx3SXlgrUA/frotAXjGg75h0s616FkbfSOA/Y8HlY9aWxUiFV5mLMb5a/GDr/VCE7e3WFQaKt/gu/fNcc+K1/RXIn+mrte1/RIxdRxlcvvBFTRUpRzi0sa7HNrFGwJQFKdWni4+IQEkrcfGY0CXnGWxMxgIYa2PZToquikAIO5kF6vRsM6RZMCBFq1C0kcdBa4ADdqtfkZ17XZtS2SP+LK1NjKlveYbMUYC/IsEgLe8iP5AGAnmB4YFNxZAjGenlLOvVaBuyHc0Wo1oxbmYtyThe35uTOUnPkI0OII1CRqcbAUq3NmXFCQzxYlGM/PaUpYjqoR4/X0BvAHUNsJ+bsrYXqMV58+GnVaIF0/kBlW10Z4saFN9q634PmBRvTI0z9wX8NcWs8Xh+omfYdWrHJFD05ulOPw0P0JWZNS+hBqDyPtvOYswqgxRYL8mcD+edwqbMVEit+bVaQXAyz1kM2wJPAt3xpLoyoPMw2XXc2LujksETvslHnlpxOPfOa75Y94ceIdREJJsgAHhuNFCivsZldz6OK2wTGf7/DvN+FVIKLNO6cEHXvZWZZJxgB6r7+yGKDMziZMex2AWCt5IYsHKobmdWSmLqqsbJXXB1Nt2i1bjcHlB/SbM7t01cgLOkIdekbsY/d+EzokNzYoPtwz5FBqLDyxPGpKm1wzVb/oP7fK+JxJP1aZi4A0KvuoBuT2uEzhrAKSlJSX3yKFXDF/sowbiOWE0BjEoF+elJ2YKtIuMy1JuBgKTyZ+/phKCtdnSO4G4NovM1zbD+nNnyefV081zGiCUqKH9agDoVf26OzazR1BRCh+c3M4rSoVU7EISq+N67aGx7inQR5W70eIt8ugo92nM+FDz2DxHws3+qMQrum1GCICJlej2VlKrZOWT0b46qnXsuGXvUOFfs/jg1fs/9y70+NqugfItK/ojS0wT2cMLxq+tq3oWPzrFk5GHSUhJB0xtq7Aoh9dFZ62S+m65aW33qNx9zDDWtJVlq6EqqquNnkhG6Rqv1cC3TZBfFd4xpkt6/8kcPhJpb9e4Ttgm4qLNgjPMQUDKogIQey5c7r2z8C7jgA0S7bQ2Kg+DHsI+B3PUJVjH1Q7a5nJQzZCQ94to+glmB1IylpcYwoRuvXXTZ5taZfr36vZABEmn9xIsbF8/D+ogq+WMkt5oQb8LfMzRv6grbvCQ=="/>
  <p:tag name="MEKKOXMLTAGS" val="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GTheme201610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GTheme201610" id="{7CACD4B2-F3CB-49A4-B02A-9D2D7D06221C}" vid="{602D53CF-ECFA-416A-9C69-3ECFC5DA548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9630444F605947AF1BA8DDCB5ED808" ma:contentTypeVersion="1" ma:contentTypeDescription="Create a new document." ma:contentTypeScope="" ma:versionID="00a3c41b9dfaa2b45d93922b7a135921">
  <xsd:schema xmlns:xsd="http://www.w3.org/2001/XMLSchema" xmlns:xs="http://www.w3.org/2001/XMLSchema" xmlns:p="http://schemas.microsoft.com/office/2006/metadata/properties" xmlns:ns3="2ba1fd62-6dd1-424d-95ad-fb58ae518d27" targetNamespace="http://schemas.microsoft.com/office/2006/metadata/properties" ma:root="true" ma:fieldsID="2dfeeae552acee333ad09ae25764f874" ns3:_="">
    <xsd:import namespace="2ba1fd62-6dd1-424d-95ad-fb58ae518d27"/>
    <xsd:element name="properties">
      <xsd:complexType>
        <xsd:sequence>
          <xsd:element name="documentManagement">
            <xsd:complexType>
              <xsd:all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a1fd62-6dd1-424d-95ad-fb58ae518d2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DFB8957-EA2E-46BF-A3AE-DB3E02E4D7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a1fd62-6dd1-424d-95ad-fb58ae518d2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A07F64D-A744-4F02-B7B3-7F727812DD3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1A522DE-74A1-468D-A1BD-F887DE305E44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2ba1fd62-6dd1-424d-95ad-fb58ae518d27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GTheme201610</Template>
  <TotalTime>22253</TotalTime>
  <Words>491</Words>
  <Application>Microsoft Office PowerPoint</Application>
  <PresentationFormat>On-screen Show (4:3)</PresentationFormat>
  <Paragraphs>52</Paragraphs>
  <Slides>1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Gill Sans MT</vt:lpstr>
      <vt:lpstr>Century Gothic</vt:lpstr>
      <vt:lpstr>MGTheme201610</vt:lpstr>
      <vt:lpstr>10 ways to use a Cascade chart</vt:lpstr>
      <vt:lpstr>1. Show Income Statement Results</vt:lpstr>
      <vt:lpstr>2. Analyze Change vs Prior Period </vt:lpstr>
      <vt:lpstr>3. Analyze Long-Term Change</vt:lpstr>
      <vt:lpstr>4. Compare Actual to Plan</vt:lpstr>
      <vt:lpstr>5. Highlight Improvement Drivers</vt:lpstr>
      <vt:lpstr>6. Compare Cost Options</vt:lpstr>
      <vt:lpstr>7. Show Pricing by Feature</vt:lpstr>
      <vt:lpstr>8. Compare Investment Options</vt:lpstr>
      <vt:lpstr>9. Evaluate Changes in KPIs</vt:lpstr>
      <vt:lpstr>10. Segment a Market</vt:lpstr>
      <vt:lpstr>Tips for Data Structure</vt:lpstr>
      <vt:lpstr>Resources</vt:lpstr>
      <vt:lpstr>Backu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P Analysis</dc:title>
  <dc:creator>Diane</dc:creator>
  <cp:lastModifiedBy>Diane Rich</cp:lastModifiedBy>
  <cp:revision>487</cp:revision>
  <cp:lastPrinted>2018-02-28T14:44:37Z</cp:lastPrinted>
  <dcterms:created xsi:type="dcterms:W3CDTF">2013-11-13T19:00:18Z</dcterms:created>
  <dcterms:modified xsi:type="dcterms:W3CDTF">2020-02-26T11:1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9630444F605947AF1BA8DDCB5ED808</vt:lpwstr>
  </property>
</Properties>
</file>